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  <p:sldId id="261" r:id="rId4"/>
    <p:sldId id="275" r:id="rId5"/>
    <p:sldId id="260" r:id="rId6"/>
    <p:sldId id="279" r:id="rId7"/>
    <p:sldId id="263" r:id="rId8"/>
    <p:sldId id="264" r:id="rId9"/>
    <p:sldId id="268" r:id="rId10"/>
    <p:sldId id="280" r:id="rId11"/>
    <p:sldId id="278" r:id="rId12"/>
    <p:sldId id="270" r:id="rId13"/>
    <p:sldId id="272" r:id="rId14"/>
    <p:sldId id="273" r:id="rId15"/>
    <p:sldId id="274" r:id="rId16"/>
  </p:sldIdLst>
  <p:sldSz cx="9144000" cy="6858000" type="screen4x3"/>
  <p:notesSz cx="6735763" cy="9866313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3300"/>
    <a:srgbClr val="006600"/>
    <a:srgbClr val="86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B301B821-A1FF-4177-AEE7-76D212191A09}" styleName="Средний стиль 1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8015" autoAdjust="0"/>
    <p:restoredTop sz="94799" autoAdjust="0"/>
  </p:normalViewPr>
  <p:slideViewPr>
    <p:cSldViewPr>
      <p:cViewPr varScale="1">
        <p:scale>
          <a:sx n="80" d="100"/>
          <a:sy n="80" d="100"/>
        </p:scale>
        <p:origin x="1422" y="7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&#1050;&#1085;&#1080;&#1075;&#1072;1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view3D>
      <c:rotX val="15"/>
      <c:hPercent val="66"/>
      <c:rotY val="20"/>
      <c:depthPercent val="100"/>
      <c:rAngAx val="1"/>
    </c:view3D>
    <c:floor>
      <c:thickness val="0"/>
      <c:spPr>
        <a:solidFill>
          <a:srgbClr val="C0C0C0"/>
        </a:solidFill>
        <a:ln w="3175">
          <a:solidFill>
            <a:srgbClr val="000000"/>
          </a:solidFill>
          <a:prstDash val="solid"/>
        </a:ln>
      </c:spPr>
    </c:floor>
    <c:sideWall>
      <c:thickness val="0"/>
      <c:spPr>
        <a:noFill/>
        <a:ln w="12700">
          <a:solidFill>
            <a:srgbClr val="808080"/>
          </a:solidFill>
          <a:prstDash val="solid"/>
        </a:ln>
      </c:spPr>
    </c:sideWall>
    <c:backWall>
      <c:thickness val="0"/>
      <c:spPr>
        <a:noFill/>
        <a:ln w="12700">
          <a:solidFill>
            <a:srgbClr val="808080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0.10476190476190481"/>
          <c:y val="2.3746701846965694E-2"/>
          <c:w val="0.87619047619047685"/>
          <c:h val="0.81266490765171528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Лист2!$B$3</c:f>
              <c:strCache>
                <c:ptCount val="1"/>
                <c:pt idx="0">
                  <c:v>Russia - China</c:v>
                </c:pt>
              </c:strCache>
            </c:strRef>
          </c:tx>
          <c:spPr>
            <a:solidFill>
              <a:srgbClr val="FF0000"/>
            </a:solidFill>
            <a:ln w="20291">
              <a:noFill/>
            </a:ln>
          </c:spPr>
          <c:invertIfNegative val="0"/>
          <c:dLbls>
            <c:dLbl>
              <c:idx val="0"/>
              <c:layout>
                <c:manualLayout>
                  <c:x val="1.0584725591030767E-2"/>
                  <c:y val="-2.4110385342365159E-2"/>
                </c:manualLayout>
              </c:layout>
              <c:spPr>
                <a:noFill/>
                <a:ln w="20291">
                  <a:noFill/>
                </a:ln>
              </c:spPr>
              <c:txPr>
                <a:bodyPr/>
                <a:lstStyle/>
                <a:p>
                  <a:pPr>
                    <a:defRPr sz="639" b="1" i="0" u="none" strike="noStrike" baseline="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1.6469233367089501E-2"/>
                  <c:y val="-3.0626893135282444E-2"/>
                </c:manualLayout>
              </c:layout>
              <c:spPr>
                <a:noFill/>
                <a:ln w="20291">
                  <a:noFill/>
                </a:ln>
              </c:spPr>
              <c:txPr>
                <a:bodyPr/>
                <a:lstStyle/>
                <a:p>
                  <a:pPr>
                    <a:defRPr sz="639" b="1" i="0" u="none" strike="noStrike" baseline="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 w="20291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639" b="1" i="0" u="none" strike="noStrike" baseline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2!$C$2:$D$2</c:f>
              <c:strCache>
                <c:ptCount val="2"/>
                <c:pt idx="0">
                  <c:v>10mths 2013</c:v>
                </c:pt>
                <c:pt idx="1">
                  <c:v>10mnths 2014</c:v>
                </c:pt>
              </c:strCache>
            </c:strRef>
          </c:cat>
          <c:val>
            <c:numRef>
              <c:f>Лист2!$C$3:$D$3</c:f>
              <c:numCache>
                <c:formatCode>#,##0</c:formatCode>
                <c:ptCount val="2"/>
                <c:pt idx="0">
                  <c:v>338531</c:v>
                </c:pt>
                <c:pt idx="1">
                  <c:v>358480</c:v>
                </c:pt>
              </c:numCache>
            </c:numRef>
          </c:val>
          <c:shape val="cylinder"/>
        </c:ser>
        <c:ser>
          <c:idx val="1"/>
          <c:order val="1"/>
          <c:tx>
            <c:strRef>
              <c:f>Лист2!$B$4</c:f>
              <c:strCache>
                <c:ptCount val="1"/>
                <c:pt idx="0">
                  <c:v>Russia - Japan</c:v>
                </c:pt>
              </c:strCache>
            </c:strRef>
          </c:tx>
          <c:spPr>
            <a:solidFill>
              <a:srgbClr val="FFCC00"/>
            </a:solidFill>
            <a:ln w="20291">
              <a:noFill/>
            </a:ln>
          </c:spPr>
          <c:invertIfNegative val="0"/>
          <c:dLbls>
            <c:dLbl>
              <c:idx val="0"/>
              <c:layout>
                <c:manualLayout>
                  <c:x val="1.1424620504065655E-2"/>
                  <c:y val="-3.6640619642297131E-2"/>
                </c:manualLayout>
              </c:layout>
              <c:spPr>
                <a:noFill/>
                <a:ln w="20291">
                  <a:noFill/>
                </a:ln>
              </c:spPr>
              <c:txPr>
                <a:bodyPr/>
                <a:lstStyle/>
                <a:p>
                  <a:pPr>
                    <a:defRPr sz="639" b="1" i="0" u="none" strike="noStrike" baseline="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1.5596209795453182E-2"/>
                  <c:y val="-2.8157678375627413E-2"/>
                </c:manualLayout>
              </c:layout>
              <c:spPr>
                <a:noFill/>
                <a:ln w="20291">
                  <a:noFill/>
                </a:ln>
              </c:spPr>
              <c:txPr>
                <a:bodyPr/>
                <a:lstStyle/>
                <a:p>
                  <a:pPr>
                    <a:defRPr sz="639" b="1" i="0" u="none" strike="noStrike" baseline="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 w="20291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639" b="1" i="0" u="none" strike="noStrike" baseline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2!$C$2:$D$2</c:f>
              <c:strCache>
                <c:ptCount val="2"/>
                <c:pt idx="0">
                  <c:v>10mths 2013</c:v>
                </c:pt>
                <c:pt idx="1">
                  <c:v>10mnths 2014</c:v>
                </c:pt>
              </c:strCache>
            </c:strRef>
          </c:cat>
          <c:val>
            <c:numRef>
              <c:f>Лист2!$C$4:$D$4</c:f>
              <c:numCache>
                <c:formatCode>#,##0</c:formatCode>
                <c:ptCount val="2"/>
                <c:pt idx="0">
                  <c:v>52092</c:v>
                </c:pt>
                <c:pt idx="1">
                  <c:v>62440</c:v>
                </c:pt>
              </c:numCache>
            </c:numRef>
          </c:val>
          <c:shape val="cylinder"/>
        </c:ser>
        <c:ser>
          <c:idx val="2"/>
          <c:order val="2"/>
          <c:tx>
            <c:strRef>
              <c:f>Лист2!$B$5</c:f>
              <c:strCache>
                <c:ptCount val="1"/>
                <c:pt idx="0">
                  <c:v>Russia - Republic of Korea</c:v>
                </c:pt>
              </c:strCache>
            </c:strRef>
          </c:tx>
          <c:spPr>
            <a:solidFill>
              <a:srgbClr val="00FF00"/>
            </a:solidFill>
            <a:ln w="20291">
              <a:noFill/>
            </a:ln>
          </c:spPr>
          <c:invertIfNegative val="0"/>
          <c:dLbls>
            <c:dLbl>
              <c:idx val="0"/>
              <c:layout>
                <c:manualLayout>
                  <c:x val="1.5734747354037078E-2"/>
                  <c:y val="-3.6001394234598916E-2"/>
                </c:manualLayout>
              </c:layout>
              <c:spPr>
                <a:noFill/>
                <a:ln w="20291">
                  <a:noFill/>
                </a:ln>
              </c:spPr>
              <c:txPr>
                <a:bodyPr/>
                <a:lstStyle/>
                <a:p>
                  <a:pPr>
                    <a:defRPr sz="639" b="1" i="0" u="none" strike="noStrike" baseline="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2.7082082567580691E-2"/>
                  <c:y val="-3.5866991426134406E-2"/>
                </c:manualLayout>
              </c:layout>
              <c:spPr>
                <a:noFill/>
                <a:ln w="20291">
                  <a:noFill/>
                </a:ln>
              </c:spPr>
              <c:txPr>
                <a:bodyPr/>
                <a:lstStyle/>
                <a:p>
                  <a:pPr>
                    <a:defRPr sz="639" b="1" i="0" u="none" strike="noStrike" baseline="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 w="20291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639" b="1" i="0" u="none" strike="noStrike" baseline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2!$C$2:$D$2</c:f>
              <c:strCache>
                <c:ptCount val="2"/>
                <c:pt idx="0">
                  <c:v>10mths 2013</c:v>
                </c:pt>
                <c:pt idx="1">
                  <c:v>10mnths 2014</c:v>
                </c:pt>
              </c:strCache>
            </c:strRef>
          </c:cat>
          <c:val>
            <c:numRef>
              <c:f>Лист2!$C$5:$D$5</c:f>
              <c:numCache>
                <c:formatCode>#,##0</c:formatCode>
                <c:ptCount val="2"/>
                <c:pt idx="0">
                  <c:v>163182</c:v>
                </c:pt>
                <c:pt idx="1">
                  <c:v>164663</c:v>
                </c:pt>
              </c:numCache>
            </c:numRef>
          </c:val>
          <c:shape val="cylinder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230351608"/>
        <c:axId val="230346904"/>
        <c:axId val="0"/>
      </c:bar3DChart>
      <c:catAx>
        <c:axId val="23035160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ln w="2537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739" b="1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230346904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230346904"/>
        <c:scaling>
          <c:orientation val="minMax"/>
        </c:scaling>
        <c:delete val="0"/>
        <c:axPos val="l"/>
        <c:majorGridlines>
          <c:spPr>
            <a:ln w="2537">
              <a:solidFill>
                <a:srgbClr val="C0C0C0"/>
              </a:solidFill>
              <a:prstDash val="solid"/>
            </a:ln>
          </c:spPr>
        </c:majorGridlines>
        <c:numFmt formatCode="#,##0" sourceLinked="1"/>
        <c:majorTickMark val="out"/>
        <c:minorTickMark val="none"/>
        <c:tickLblPos val="nextTo"/>
        <c:spPr>
          <a:ln w="2537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639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230351608"/>
        <c:crosses val="autoZero"/>
        <c:crossBetween val="between"/>
      </c:valAx>
      <c:spPr>
        <a:noFill/>
        <a:ln w="25366">
          <a:noFill/>
        </a:ln>
      </c:spPr>
    </c:plotArea>
    <c:legend>
      <c:legendPos val="b"/>
      <c:layout>
        <c:manualLayout>
          <c:xMode val="edge"/>
          <c:yMode val="edge"/>
          <c:x val="0.21333333333333335"/>
          <c:y val="0.93403709151740644"/>
          <c:w val="0.57333333333333325"/>
          <c:h val="5.8047744031995974E-2"/>
        </c:manualLayout>
      </c:layout>
      <c:overlay val="0"/>
      <c:spPr>
        <a:solidFill>
          <a:srgbClr val="FFFFFF"/>
        </a:solidFill>
        <a:ln w="2537">
          <a:solidFill>
            <a:srgbClr val="000000"/>
          </a:solidFill>
          <a:prstDash val="solid"/>
        </a:ln>
      </c:spPr>
      <c:txPr>
        <a:bodyPr/>
        <a:lstStyle/>
        <a:p>
          <a:pPr>
            <a:defRPr sz="587" b="0" i="0" u="none" strike="noStrike" baseline="0">
              <a:solidFill>
                <a:srgbClr val="000000"/>
              </a:solidFill>
              <a:latin typeface="Calibri"/>
              <a:ea typeface="Calibri"/>
              <a:cs typeface="Calibri"/>
            </a:defRPr>
          </a:pPr>
          <a:endParaRPr lang="ru-RU"/>
        </a:p>
      </c:txPr>
    </c:legend>
    <c:plotVisOnly val="1"/>
    <c:dispBlanksAs val="gap"/>
    <c:showDLblsOverMax val="0"/>
  </c:chart>
  <c:spPr>
    <a:solidFill>
      <a:srgbClr val="FFFFFF"/>
    </a:solidFill>
    <a:ln>
      <a:noFill/>
    </a:ln>
  </c:spPr>
  <c:txPr>
    <a:bodyPr/>
    <a:lstStyle/>
    <a:p>
      <a:pPr>
        <a:defRPr sz="639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4</c:f>
              <c:strCache>
                <c:ptCount val="1"/>
                <c:pt idx="0">
                  <c:v>9 months 2013</c:v>
                </c:pt>
              </c:strCache>
            </c:strRef>
          </c:tx>
          <c:spPr>
            <a:solidFill>
              <a:srgbClr val="FF3300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1.8245100077247167E-2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3.4665690146769651E-2"/>
                  <c:y val="-5.5748270224254207E-17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-1.4596080061797734E-2"/>
                  <c:y val="-1.1149654044850841E-16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5:$A$9</c:f>
              <c:strCache>
                <c:ptCount val="5"/>
                <c:pt idx="0">
                  <c:v>TOTAL</c:v>
                </c:pt>
                <c:pt idx="1">
                  <c:v>Export</c:v>
                </c:pt>
                <c:pt idx="2">
                  <c:v>Import</c:v>
                </c:pt>
                <c:pt idx="3">
                  <c:v>Transit</c:v>
                </c:pt>
                <c:pt idx="4">
                  <c:v>Coasting trade</c:v>
                </c:pt>
              </c:strCache>
            </c:strRef>
          </c:cat>
          <c:val>
            <c:numRef>
              <c:f>Лист1!$B$5:$B$9</c:f>
              <c:numCache>
                <c:formatCode>General</c:formatCode>
                <c:ptCount val="5"/>
                <c:pt idx="0">
                  <c:v>3977.7</c:v>
                </c:pt>
                <c:pt idx="1">
                  <c:v>1715.8</c:v>
                </c:pt>
                <c:pt idx="2">
                  <c:v>1756.1</c:v>
                </c:pt>
                <c:pt idx="3">
                  <c:v>69.099999999999994</c:v>
                </c:pt>
                <c:pt idx="4" formatCode="0.0">
                  <c:v>436.7</c:v>
                </c:pt>
              </c:numCache>
            </c:numRef>
          </c:val>
        </c:ser>
        <c:ser>
          <c:idx val="1"/>
          <c:order val="1"/>
          <c:tx>
            <c:strRef>
              <c:f>Лист1!$C$4</c:f>
              <c:strCache>
                <c:ptCount val="1"/>
                <c:pt idx="0">
                  <c:v>9 mnths 2014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dLbl>
              <c:idx val="2"/>
              <c:layout>
                <c:manualLayout>
                  <c:x val="3.2841180139044905E-2"/>
                  <c:y val="3.0408498672561844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5:$A$9</c:f>
              <c:strCache>
                <c:ptCount val="5"/>
                <c:pt idx="0">
                  <c:v>TOTAL</c:v>
                </c:pt>
                <c:pt idx="1">
                  <c:v>Export</c:v>
                </c:pt>
                <c:pt idx="2">
                  <c:v>Import</c:v>
                </c:pt>
                <c:pt idx="3">
                  <c:v>Transit</c:v>
                </c:pt>
                <c:pt idx="4">
                  <c:v>Coasting trade</c:v>
                </c:pt>
              </c:strCache>
            </c:strRef>
          </c:cat>
          <c:val>
            <c:numRef>
              <c:f>Лист1!$C$5:$C$9</c:f>
              <c:numCache>
                <c:formatCode>General</c:formatCode>
                <c:ptCount val="5"/>
                <c:pt idx="0">
                  <c:v>3991.8</c:v>
                </c:pt>
                <c:pt idx="1">
                  <c:v>1738.4</c:v>
                </c:pt>
                <c:pt idx="2">
                  <c:v>1749.6</c:v>
                </c:pt>
                <c:pt idx="3">
                  <c:v>78.3</c:v>
                </c:pt>
                <c:pt idx="4">
                  <c:v>425.5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48187704"/>
        <c:axId val="148183392"/>
      </c:barChart>
      <c:catAx>
        <c:axId val="1481877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48183392"/>
        <c:crosses val="autoZero"/>
        <c:auto val="1"/>
        <c:lblAlgn val="ctr"/>
        <c:lblOffset val="100"/>
        <c:noMultiLvlLbl val="0"/>
      </c:catAx>
      <c:valAx>
        <c:axId val="14818339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481877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60866199774076812"/>
          <c:y val="0.13802872477770672"/>
          <c:w val="0.36287018697492363"/>
          <c:h val="6.222776013393147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49970E2-9539-4D88-9981-1D73907B43F6}" type="doc">
      <dgm:prSet loTypeId="urn:microsoft.com/office/officeart/2005/8/layout/hChevron3" loCatId="process" qsTypeId="urn:microsoft.com/office/officeart/2005/8/quickstyle/simple4" qsCatId="simple" csTypeId="urn:microsoft.com/office/officeart/2005/8/colors/colorful2" csCatId="colorful" phldr="1"/>
      <dgm:spPr/>
    </dgm:pt>
    <dgm:pt modelId="{4C29C61A-6E8E-4276-9D86-9A480E2C8853}">
      <dgm:prSet phldrT="[Текст]"/>
      <dgm:spPr>
        <a:gradFill rotWithShape="0">
          <a:gsLst>
            <a:gs pos="0">
              <a:srgbClr val="A603AB"/>
            </a:gs>
            <a:gs pos="21001">
              <a:srgbClr val="00B0F0"/>
            </a:gs>
            <a:gs pos="40000">
              <a:srgbClr val="1A8D48"/>
            </a:gs>
            <a:gs pos="59000">
              <a:srgbClr val="FFFF00"/>
            </a:gs>
            <a:gs pos="77000">
              <a:srgbClr val="EE3F17"/>
            </a:gs>
            <a:gs pos="100000">
              <a:srgbClr val="E81766"/>
            </a:gs>
          </a:gsLst>
          <a:lin ang="0" scaled="1"/>
        </a:gradFill>
        <a:ln>
          <a:noFill/>
        </a:ln>
      </dgm:spPr>
      <dgm:t>
        <a:bodyPr/>
        <a:lstStyle/>
        <a:p>
          <a:r>
            <a:rPr lang="en-US" dirty="0" smtClean="0"/>
            <a:t>1</a:t>
          </a:r>
          <a:endParaRPr lang="ru-RU" dirty="0"/>
        </a:p>
      </dgm:t>
    </dgm:pt>
    <dgm:pt modelId="{4BCD810F-A8B3-4431-AADB-985F89006B51}" type="parTrans" cxnId="{3BA680A0-A196-4156-BD30-AD786C0350AF}">
      <dgm:prSet/>
      <dgm:spPr/>
      <dgm:t>
        <a:bodyPr/>
        <a:lstStyle/>
        <a:p>
          <a:endParaRPr lang="ru-RU"/>
        </a:p>
      </dgm:t>
    </dgm:pt>
    <dgm:pt modelId="{338A77F1-C5BA-43C8-BDE0-B869CEDD8528}" type="sibTrans" cxnId="{3BA680A0-A196-4156-BD30-AD786C0350AF}">
      <dgm:prSet/>
      <dgm:spPr/>
      <dgm:t>
        <a:bodyPr/>
        <a:lstStyle/>
        <a:p>
          <a:endParaRPr lang="ru-RU"/>
        </a:p>
      </dgm:t>
    </dgm:pt>
    <dgm:pt modelId="{461B5C22-1C85-46D4-82D4-7AAF0D05A2A5}">
      <dgm:prSet phldrT="[Текст]"/>
      <dgm:spPr>
        <a:solidFill>
          <a:srgbClr val="FFC000"/>
        </a:solidFill>
      </dgm:spPr>
      <dgm:t>
        <a:bodyPr/>
        <a:lstStyle/>
        <a:p>
          <a:r>
            <a:rPr lang="en-US" dirty="0" smtClean="0"/>
            <a:t>4</a:t>
          </a:r>
          <a:endParaRPr lang="ru-RU" dirty="0"/>
        </a:p>
      </dgm:t>
    </dgm:pt>
    <dgm:pt modelId="{6E851CD3-9E52-4C19-B50E-A871594877E9}" type="parTrans" cxnId="{C6FA32A6-0587-4834-B3DB-F1444EA13B99}">
      <dgm:prSet/>
      <dgm:spPr/>
      <dgm:t>
        <a:bodyPr/>
        <a:lstStyle/>
        <a:p>
          <a:endParaRPr lang="ru-RU"/>
        </a:p>
      </dgm:t>
    </dgm:pt>
    <dgm:pt modelId="{A761CA61-46E6-4452-9601-98C8C54D74AA}" type="sibTrans" cxnId="{C6FA32A6-0587-4834-B3DB-F1444EA13B99}">
      <dgm:prSet/>
      <dgm:spPr/>
      <dgm:t>
        <a:bodyPr/>
        <a:lstStyle/>
        <a:p>
          <a:endParaRPr lang="ru-RU"/>
        </a:p>
      </dgm:t>
    </dgm:pt>
    <dgm:pt modelId="{E4719C23-F3EA-4EDC-B85F-7C72A251A664}">
      <dgm:prSet phldrT="[Текст]"/>
      <dgm:spPr>
        <a:solidFill>
          <a:srgbClr val="71FF71"/>
        </a:solidFill>
      </dgm:spPr>
      <dgm:t>
        <a:bodyPr/>
        <a:lstStyle/>
        <a:p>
          <a:r>
            <a:rPr lang="en-US" dirty="0" smtClean="0"/>
            <a:t>5</a:t>
          </a:r>
          <a:endParaRPr lang="ru-RU" dirty="0"/>
        </a:p>
      </dgm:t>
    </dgm:pt>
    <dgm:pt modelId="{00AAE09D-C51E-465F-B9E8-C4AD402FDE50}" type="parTrans" cxnId="{21B6CC8E-F0B9-4F79-A22F-165B339467A5}">
      <dgm:prSet/>
      <dgm:spPr/>
      <dgm:t>
        <a:bodyPr/>
        <a:lstStyle/>
        <a:p>
          <a:endParaRPr lang="ru-RU"/>
        </a:p>
      </dgm:t>
    </dgm:pt>
    <dgm:pt modelId="{12244497-4F8F-4E4E-A55A-BB4A6386B158}" type="sibTrans" cxnId="{21B6CC8E-F0B9-4F79-A22F-165B339467A5}">
      <dgm:prSet/>
      <dgm:spPr/>
      <dgm:t>
        <a:bodyPr/>
        <a:lstStyle/>
        <a:p>
          <a:endParaRPr lang="ru-RU"/>
        </a:p>
      </dgm:t>
    </dgm:pt>
    <dgm:pt modelId="{D435A3DF-506B-4C2C-B446-7240B1B29D51}">
      <dgm:prSet/>
      <dgm:spPr/>
      <dgm:t>
        <a:bodyPr/>
        <a:lstStyle/>
        <a:p>
          <a:r>
            <a:rPr lang="en-US" dirty="0" smtClean="0"/>
            <a:t>2</a:t>
          </a:r>
          <a:endParaRPr lang="ru-RU" dirty="0"/>
        </a:p>
      </dgm:t>
    </dgm:pt>
    <dgm:pt modelId="{037F1B60-3AB8-486F-B6B8-06FE817405E8}" type="parTrans" cxnId="{33C44DFC-29C0-428B-A18C-F64947DA624F}">
      <dgm:prSet/>
      <dgm:spPr/>
      <dgm:t>
        <a:bodyPr/>
        <a:lstStyle/>
        <a:p>
          <a:endParaRPr lang="ru-RU"/>
        </a:p>
      </dgm:t>
    </dgm:pt>
    <dgm:pt modelId="{E4610375-9872-4014-9E5A-B385E9F6ABD4}" type="sibTrans" cxnId="{33C44DFC-29C0-428B-A18C-F64947DA624F}">
      <dgm:prSet/>
      <dgm:spPr/>
      <dgm:t>
        <a:bodyPr/>
        <a:lstStyle/>
        <a:p>
          <a:endParaRPr lang="ru-RU"/>
        </a:p>
      </dgm:t>
    </dgm:pt>
    <dgm:pt modelId="{8CD13D9E-DBEE-4007-B8D0-09725F0F0A54}">
      <dgm:prSet/>
      <dgm:spPr>
        <a:solidFill>
          <a:srgbClr val="FF0000"/>
        </a:solidFill>
      </dgm:spPr>
      <dgm:t>
        <a:bodyPr/>
        <a:lstStyle/>
        <a:p>
          <a:r>
            <a:rPr lang="en-US" dirty="0" smtClean="0"/>
            <a:t>3</a:t>
          </a:r>
          <a:endParaRPr lang="ru-RU" dirty="0"/>
        </a:p>
      </dgm:t>
    </dgm:pt>
    <dgm:pt modelId="{547E7337-D84F-4C0D-9DFD-EC52A95C17BD}" type="parTrans" cxnId="{6FA40239-5AAB-43B2-85F2-DAB70E928F99}">
      <dgm:prSet/>
      <dgm:spPr/>
      <dgm:t>
        <a:bodyPr/>
        <a:lstStyle/>
        <a:p>
          <a:endParaRPr lang="ru-RU"/>
        </a:p>
      </dgm:t>
    </dgm:pt>
    <dgm:pt modelId="{7AB89B6B-B4C1-4B32-A0B3-AE53213CA6D5}" type="sibTrans" cxnId="{6FA40239-5AAB-43B2-85F2-DAB70E928F99}">
      <dgm:prSet/>
      <dgm:spPr/>
      <dgm:t>
        <a:bodyPr/>
        <a:lstStyle/>
        <a:p>
          <a:endParaRPr lang="ru-RU"/>
        </a:p>
      </dgm:t>
    </dgm:pt>
    <dgm:pt modelId="{F6261E68-A61A-4386-8DF8-1EF410FF4086}" type="pres">
      <dgm:prSet presAssocID="{749970E2-9539-4D88-9981-1D73907B43F6}" presName="Name0" presStyleCnt="0">
        <dgm:presLayoutVars>
          <dgm:dir/>
          <dgm:resizeHandles val="exact"/>
        </dgm:presLayoutVars>
      </dgm:prSet>
      <dgm:spPr/>
    </dgm:pt>
    <dgm:pt modelId="{C430B11F-1651-47AC-B043-88236912160B}" type="pres">
      <dgm:prSet presAssocID="{4C29C61A-6E8E-4276-9D86-9A480E2C8853}" presName="parTxOnly" presStyleLbl="node1" presStyleIdx="0" presStyleCnt="5" custScaleX="133978" custScaleY="135713" custLinFactNeighborX="3102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1057D04-BA7D-40B8-8511-5E5E53B91080}" type="pres">
      <dgm:prSet presAssocID="{338A77F1-C5BA-43C8-BDE0-B869CEDD8528}" presName="parSpace" presStyleCnt="0"/>
      <dgm:spPr/>
    </dgm:pt>
    <dgm:pt modelId="{61BF38AC-9656-4758-A7B6-BA88D48EA212}" type="pres">
      <dgm:prSet presAssocID="{D435A3DF-506B-4C2C-B446-7240B1B29D51}" presName="parTxOnly" presStyleLbl="node1" presStyleIdx="1" presStyleCnt="5" custScaleX="112666" custScaleY="13384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179347C-1B6D-4B0F-9E25-7D1596F4E83C}" type="pres">
      <dgm:prSet presAssocID="{E4610375-9872-4014-9E5A-B385E9F6ABD4}" presName="parSpace" presStyleCnt="0"/>
      <dgm:spPr/>
    </dgm:pt>
    <dgm:pt modelId="{87620852-91B6-4E62-AE48-F87AF0C312AC}" type="pres">
      <dgm:prSet presAssocID="{8CD13D9E-DBEE-4007-B8D0-09725F0F0A54}" presName="parTxOnly" presStyleLbl="node1" presStyleIdx="2" presStyleCnt="5" custScaleX="81493" custScaleY="9067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E9E5783-1AB5-4884-A63E-3A629F79190E}" type="pres">
      <dgm:prSet presAssocID="{7AB89B6B-B4C1-4B32-A0B3-AE53213CA6D5}" presName="parSpace" presStyleCnt="0"/>
      <dgm:spPr/>
    </dgm:pt>
    <dgm:pt modelId="{06BF6FFF-C701-4673-8D61-7FE5B264BA34}" type="pres">
      <dgm:prSet presAssocID="{461B5C22-1C85-46D4-82D4-7AAF0D05A2A5}" presName="parTxOnly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9431321-9077-420C-9CF2-0FE0B67D24C9}" type="pres">
      <dgm:prSet presAssocID="{A761CA61-46E6-4452-9601-98C8C54D74AA}" presName="parSpace" presStyleCnt="0"/>
      <dgm:spPr/>
    </dgm:pt>
    <dgm:pt modelId="{1ACDF47E-3E93-440A-8877-76F059265D79}" type="pres">
      <dgm:prSet presAssocID="{E4719C23-F3EA-4EDC-B85F-7C72A251A664}" presName="parTxOnly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7E708481-04B2-45A3-9CBA-ED4CA031E8FE}" type="presOf" srcId="{4C29C61A-6E8E-4276-9D86-9A480E2C8853}" destId="{C430B11F-1651-47AC-B043-88236912160B}" srcOrd="0" destOrd="0" presId="urn:microsoft.com/office/officeart/2005/8/layout/hChevron3"/>
    <dgm:cxn modelId="{C6FA32A6-0587-4834-B3DB-F1444EA13B99}" srcId="{749970E2-9539-4D88-9981-1D73907B43F6}" destId="{461B5C22-1C85-46D4-82D4-7AAF0D05A2A5}" srcOrd="3" destOrd="0" parTransId="{6E851CD3-9E52-4C19-B50E-A871594877E9}" sibTransId="{A761CA61-46E6-4452-9601-98C8C54D74AA}"/>
    <dgm:cxn modelId="{0711C9B8-411B-4A2A-931A-6EC0B76D1659}" type="presOf" srcId="{E4719C23-F3EA-4EDC-B85F-7C72A251A664}" destId="{1ACDF47E-3E93-440A-8877-76F059265D79}" srcOrd="0" destOrd="0" presId="urn:microsoft.com/office/officeart/2005/8/layout/hChevron3"/>
    <dgm:cxn modelId="{544CCDB0-BC26-4618-9E57-BCB9E744018A}" type="presOf" srcId="{749970E2-9539-4D88-9981-1D73907B43F6}" destId="{F6261E68-A61A-4386-8DF8-1EF410FF4086}" srcOrd="0" destOrd="0" presId="urn:microsoft.com/office/officeart/2005/8/layout/hChevron3"/>
    <dgm:cxn modelId="{3BA680A0-A196-4156-BD30-AD786C0350AF}" srcId="{749970E2-9539-4D88-9981-1D73907B43F6}" destId="{4C29C61A-6E8E-4276-9D86-9A480E2C8853}" srcOrd="0" destOrd="0" parTransId="{4BCD810F-A8B3-4431-AADB-985F89006B51}" sibTransId="{338A77F1-C5BA-43C8-BDE0-B869CEDD8528}"/>
    <dgm:cxn modelId="{542C4685-51EA-4998-936F-A03AEC47D3A8}" type="presOf" srcId="{8CD13D9E-DBEE-4007-B8D0-09725F0F0A54}" destId="{87620852-91B6-4E62-AE48-F87AF0C312AC}" srcOrd="0" destOrd="0" presId="urn:microsoft.com/office/officeart/2005/8/layout/hChevron3"/>
    <dgm:cxn modelId="{21B6CC8E-F0B9-4F79-A22F-165B339467A5}" srcId="{749970E2-9539-4D88-9981-1D73907B43F6}" destId="{E4719C23-F3EA-4EDC-B85F-7C72A251A664}" srcOrd="4" destOrd="0" parTransId="{00AAE09D-C51E-465F-B9E8-C4AD402FDE50}" sibTransId="{12244497-4F8F-4E4E-A55A-BB4A6386B158}"/>
    <dgm:cxn modelId="{6FA40239-5AAB-43B2-85F2-DAB70E928F99}" srcId="{749970E2-9539-4D88-9981-1D73907B43F6}" destId="{8CD13D9E-DBEE-4007-B8D0-09725F0F0A54}" srcOrd="2" destOrd="0" parTransId="{547E7337-D84F-4C0D-9DFD-EC52A95C17BD}" sibTransId="{7AB89B6B-B4C1-4B32-A0B3-AE53213CA6D5}"/>
    <dgm:cxn modelId="{33C44DFC-29C0-428B-A18C-F64947DA624F}" srcId="{749970E2-9539-4D88-9981-1D73907B43F6}" destId="{D435A3DF-506B-4C2C-B446-7240B1B29D51}" srcOrd="1" destOrd="0" parTransId="{037F1B60-3AB8-486F-B6B8-06FE817405E8}" sibTransId="{E4610375-9872-4014-9E5A-B385E9F6ABD4}"/>
    <dgm:cxn modelId="{8DE817D6-9824-4A90-AB66-4DD6BDF041FA}" type="presOf" srcId="{D435A3DF-506B-4C2C-B446-7240B1B29D51}" destId="{61BF38AC-9656-4758-A7B6-BA88D48EA212}" srcOrd="0" destOrd="0" presId="urn:microsoft.com/office/officeart/2005/8/layout/hChevron3"/>
    <dgm:cxn modelId="{7C55B4CB-8697-4B09-9E7F-71A71ADF36B8}" type="presOf" srcId="{461B5C22-1C85-46D4-82D4-7AAF0D05A2A5}" destId="{06BF6FFF-C701-4673-8D61-7FE5B264BA34}" srcOrd="0" destOrd="0" presId="urn:microsoft.com/office/officeart/2005/8/layout/hChevron3"/>
    <dgm:cxn modelId="{C2F960F9-02D2-4929-9DCE-236F4A0EED77}" type="presParOf" srcId="{F6261E68-A61A-4386-8DF8-1EF410FF4086}" destId="{C430B11F-1651-47AC-B043-88236912160B}" srcOrd="0" destOrd="0" presId="urn:microsoft.com/office/officeart/2005/8/layout/hChevron3"/>
    <dgm:cxn modelId="{1A746C13-3605-4136-9698-8A835DAC4E5E}" type="presParOf" srcId="{F6261E68-A61A-4386-8DF8-1EF410FF4086}" destId="{F1057D04-BA7D-40B8-8511-5E5E53B91080}" srcOrd="1" destOrd="0" presId="urn:microsoft.com/office/officeart/2005/8/layout/hChevron3"/>
    <dgm:cxn modelId="{6A51A4AD-561F-4A90-8EBF-48C3EF00C459}" type="presParOf" srcId="{F6261E68-A61A-4386-8DF8-1EF410FF4086}" destId="{61BF38AC-9656-4758-A7B6-BA88D48EA212}" srcOrd="2" destOrd="0" presId="urn:microsoft.com/office/officeart/2005/8/layout/hChevron3"/>
    <dgm:cxn modelId="{D002D7AF-E572-4A71-AFF0-E087B668E695}" type="presParOf" srcId="{F6261E68-A61A-4386-8DF8-1EF410FF4086}" destId="{B179347C-1B6D-4B0F-9E25-7D1596F4E83C}" srcOrd="3" destOrd="0" presId="urn:microsoft.com/office/officeart/2005/8/layout/hChevron3"/>
    <dgm:cxn modelId="{8E2557F7-6B74-4A77-BA79-44387C643A38}" type="presParOf" srcId="{F6261E68-A61A-4386-8DF8-1EF410FF4086}" destId="{87620852-91B6-4E62-AE48-F87AF0C312AC}" srcOrd="4" destOrd="0" presId="urn:microsoft.com/office/officeart/2005/8/layout/hChevron3"/>
    <dgm:cxn modelId="{4A785A88-A1C4-44BF-937F-9A8A37748918}" type="presParOf" srcId="{F6261E68-A61A-4386-8DF8-1EF410FF4086}" destId="{AE9E5783-1AB5-4884-A63E-3A629F79190E}" srcOrd="5" destOrd="0" presId="urn:microsoft.com/office/officeart/2005/8/layout/hChevron3"/>
    <dgm:cxn modelId="{E564E2DB-BE9A-43A0-BC43-5AF20F780E73}" type="presParOf" srcId="{F6261E68-A61A-4386-8DF8-1EF410FF4086}" destId="{06BF6FFF-C701-4673-8D61-7FE5B264BA34}" srcOrd="6" destOrd="0" presId="urn:microsoft.com/office/officeart/2005/8/layout/hChevron3"/>
    <dgm:cxn modelId="{94AD2607-D4FA-48FE-863F-99D970FE3EDF}" type="presParOf" srcId="{F6261E68-A61A-4386-8DF8-1EF410FF4086}" destId="{E9431321-9077-420C-9CF2-0FE0B67D24C9}" srcOrd="7" destOrd="0" presId="urn:microsoft.com/office/officeart/2005/8/layout/hChevron3"/>
    <dgm:cxn modelId="{0FA949E4-01E9-48A1-B05D-45EF1F66018C}" type="presParOf" srcId="{F6261E68-A61A-4386-8DF8-1EF410FF4086}" destId="{1ACDF47E-3E93-440A-8877-76F059265D79}" srcOrd="8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49970E2-9539-4D88-9981-1D73907B43F6}" type="doc">
      <dgm:prSet loTypeId="urn:microsoft.com/office/officeart/2005/8/layout/process1" loCatId="process" qsTypeId="urn:microsoft.com/office/officeart/2005/8/quickstyle/simple4" qsCatId="simple" csTypeId="urn:microsoft.com/office/officeart/2005/8/colors/colorful2" csCatId="colorful" phldr="1"/>
      <dgm:spPr/>
    </dgm:pt>
    <dgm:pt modelId="{4C29C61A-6E8E-4276-9D86-9A480E2C8853}">
      <dgm:prSet phldrT="[Текст]"/>
      <dgm:spPr/>
      <dgm:t>
        <a:bodyPr/>
        <a:lstStyle/>
        <a:p>
          <a:r>
            <a:rPr lang="en-US" dirty="0" smtClean="0"/>
            <a:t>1</a:t>
          </a:r>
          <a:endParaRPr lang="ru-RU" dirty="0"/>
        </a:p>
      </dgm:t>
    </dgm:pt>
    <dgm:pt modelId="{4BCD810F-A8B3-4431-AADB-985F89006B51}" type="parTrans" cxnId="{3BA680A0-A196-4156-BD30-AD786C0350AF}">
      <dgm:prSet/>
      <dgm:spPr/>
      <dgm:t>
        <a:bodyPr/>
        <a:lstStyle/>
        <a:p>
          <a:endParaRPr lang="ru-RU"/>
        </a:p>
      </dgm:t>
    </dgm:pt>
    <dgm:pt modelId="{338A77F1-C5BA-43C8-BDE0-B869CEDD8528}" type="sibTrans" cxnId="{3BA680A0-A196-4156-BD30-AD786C0350AF}">
      <dgm:prSet/>
      <dgm:spPr/>
      <dgm:t>
        <a:bodyPr/>
        <a:lstStyle/>
        <a:p>
          <a:endParaRPr lang="ru-RU"/>
        </a:p>
      </dgm:t>
    </dgm:pt>
    <dgm:pt modelId="{461B5C22-1C85-46D4-82D4-7AAF0D05A2A5}">
      <dgm:prSet phldrT="[Текст]"/>
      <dgm:spPr>
        <a:gradFill rotWithShape="0">
          <a:gsLst>
            <a:gs pos="0">
              <a:srgbClr val="A603AB"/>
            </a:gs>
            <a:gs pos="21001">
              <a:srgbClr val="00B0F0"/>
            </a:gs>
            <a:gs pos="40000">
              <a:srgbClr val="1A8D48"/>
            </a:gs>
            <a:gs pos="59000">
              <a:srgbClr val="FFFF00"/>
            </a:gs>
            <a:gs pos="77000">
              <a:srgbClr val="EE3F17"/>
            </a:gs>
            <a:gs pos="100000">
              <a:srgbClr val="E81766"/>
            </a:gs>
          </a:gsLst>
          <a:lin ang="0" scaled="1"/>
        </a:gradFill>
      </dgm:spPr>
      <dgm:t>
        <a:bodyPr/>
        <a:lstStyle/>
        <a:p>
          <a:r>
            <a:rPr lang="en-US" dirty="0" smtClean="0"/>
            <a:t>4</a:t>
          </a:r>
          <a:endParaRPr lang="ru-RU" dirty="0"/>
        </a:p>
      </dgm:t>
    </dgm:pt>
    <dgm:pt modelId="{6E851CD3-9E52-4C19-B50E-A871594877E9}" type="parTrans" cxnId="{C6FA32A6-0587-4834-B3DB-F1444EA13B99}">
      <dgm:prSet/>
      <dgm:spPr/>
      <dgm:t>
        <a:bodyPr/>
        <a:lstStyle/>
        <a:p>
          <a:endParaRPr lang="ru-RU"/>
        </a:p>
      </dgm:t>
    </dgm:pt>
    <dgm:pt modelId="{A761CA61-46E6-4452-9601-98C8C54D74AA}" type="sibTrans" cxnId="{C6FA32A6-0587-4834-B3DB-F1444EA13B99}">
      <dgm:prSet/>
      <dgm:spPr/>
      <dgm:t>
        <a:bodyPr/>
        <a:lstStyle/>
        <a:p>
          <a:endParaRPr lang="ru-RU"/>
        </a:p>
      </dgm:t>
    </dgm:pt>
    <dgm:pt modelId="{E4719C23-F3EA-4EDC-B85F-7C72A251A664}">
      <dgm:prSet phldrT="[Текст]"/>
      <dgm:spPr>
        <a:solidFill>
          <a:srgbClr val="71FF71"/>
        </a:solidFill>
      </dgm:spPr>
      <dgm:t>
        <a:bodyPr/>
        <a:lstStyle/>
        <a:p>
          <a:r>
            <a:rPr lang="en-US" dirty="0" smtClean="0"/>
            <a:t>5</a:t>
          </a:r>
          <a:endParaRPr lang="ru-RU" dirty="0"/>
        </a:p>
      </dgm:t>
    </dgm:pt>
    <dgm:pt modelId="{00AAE09D-C51E-465F-B9E8-C4AD402FDE50}" type="parTrans" cxnId="{21B6CC8E-F0B9-4F79-A22F-165B339467A5}">
      <dgm:prSet/>
      <dgm:spPr/>
      <dgm:t>
        <a:bodyPr/>
        <a:lstStyle/>
        <a:p>
          <a:endParaRPr lang="ru-RU"/>
        </a:p>
      </dgm:t>
    </dgm:pt>
    <dgm:pt modelId="{12244497-4F8F-4E4E-A55A-BB4A6386B158}" type="sibTrans" cxnId="{21B6CC8E-F0B9-4F79-A22F-165B339467A5}">
      <dgm:prSet/>
      <dgm:spPr/>
      <dgm:t>
        <a:bodyPr/>
        <a:lstStyle/>
        <a:p>
          <a:endParaRPr lang="ru-RU"/>
        </a:p>
      </dgm:t>
    </dgm:pt>
    <dgm:pt modelId="{D435A3DF-506B-4C2C-B446-7240B1B29D51}">
      <dgm:prSet/>
      <dgm:spPr/>
      <dgm:t>
        <a:bodyPr/>
        <a:lstStyle/>
        <a:p>
          <a:r>
            <a:rPr lang="en-US" dirty="0" smtClean="0"/>
            <a:t>2</a:t>
          </a:r>
          <a:endParaRPr lang="ru-RU" dirty="0"/>
        </a:p>
      </dgm:t>
    </dgm:pt>
    <dgm:pt modelId="{037F1B60-3AB8-486F-B6B8-06FE817405E8}" type="parTrans" cxnId="{33C44DFC-29C0-428B-A18C-F64947DA624F}">
      <dgm:prSet/>
      <dgm:spPr/>
      <dgm:t>
        <a:bodyPr/>
        <a:lstStyle/>
        <a:p>
          <a:endParaRPr lang="ru-RU"/>
        </a:p>
      </dgm:t>
    </dgm:pt>
    <dgm:pt modelId="{E4610375-9872-4014-9E5A-B385E9F6ABD4}" type="sibTrans" cxnId="{33C44DFC-29C0-428B-A18C-F64947DA624F}">
      <dgm:prSet/>
      <dgm:spPr/>
      <dgm:t>
        <a:bodyPr/>
        <a:lstStyle/>
        <a:p>
          <a:endParaRPr lang="ru-RU"/>
        </a:p>
      </dgm:t>
    </dgm:pt>
    <dgm:pt modelId="{8CD13D9E-DBEE-4007-B8D0-09725F0F0A54}">
      <dgm:prSet/>
      <dgm:spPr>
        <a:solidFill>
          <a:srgbClr val="FF0000"/>
        </a:solidFill>
      </dgm:spPr>
      <dgm:t>
        <a:bodyPr/>
        <a:lstStyle/>
        <a:p>
          <a:r>
            <a:rPr lang="en-US" dirty="0" smtClean="0"/>
            <a:t>3</a:t>
          </a:r>
          <a:endParaRPr lang="ru-RU" dirty="0"/>
        </a:p>
      </dgm:t>
    </dgm:pt>
    <dgm:pt modelId="{547E7337-D84F-4C0D-9DFD-EC52A95C17BD}" type="parTrans" cxnId="{6FA40239-5AAB-43B2-85F2-DAB70E928F99}">
      <dgm:prSet/>
      <dgm:spPr/>
      <dgm:t>
        <a:bodyPr/>
        <a:lstStyle/>
        <a:p>
          <a:endParaRPr lang="ru-RU"/>
        </a:p>
      </dgm:t>
    </dgm:pt>
    <dgm:pt modelId="{7AB89B6B-B4C1-4B32-A0B3-AE53213CA6D5}" type="sibTrans" cxnId="{6FA40239-5AAB-43B2-85F2-DAB70E928F99}">
      <dgm:prSet/>
      <dgm:spPr/>
      <dgm:t>
        <a:bodyPr/>
        <a:lstStyle/>
        <a:p>
          <a:endParaRPr lang="ru-RU"/>
        </a:p>
      </dgm:t>
    </dgm:pt>
    <dgm:pt modelId="{6DFC9961-8143-40C3-8FA3-879957DACECB}">
      <dgm:prSet phldrT="[Текст]"/>
      <dgm:spPr>
        <a:solidFill>
          <a:srgbClr val="008000"/>
        </a:solidFill>
      </dgm:spPr>
      <dgm:t>
        <a:bodyPr/>
        <a:lstStyle/>
        <a:p>
          <a:r>
            <a:rPr lang="en-US" dirty="0" smtClean="0"/>
            <a:t>6</a:t>
          </a:r>
          <a:endParaRPr lang="ru-RU" dirty="0"/>
        </a:p>
      </dgm:t>
    </dgm:pt>
    <dgm:pt modelId="{B23635BB-FA3C-4BC2-BA62-751A749CB653}" type="parTrans" cxnId="{D4D1C43D-6069-406F-93AD-13A8A88DD7D6}">
      <dgm:prSet/>
      <dgm:spPr/>
      <dgm:t>
        <a:bodyPr/>
        <a:lstStyle/>
        <a:p>
          <a:endParaRPr lang="ru-RU"/>
        </a:p>
      </dgm:t>
    </dgm:pt>
    <dgm:pt modelId="{C35AF878-DF1D-4F1D-A2F0-3CCD3948A4B3}" type="sibTrans" cxnId="{D4D1C43D-6069-406F-93AD-13A8A88DD7D6}">
      <dgm:prSet/>
      <dgm:spPr/>
      <dgm:t>
        <a:bodyPr/>
        <a:lstStyle/>
        <a:p>
          <a:endParaRPr lang="ru-RU"/>
        </a:p>
      </dgm:t>
    </dgm:pt>
    <dgm:pt modelId="{7E946538-014C-42B1-8E13-0219C93E2112}">
      <dgm:prSet phldrT="[Текст]"/>
      <dgm:spPr>
        <a:solidFill>
          <a:srgbClr val="C00000"/>
        </a:solidFill>
      </dgm:spPr>
      <dgm:t>
        <a:bodyPr/>
        <a:lstStyle/>
        <a:p>
          <a:r>
            <a:rPr lang="en-US" dirty="0" smtClean="0"/>
            <a:t>7</a:t>
          </a:r>
          <a:endParaRPr lang="ru-RU" dirty="0"/>
        </a:p>
      </dgm:t>
    </dgm:pt>
    <dgm:pt modelId="{5FE50EE7-F0AD-4C4F-948E-822320EC51BF}" type="parTrans" cxnId="{F5927C80-60A7-4FFA-B14F-51E82397BC92}">
      <dgm:prSet/>
      <dgm:spPr/>
      <dgm:t>
        <a:bodyPr/>
        <a:lstStyle/>
        <a:p>
          <a:endParaRPr lang="ru-RU"/>
        </a:p>
      </dgm:t>
    </dgm:pt>
    <dgm:pt modelId="{01BB2401-3D06-4E7B-95DB-9BF708D4038B}" type="sibTrans" cxnId="{F5927C80-60A7-4FFA-B14F-51E82397BC92}">
      <dgm:prSet/>
      <dgm:spPr/>
      <dgm:t>
        <a:bodyPr/>
        <a:lstStyle/>
        <a:p>
          <a:endParaRPr lang="ru-RU"/>
        </a:p>
      </dgm:t>
    </dgm:pt>
    <dgm:pt modelId="{3827C834-BA6B-4483-B934-68C4CDE90F90}">
      <dgm:prSet phldrT="[Текст]"/>
      <dgm:spPr>
        <a:solidFill>
          <a:schemeClr val="bg1">
            <a:lumMod val="50000"/>
          </a:schemeClr>
        </a:solidFill>
      </dgm:spPr>
      <dgm:t>
        <a:bodyPr/>
        <a:lstStyle/>
        <a:p>
          <a:r>
            <a:rPr lang="en-US" dirty="0" smtClean="0"/>
            <a:t>8</a:t>
          </a:r>
          <a:endParaRPr lang="ru-RU" dirty="0"/>
        </a:p>
      </dgm:t>
    </dgm:pt>
    <dgm:pt modelId="{18E9B7B4-AFD5-4FFB-A6C0-ED9207EC3890}" type="parTrans" cxnId="{06473009-E3F6-41E2-B30A-3539A72AF3BD}">
      <dgm:prSet/>
      <dgm:spPr/>
      <dgm:t>
        <a:bodyPr/>
        <a:lstStyle/>
        <a:p>
          <a:endParaRPr lang="ru-RU"/>
        </a:p>
      </dgm:t>
    </dgm:pt>
    <dgm:pt modelId="{946D749F-4A14-4F2F-A407-C89DFB26B92C}" type="sibTrans" cxnId="{06473009-E3F6-41E2-B30A-3539A72AF3BD}">
      <dgm:prSet/>
      <dgm:spPr/>
      <dgm:t>
        <a:bodyPr/>
        <a:lstStyle/>
        <a:p>
          <a:endParaRPr lang="ru-RU"/>
        </a:p>
      </dgm:t>
    </dgm:pt>
    <dgm:pt modelId="{7C7554B7-147F-4136-ADA3-645BDB8D666C}" type="pres">
      <dgm:prSet presAssocID="{749970E2-9539-4D88-9981-1D73907B43F6}" presName="Name0" presStyleCnt="0">
        <dgm:presLayoutVars>
          <dgm:dir/>
          <dgm:resizeHandles val="exact"/>
        </dgm:presLayoutVars>
      </dgm:prSet>
      <dgm:spPr/>
    </dgm:pt>
    <dgm:pt modelId="{7521E398-F086-4D74-A321-8D4B8CE587BC}" type="pres">
      <dgm:prSet presAssocID="{4C29C61A-6E8E-4276-9D86-9A480E2C8853}" presName="node" presStyleLbl="node1" presStyleIdx="0" presStyleCnt="8" custScaleX="169955" custScaleY="14913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A025205-B5E7-48DA-8EAD-BF26721DD1BE}" type="pres">
      <dgm:prSet presAssocID="{338A77F1-C5BA-43C8-BDE0-B869CEDD8528}" presName="sibTrans" presStyleLbl="sibTrans2D1" presStyleIdx="0" presStyleCnt="7"/>
      <dgm:spPr>
        <a:prstGeom prst="flowChartConnector">
          <a:avLst/>
        </a:prstGeom>
      </dgm:spPr>
      <dgm:t>
        <a:bodyPr/>
        <a:lstStyle/>
        <a:p>
          <a:endParaRPr lang="ru-RU"/>
        </a:p>
      </dgm:t>
    </dgm:pt>
    <dgm:pt modelId="{486715B8-2B1F-4650-8C7C-DFE65A6727F3}" type="pres">
      <dgm:prSet presAssocID="{338A77F1-C5BA-43C8-BDE0-B869CEDD8528}" presName="connectorText" presStyleLbl="sibTrans2D1" presStyleIdx="0" presStyleCnt="7"/>
      <dgm:spPr/>
      <dgm:t>
        <a:bodyPr/>
        <a:lstStyle/>
        <a:p>
          <a:endParaRPr lang="ru-RU"/>
        </a:p>
      </dgm:t>
    </dgm:pt>
    <dgm:pt modelId="{0D1463D7-5DEC-496E-A15E-ED43092C215A}" type="pres">
      <dgm:prSet presAssocID="{D435A3DF-506B-4C2C-B446-7240B1B29D51}" presName="node" presStyleLbl="node1" presStyleIdx="1" presStyleCnt="8" custScaleX="148803" custScaleY="14274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5D669AD-4BE0-445A-B06A-D887AB185E53}" type="pres">
      <dgm:prSet presAssocID="{E4610375-9872-4014-9E5A-B385E9F6ABD4}" presName="sibTrans" presStyleLbl="sibTrans2D1" presStyleIdx="1" presStyleCnt="7"/>
      <dgm:spPr>
        <a:prstGeom prst="flowChartConnector">
          <a:avLst/>
        </a:prstGeom>
      </dgm:spPr>
      <dgm:t>
        <a:bodyPr/>
        <a:lstStyle/>
        <a:p>
          <a:endParaRPr lang="ru-RU"/>
        </a:p>
      </dgm:t>
    </dgm:pt>
    <dgm:pt modelId="{525D4FDE-ADC5-4B39-96A6-55BD066F9A3E}" type="pres">
      <dgm:prSet presAssocID="{E4610375-9872-4014-9E5A-B385E9F6ABD4}" presName="connectorText" presStyleLbl="sibTrans2D1" presStyleIdx="1" presStyleCnt="7"/>
      <dgm:spPr/>
      <dgm:t>
        <a:bodyPr/>
        <a:lstStyle/>
        <a:p>
          <a:endParaRPr lang="ru-RU"/>
        </a:p>
      </dgm:t>
    </dgm:pt>
    <dgm:pt modelId="{022A127A-8A8F-489D-B8AD-D2AB5614D3BE}" type="pres">
      <dgm:prSet presAssocID="{8CD13D9E-DBEE-4007-B8D0-09725F0F0A54}" presName="node" presStyleLbl="node1" presStyleIdx="2" presStyleCnt="8" custScaleX="159718" custScaleY="15239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F15A3AE-9D4A-40E0-A57F-0ED072806338}" type="pres">
      <dgm:prSet presAssocID="{7AB89B6B-B4C1-4B32-A0B3-AE53213CA6D5}" presName="sibTrans" presStyleLbl="sibTrans2D1" presStyleIdx="2" presStyleCnt="7"/>
      <dgm:spPr>
        <a:prstGeom prst="flowChartConnector">
          <a:avLst/>
        </a:prstGeom>
      </dgm:spPr>
      <dgm:t>
        <a:bodyPr/>
        <a:lstStyle/>
        <a:p>
          <a:endParaRPr lang="ru-RU"/>
        </a:p>
      </dgm:t>
    </dgm:pt>
    <dgm:pt modelId="{4C7679D3-0AF2-4623-9B55-DBEEF1927A88}" type="pres">
      <dgm:prSet presAssocID="{7AB89B6B-B4C1-4B32-A0B3-AE53213CA6D5}" presName="connectorText" presStyleLbl="sibTrans2D1" presStyleIdx="2" presStyleCnt="7"/>
      <dgm:spPr/>
      <dgm:t>
        <a:bodyPr/>
        <a:lstStyle/>
        <a:p>
          <a:endParaRPr lang="ru-RU"/>
        </a:p>
      </dgm:t>
    </dgm:pt>
    <dgm:pt modelId="{58134DDA-FB08-42CA-93E7-5F56C16328E1}" type="pres">
      <dgm:prSet presAssocID="{461B5C22-1C85-46D4-82D4-7AAF0D05A2A5}" presName="node" presStyleLbl="node1" presStyleIdx="3" presStyleCnt="8" custScaleX="152865" custScaleY="14637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DFD9D65-96D1-45B0-8314-C4D719F29F81}" type="pres">
      <dgm:prSet presAssocID="{A761CA61-46E6-4452-9601-98C8C54D74AA}" presName="sibTrans" presStyleLbl="sibTrans2D1" presStyleIdx="3" presStyleCnt="7"/>
      <dgm:spPr>
        <a:prstGeom prst="flowChartConnector">
          <a:avLst/>
        </a:prstGeom>
      </dgm:spPr>
      <dgm:t>
        <a:bodyPr/>
        <a:lstStyle/>
        <a:p>
          <a:endParaRPr lang="ru-RU"/>
        </a:p>
      </dgm:t>
    </dgm:pt>
    <dgm:pt modelId="{29CCAF16-384F-45B0-A702-8D06115AA0DD}" type="pres">
      <dgm:prSet presAssocID="{A761CA61-46E6-4452-9601-98C8C54D74AA}" presName="connectorText" presStyleLbl="sibTrans2D1" presStyleIdx="3" presStyleCnt="7"/>
      <dgm:spPr/>
      <dgm:t>
        <a:bodyPr/>
        <a:lstStyle/>
        <a:p>
          <a:endParaRPr lang="ru-RU"/>
        </a:p>
      </dgm:t>
    </dgm:pt>
    <dgm:pt modelId="{FF19D38E-5865-4D5F-83F5-3E4401420ACC}" type="pres">
      <dgm:prSet presAssocID="{E4719C23-F3EA-4EDC-B85F-7C72A251A664}" presName="node" presStyleLbl="node1" presStyleIdx="4" presStyleCnt="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B2A7A04-C312-4310-9133-A4D083C3DB8C}" type="pres">
      <dgm:prSet presAssocID="{12244497-4F8F-4E4E-A55A-BB4A6386B158}" presName="sibTrans" presStyleLbl="sibTrans2D1" presStyleIdx="4" presStyleCnt="7"/>
      <dgm:spPr>
        <a:prstGeom prst="flowChartConnector">
          <a:avLst/>
        </a:prstGeom>
      </dgm:spPr>
      <dgm:t>
        <a:bodyPr/>
        <a:lstStyle/>
        <a:p>
          <a:endParaRPr lang="ru-RU"/>
        </a:p>
      </dgm:t>
    </dgm:pt>
    <dgm:pt modelId="{1483C93D-A4F7-4A67-AD8C-59139B2D4145}" type="pres">
      <dgm:prSet presAssocID="{12244497-4F8F-4E4E-A55A-BB4A6386B158}" presName="connectorText" presStyleLbl="sibTrans2D1" presStyleIdx="4" presStyleCnt="7"/>
      <dgm:spPr/>
      <dgm:t>
        <a:bodyPr/>
        <a:lstStyle/>
        <a:p>
          <a:endParaRPr lang="ru-RU"/>
        </a:p>
      </dgm:t>
    </dgm:pt>
    <dgm:pt modelId="{AC78B0D9-2E56-4BA5-89E9-7DCC162F0CD0}" type="pres">
      <dgm:prSet presAssocID="{6DFC9961-8143-40C3-8FA3-879957DACECB}" presName="node" presStyleLbl="node1" presStyleIdx="5" presStyleCnt="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BDC9722-1551-4044-98E6-19B135003E50}" type="pres">
      <dgm:prSet presAssocID="{C35AF878-DF1D-4F1D-A2F0-3CCD3948A4B3}" presName="sibTrans" presStyleLbl="sibTrans2D1" presStyleIdx="5" presStyleCnt="7"/>
      <dgm:spPr>
        <a:prstGeom prst="flowChartConnector">
          <a:avLst/>
        </a:prstGeom>
      </dgm:spPr>
      <dgm:t>
        <a:bodyPr/>
        <a:lstStyle/>
        <a:p>
          <a:endParaRPr lang="ru-RU"/>
        </a:p>
      </dgm:t>
    </dgm:pt>
    <dgm:pt modelId="{24870132-338F-46E9-AEC2-A36E266DDAD1}" type="pres">
      <dgm:prSet presAssocID="{C35AF878-DF1D-4F1D-A2F0-3CCD3948A4B3}" presName="connectorText" presStyleLbl="sibTrans2D1" presStyleIdx="5" presStyleCnt="7"/>
      <dgm:spPr/>
      <dgm:t>
        <a:bodyPr/>
        <a:lstStyle/>
        <a:p>
          <a:endParaRPr lang="ru-RU"/>
        </a:p>
      </dgm:t>
    </dgm:pt>
    <dgm:pt modelId="{6AD28E91-2311-4C09-84C8-CD85A07F8F4D}" type="pres">
      <dgm:prSet presAssocID="{7E946538-014C-42B1-8E13-0219C93E2112}" presName="node" presStyleLbl="node1" presStyleIdx="6" presStyleCnt="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14C37C0-4890-4C8F-AC94-2F857E961939}" type="pres">
      <dgm:prSet presAssocID="{01BB2401-3D06-4E7B-95DB-9BF708D4038B}" presName="sibTrans" presStyleLbl="sibTrans2D1" presStyleIdx="6" presStyleCnt="7"/>
      <dgm:spPr>
        <a:prstGeom prst="flowChartConnector">
          <a:avLst/>
        </a:prstGeom>
      </dgm:spPr>
      <dgm:t>
        <a:bodyPr/>
        <a:lstStyle/>
        <a:p>
          <a:endParaRPr lang="ru-RU"/>
        </a:p>
      </dgm:t>
    </dgm:pt>
    <dgm:pt modelId="{72F34038-9D09-4199-9210-9A7A14FF44EB}" type="pres">
      <dgm:prSet presAssocID="{01BB2401-3D06-4E7B-95DB-9BF708D4038B}" presName="connectorText" presStyleLbl="sibTrans2D1" presStyleIdx="6" presStyleCnt="7"/>
      <dgm:spPr/>
      <dgm:t>
        <a:bodyPr/>
        <a:lstStyle/>
        <a:p>
          <a:endParaRPr lang="ru-RU"/>
        </a:p>
      </dgm:t>
    </dgm:pt>
    <dgm:pt modelId="{A0342295-6047-4536-9022-6783593DB076}" type="pres">
      <dgm:prSet presAssocID="{3827C834-BA6B-4483-B934-68C4CDE90F90}" presName="node" presStyleLbl="node1" presStyleIdx="7" presStyleCnt="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6BD5C8B0-8505-41AA-BA27-57BD865AD48E}" type="presOf" srcId="{01BB2401-3D06-4E7B-95DB-9BF708D4038B}" destId="{72F34038-9D09-4199-9210-9A7A14FF44EB}" srcOrd="1" destOrd="0" presId="urn:microsoft.com/office/officeart/2005/8/layout/process1"/>
    <dgm:cxn modelId="{A8B8EA5D-6C47-4DF3-A106-2FCC89EC5F68}" type="presOf" srcId="{01BB2401-3D06-4E7B-95DB-9BF708D4038B}" destId="{814C37C0-4890-4C8F-AC94-2F857E961939}" srcOrd="0" destOrd="0" presId="urn:microsoft.com/office/officeart/2005/8/layout/process1"/>
    <dgm:cxn modelId="{7A2C7E59-5E19-4283-9B28-0C8B18F5B3E5}" type="presOf" srcId="{8CD13D9E-DBEE-4007-B8D0-09725F0F0A54}" destId="{022A127A-8A8F-489D-B8AD-D2AB5614D3BE}" srcOrd="0" destOrd="0" presId="urn:microsoft.com/office/officeart/2005/8/layout/process1"/>
    <dgm:cxn modelId="{06473009-E3F6-41E2-B30A-3539A72AF3BD}" srcId="{749970E2-9539-4D88-9981-1D73907B43F6}" destId="{3827C834-BA6B-4483-B934-68C4CDE90F90}" srcOrd="7" destOrd="0" parTransId="{18E9B7B4-AFD5-4FFB-A6C0-ED9207EC3890}" sibTransId="{946D749F-4A14-4F2F-A407-C89DFB26B92C}"/>
    <dgm:cxn modelId="{33C44DFC-29C0-428B-A18C-F64947DA624F}" srcId="{749970E2-9539-4D88-9981-1D73907B43F6}" destId="{D435A3DF-506B-4C2C-B446-7240B1B29D51}" srcOrd="1" destOrd="0" parTransId="{037F1B60-3AB8-486F-B6B8-06FE817405E8}" sibTransId="{E4610375-9872-4014-9E5A-B385E9F6ABD4}"/>
    <dgm:cxn modelId="{8E800341-11E1-4066-899F-C2FB1A019B6C}" type="presOf" srcId="{4C29C61A-6E8E-4276-9D86-9A480E2C8853}" destId="{7521E398-F086-4D74-A321-8D4B8CE587BC}" srcOrd="0" destOrd="0" presId="urn:microsoft.com/office/officeart/2005/8/layout/process1"/>
    <dgm:cxn modelId="{989859BF-DAD1-4EAD-92CB-A9148F992454}" type="presOf" srcId="{A761CA61-46E6-4452-9601-98C8C54D74AA}" destId="{6DFD9D65-96D1-45B0-8314-C4D719F29F81}" srcOrd="0" destOrd="0" presId="urn:microsoft.com/office/officeart/2005/8/layout/process1"/>
    <dgm:cxn modelId="{21B6CC8E-F0B9-4F79-A22F-165B339467A5}" srcId="{749970E2-9539-4D88-9981-1D73907B43F6}" destId="{E4719C23-F3EA-4EDC-B85F-7C72A251A664}" srcOrd="4" destOrd="0" parTransId="{00AAE09D-C51E-465F-B9E8-C4AD402FDE50}" sibTransId="{12244497-4F8F-4E4E-A55A-BB4A6386B158}"/>
    <dgm:cxn modelId="{230AF655-F890-4BD0-A246-CDF8BEF3F115}" type="presOf" srcId="{D435A3DF-506B-4C2C-B446-7240B1B29D51}" destId="{0D1463D7-5DEC-496E-A15E-ED43092C215A}" srcOrd="0" destOrd="0" presId="urn:microsoft.com/office/officeart/2005/8/layout/process1"/>
    <dgm:cxn modelId="{F5927C80-60A7-4FFA-B14F-51E82397BC92}" srcId="{749970E2-9539-4D88-9981-1D73907B43F6}" destId="{7E946538-014C-42B1-8E13-0219C93E2112}" srcOrd="6" destOrd="0" parTransId="{5FE50EE7-F0AD-4C4F-948E-822320EC51BF}" sibTransId="{01BB2401-3D06-4E7B-95DB-9BF708D4038B}"/>
    <dgm:cxn modelId="{A059B435-B75B-4A18-A17B-40C8451D31C0}" type="presOf" srcId="{7AB89B6B-B4C1-4B32-A0B3-AE53213CA6D5}" destId="{BF15A3AE-9D4A-40E0-A57F-0ED072806338}" srcOrd="0" destOrd="0" presId="urn:microsoft.com/office/officeart/2005/8/layout/process1"/>
    <dgm:cxn modelId="{4D46FF8B-A936-486C-A825-731AB7AC156A}" type="presOf" srcId="{338A77F1-C5BA-43C8-BDE0-B869CEDD8528}" destId="{FA025205-B5E7-48DA-8EAD-BF26721DD1BE}" srcOrd="0" destOrd="0" presId="urn:microsoft.com/office/officeart/2005/8/layout/process1"/>
    <dgm:cxn modelId="{AD2734C9-8B9D-4586-99D9-FBE8D8D35BB5}" type="presOf" srcId="{7E946538-014C-42B1-8E13-0219C93E2112}" destId="{6AD28E91-2311-4C09-84C8-CD85A07F8F4D}" srcOrd="0" destOrd="0" presId="urn:microsoft.com/office/officeart/2005/8/layout/process1"/>
    <dgm:cxn modelId="{E7329703-9ED2-4ABB-B4DB-48B025598201}" type="presOf" srcId="{3827C834-BA6B-4483-B934-68C4CDE90F90}" destId="{A0342295-6047-4536-9022-6783593DB076}" srcOrd="0" destOrd="0" presId="urn:microsoft.com/office/officeart/2005/8/layout/process1"/>
    <dgm:cxn modelId="{9A5C3334-D9CB-47AB-BCF8-47C01FF2E61E}" type="presOf" srcId="{E4610375-9872-4014-9E5A-B385E9F6ABD4}" destId="{E5D669AD-4BE0-445A-B06A-D887AB185E53}" srcOrd="0" destOrd="0" presId="urn:microsoft.com/office/officeart/2005/8/layout/process1"/>
    <dgm:cxn modelId="{1680EF5A-F99F-4DD1-AF93-D9D88132993C}" type="presOf" srcId="{C35AF878-DF1D-4F1D-A2F0-3CCD3948A4B3}" destId="{7BDC9722-1551-4044-98E6-19B135003E50}" srcOrd="0" destOrd="0" presId="urn:microsoft.com/office/officeart/2005/8/layout/process1"/>
    <dgm:cxn modelId="{438AB511-E1EA-4D44-8890-0189964033AE}" type="presOf" srcId="{6DFC9961-8143-40C3-8FA3-879957DACECB}" destId="{AC78B0D9-2E56-4BA5-89E9-7DCC162F0CD0}" srcOrd="0" destOrd="0" presId="urn:microsoft.com/office/officeart/2005/8/layout/process1"/>
    <dgm:cxn modelId="{FFA5A867-10A9-493B-BFF2-198D3F7D9ED9}" type="presOf" srcId="{7AB89B6B-B4C1-4B32-A0B3-AE53213CA6D5}" destId="{4C7679D3-0AF2-4623-9B55-DBEEF1927A88}" srcOrd="1" destOrd="0" presId="urn:microsoft.com/office/officeart/2005/8/layout/process1"/>
    <dgm:cxn modelId="{8C51DF2E-EE90-4082-9206-AFC5D8176A1B}" type="presOf" srcId="{749970E2-9539-4D88-9981-1D73907B43F6}" destId="{7C7554B7-147F-4136-ADA3-645BDB8D666C}" srcOrd="0" destOrd="0" presId="urn:microsoft.com/office/officeart/2005/8/layout/process1"/>
    <dgm:cxn modelId="{D9C336A5-736C-4821-A2D9-941262674575}" type="presOf" srcId="{C35AF878-DF1D-4F1D-A2F0-3CCD3948A4B3}" destId="{24870132-338F-46E9-AEC2-A36E266DDAD1}" srcOrd="1" destOrd="0" presId="urn:microsoft.com/office/officeart/2005/8/layout/process1"/>
    <dgm:cxn modelId="{D4D1C43D-6069-406F-93AD-13A8A88DD7D6}" srcId="{749970E2-9539-4D88-9981-1D73907B43F6}" destId="{6DFC9961-8143-40C3-8FA3-879957DACECB}" srcOrd="5" destOrd="0" parTransId="{B23635BB-FA3C-4BC2-BA62-751A749CB653}" sibTransId="{C35AF878-DF1D-4F1D-A2F0-3CCD3948A4B3}"/>
    <dgm:cxn modelId="{F542694E-80D6-44FC-8AA5-53A1B0F9A6F8}" type="presOf" srcId="{E4719C23-F3EA-4EDC-B85F-7C72A251A664}" destId="{FF19D38E-5865-4D5F-83F5-3E4401420ACC}" srcOrd="0" destOrd="0" presId="urn:microsoft.com/office/officeart/2005/8/layout/process1"/>
    <dgm:cxn modelId="{6FA40239-5AAB-43B2-85F2-DAB70E928F99}" srcId="{749970E2-9539-4D88-9981-1D73907B43F6}" destId="{8CD13D9E-DBEE-4007-B8D0-09725F0F0A54}" srcOrd="2" destOrd="0" parTransId="{547E7337-D84F-4C0D-9DFD-EC52A95C17BD}" sibTransId="{7AB89B6B-B4C1-4B32-A0B3-AE53213CA6D5}"/>
    <dgm:cxn modelId="{5E8868E1-E9E4-41BB-AFE2-30901939417C}" type="presOf" srcId="{338A77F1-C5BA-43C8-BDE0-B869CEDD8528}" destId="{486715B8-2B1F-4650-8C7C-DFE65A6727F3}" srcOrd="1" destOrd="0" presId="urn:microsoft.com/office/officeart/2005/8/layout/process1"/>
    <dgm:cxn modelId="{0A5275E5-6457-4337-AC81-97BCEDE89619}" type="presOf" srcId="{12244497-4F8F-4E4E-A55A-BB4A6386B158}" destId="{1483C93D-A4F7-4A67-AD8C-59139B2D4145}" srcOrd="1" destOrd="0" presId="urn:microsoft.com/office/officeart/2005/8/layout/process1"/>
    <dgm:cxn modelId="{F5F26203-09A6-4D1B-8485-EC9A2BA26B41}" type="presOf" srcId="{A761CA61-46E6-4452-9601-98C8C54D74AA}" destId="{29CCAF16-384F-45B0-A702-8D06115AA0DD}" srcOrd="1" destOrd="0" presId="urn:microsoft.com/office/officeart/2005/8/layout/process1"/>
    <dgm:cxn modelId="{AD37F918-D32E-4CBB-B0C1-3A79B0292E6B}" type="presOf" srcId="{12244497-4F8F-4E4E-A55A-BB4A6386B158}" destId="{3B2A7A04-C312-4310-9133-A4D083C3DB8C}" srcOrd="0" destOrd="0" presId="urn:microsoft.com/office/officeart/2005/8/layout/process1"/>
    <dgm:cxn modelId="{C6FA32A6-0587-4834-B3DB-F1444EA13B99}" srcId="{749970E2-9539-4D88-9981-1D73907B43F6}" destId="{461B5C22-1C85-46D4-82D4-7AAF0D05A2A5}" srcOrd="3" destOrd="0" parTransId="{6E851CD3-9E52-4C19-B50E-A871594877E9}" sibTransId="{A761CA61-46E6-4452-9601-98C8C54D74AA}"/>
    <dgm:cxn modelId="{4FFDF5EC-8802-4C2B-8B09-B152D4211154}" type="presOf" srcId="{E4610375-9872-4014-9E5A-B385E9F6ABD4}" destId="{525D4FDE-ADC5-4B39-96A6-55BD066F9A3E}" srcOrd="1" destOrd="0" presId="urn:microsoft.com/office/officeart/2005/8/layout/process1"/>
    <dgm:cxn modelId="{006CDCE2-C995-49BC-9B19-931A57B58F34}" type="presOf" srcId="{461B5C22-1C85-46D4-82D4-7AAF0D05A2A5}" destId="{58134DDA-FB08-42CA-93E7-5F56C16328E1}" srcOrd="0" destOrd="0" presId="urn:microsoft.com/office/officeart/2005/8/layout/process1"/>
    <dgm:cxn modelId="{3BA680A0-A196-4156-BD30-AD786C0350AF}" srcId="{749970E2-9539-4D88-9981-1D73907B43F6}" destId="{4C29C61A-6E8E-4276-9D86-9A480E2C8853}" srcOrd="0" destOrd="0" parTransId="{4BCD810F-A8B3-4431-AADB-985F89006B51}" sibTransId="{338A77F1-C5BA-43C8-BDE0-B869CEDD8528}"/>
    <dgm:cxn modelId="{50918B29-86F1-43A0-AC4C-D8A01A1A2BEE}" type="presParOf" srcId="{7C7554B7-147F-4136-ADA3-645BDB8D666C}" destId="{7521E398-F086-4D74-A321-8D4B8CE587BC}" srcOrd="0" destOrd="0" presId="urn:microsoft.com/office/officeart/2005/8/layout/process1"/>
    <dgm:cxn modelId="{7C864F4D-89AB-4D64-9DBC-EE5129B39F03}" type="presParOf" srcId="{7C7554B7-147F-4136-ADA3-645BDB8D666C}" destId="{FA025205-B5E7-48DA-8EAD-BF26721DD1BE}" srcOrd="1" destOrd="0" presId="urn:microsoft.com/office/officeart/2005/8/layout/process1"/>
    <dgm:cxn modelId="{01B2164C-B3B3-427F-B42C-DF31A07A7B2A}" type="presParOf" srcId="{FA025205-B5E7-48DA-8EAD-BF26721DD1BE}" destId="{486715B8-2B1F-4650-8C7C-DFE65A6727F3}" srcOrd="0" destOrd="0" presId="urn:microsoft.com/office/officeart/2005/8/layout/process1"/>
    <dgm:cxn modelId="{2C985EE3-E0CF-42D2-91A1-6C7436B261C8}" type="presParOf" srcId="{7C7554B7-147F-4136-ADA3-645BDB8D666C}" destId="{0D1463D7-5DEC-496E-A15E-ED43092C215A}" srcOrd="2" destOrd="0" presId="urn:microsoft.com/office/officeart/2005/8/layout/process1"/>
    <dgm:cxn modelId="{A5B8B5A1-21D3-4C62-9C39-B444CF6AB7B9}" type="presParOf" srcId="{7C7554B7-147F-4136-ADA3-645BDB8D666C}" destId="{E5D669AD-4BE0-445A-B06A-D887AB185E53}" srcOrd="3" destOrd="0" presId="urn:microsoft.com/office/officeart/2005/8/layout/process1"/>
    <dgm:cxn modelId="{911ED365-39BD-485B-8F7D-79B5A6F261E4}" type="presParOf" srcId="{E5D669AD-4BE0-445A-B06A-D887AB185E53}" destId="{525D4FDE-ADC5-4B39-96A6-55BD066F9A3E}" srcOrd="0" destOrd="0" presId="urn:microsoft.com/office/officeart/2005/8/layout/process1"/>
    <dgm:cxn modelId="{EA01BB85-2047-42DA-922E-A0579C06D0B0}" type="presParOf" srcId="{7C7554B7-147F-4136-ADA3-645BDB8D666C}" destId="{022A127A-8A8F-489D-B8AD-D2AB5614D3BE}" srcOrd="4" destOrd="0" presId="urn:microsoft.com/office/officeart/2005/8/layout/process1"/>
    <dgm:cxn modelId="{0DAEC6FA-4E5E-40BC-BD25-2776C226E92D}" type="presParOf" srcId="{7C7554B7-147F-4136-ADA3-645BDB8D666C}" destId="{BF15A3AE-9D4A-40E0-A57F-0ED072806338}" srcOrd="5" destOrd="0" presId="urn:microsoft.com/office/officeart/2005/8/layout/process1"/>
    <dgm:cxn modelId="{CB2700AC-3651-48E6-A081-8C23BDE8378B}" type="presParOf" srcId="{BF15A3AE-9D4A-40E0-A57F-0ED072806338}" destId="{4C7679D3-0AF2-4623-9B55-DBEEF1927A88}" srcOrd="0" destOrd="0" presId="urn:microsoft.com/office/officeart/2005/8/layout/process1"/>
    <dgm:cxn modelId="{0EF6692F-D74C-4FB1-A542-DFF65ADA6D5A}" type="presParOf" srcId="{7C7554B7-147F-4136-ADA3-645BDB8D666C}" destId="{58134DDA-FB08-42CA-93E7-5F56C16328E1}" srcOrd="6" destOrd="0" presId="urn:microsoft.com/office/officeart/2005/8/layout/process1"/>
    <dgm:cxn modelId="{926B5FD9-5DA6-4A45-9DFD-43B13B610A15}" type="presParOf" srcId="{7C7554B7-147F-4136-ADA3-645BDB8D666C}" destId="{6DFD9D65-96D1-45B0-8314-C4D719F29F81}" srcOrd="7" destOrd="0" presId="urn:microsoft.com/office/officeart/2005/8/layout/process1"/>
    <dgm:cxn modelId="{E895C8DF-A354-45D9-886E-F7459719ABAA}" type="presParOf" srcId="{6DFD9D65-96D1-45B0-8314-C4D719F29F81}" destId="{29CCAF16-384F-45B0-A702-8D06115AA0DD}" srcOrd="0" destOrd="0" presId="urn:microsoft.com/office/officeart/2005/8/layout/process1"/>
    <dgm:cxn modelId="{E58A18A7-B7AD-4140-9BD1-9445ABCFD560}" type="presParOf" srcId="{7C7554B7-147F-4136-ADA3-645BDB8D666C}" destId="{FF19D38E-5865-4D5F-83F5-3E4401420ACC}" srcOrd="8" destOrd="0" presId="urn:microsoft.com/office/officeart/2005/8/layout/process1"/>
    <dgm:cxn modelId="{6F412C5A-18A6-4133-95F7-6DE05792CD65}" type="presParOf" srcId="{7C7554B7-147F-4136-ADA3-645BDB8D666C}" destId="{3B2A7A04-C312-4310-9133-A4D083C3DB8C}" srcOrd="9" destOrd="0" presId="urn:microsoft.com/office/officeart/2005/8/layout/process1"/>
    <dgm:cxn modelId="{9BEBEB71-D8CE-47C4-94A8-F723A43B7C23}" type="presParOf" srcId="{3B2A7A04-C312-4310-9133-A4D083C3DB8C}" destId="{1483C93D-A4F7-4A67-AD8C-59139B2D4145}" srcOrd="0" destOrd="0" presId="urn:microsoft.com/office/officeart/2005/8/layout/process1"/>
    <dgm:cxn modelId="{3120195D-288B-41F3-B1BC-2C4C24E69179}" type="presParOf" srcId="{7C7554B7-147F-4136-ADA3-645BDB8D666C}" destId="{AC78B0D9-2E56-4BA5-89E9-7DCC162F0CD0}" srcOrd="10" destOrd="0" presId="urn:microsoft.com/office/officeart/2005/8/layout/process1"/>
    <dgm:cxn modelId="{45A23BCF-9320-486F-8815-99393C85BB21}" type="presParOf" srcId="{7C7554B7-147F-4136-ADA3-645BDB8D666C}" destId="{7BDC9722-1551-4044-98E6-19B135003E50}" srcOrd="11" destOrd="0" presId="urn:microsoft.com/office/officeart/2005/8/layout/process1"/>
    <dgm:cxn modelId="{D80D6294-0DC4-4859-8135-030A25030BEA}" type="presParOf" srcId="{7BDC9722-1551-4044-98E6-19B135003E50}" destId="{24870132-338F-46E9-AEC2-A36E266DDAD1}" srcOrd="0" destOrd="0" presId="urn:microsoft.com/office/officeart/2005/8/layout/process1"/>
    <dgm:cxn modelId="{2B843EF1-737D-4C1C-A245-27B4416C82B2}" type="presParOf" srcId="{7C7554B7-147F-4136-ADA3-645BDB8D666C}" destId="{6AD28E91-2311-4C09-84C8-CD85A07F8F4D}" srcOrd="12" destOrd="0" presId="urn:microsoft.com/office/officeart/2005/8/layout/process1"/>
    <dgm:cxn modelId="{90848E66-3959-4F48-8180-E8EA64902CCA}" type="presParOf" srcId="{7C7554B7-147F-4136-ADA3-645BDB8D666C}" destId="{814C37C0-4890-4C8F-AC94-2F857E961939}" srcOrd="13" destOrd="0" presId="urn:microsoft.com/office/officeart/2005/8/layout/process1"/>
    <dgm:cxn modelId="{BCE34E1B-E9CD-4701-822C-B4F05A78F795}" type="presParOf" srcId="{814C37C0-4890-4C8F-AC94-2F857E961939}" destId="{72F34038-9D09-4199-9210-9A7A14FF44EB}" srcOrd="0" destOrd="0" presId="urn:microsoft.com/office/officeart/2005/8/layout/process1"/>
    <dgm:cxn modelId="{8AC2FFEE-202E-41E7-A762-9BE26CDB89B9}" type="presParOf" srcId="{7C7554B7-147F-4136-ADA3-645BDB8D666C}" destId="{A0342295-6047-4536-9022-6783593DB076}" srcOrd="14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430B11F-1651-47AC-B043-88236912160B}">
      <dsp:nvSpPr>
        <dsp:cNvPr id="0" name=""/>
        <dsp:cNvSpPr/>
      </dsp:nvSpPr>
      <dsp:spPr>
        <a:xfrm>
          <a:off x="108088" y="1559228"/>
          <a:ext cx="2333639" cy="945543"/>
        </a:xfrm>
        <a:prstGeom prst="homePlate">
          <a:avLst/>
        </a:prstGeom>
        <a:gradFill rotWithShape="0">
          <a:gsLst>
            <a:gs pos="0">
              <a:srgbClr val="A603AB"/>
            </a:gs>
            <a:gs pos="21001">
              <a:srgbClr val="00B0F0"/>
            </a:gs>
            <a:gs pos="40000">
              <a:srgbClr val="1A8D48"/>
            </a:gs>
            <a:gs pos="59000">
              <a:srgbClr val="FFFF00"/>
            </a:gs>
            <a:gs pos="77000">
              <a:srgbClr val="EE3F17"/>
            </a:gs>
            <a:gs pos="100000">
              <a:srgbClr val="E81766"/>
            </a:gs>
          </a:gsLst>
          <a:lin ang="0" scaled="1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0688" tIns="85344" rIns="42672" bIns="85344" numCol="1" spcCol="1270" anchor="ctr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200" kern="1200" dirty="0" smtClean="0"/>
            <a:t>1</a:t>
          </a:r>
          <a:endParaRPr lang="ru-RU" sz="3200" kern="1200" dirty="0"/>
        </a:p>
      </dsp:txBody>
      <dsp:txXfrm>
        <a:off x="108088" y="1559228"/>
        <a:ext cx="2097253" cy="945543"/>
      </dsp:txXfrm>
    </dsp:sp>
    <dsp:sp modelId="{61BF38AC-9656-4758-A7B6-BA88D48EA212}">
      <dsp:nvSpPr>
        <dsp:cNvPr id="0" name=""/>
        <dsp:cNvSpPr/>
      </dsp:nvSpPr>
      <dsp:spPr>
        <a:xfrm>
          <a:off x="1985304" y="1565725"/>
          <a:ext cx="1962425" cy="932549"/>
        </a:xfrm>
        <a:prstGeom prst="chevron">
          <a:avLst/>
        </a:prstGeom>
        <a:gradFill rotWithShape="0">
          <a:gsLst>
            <a:gs pos="0">
              <a:schemeClr val="accent2">
                <a:hueOff val="1170380"/>
                <a:satOff val="-1460"/>
                <a:lumOff val="343"/>
                <a:alphaOff val="0"/>
                <a:shade val="51000"/>
                <a:satMod val="130000"/>
              </a:schemeClr>
            </a:gs>
            <a:gs pos="80000">
              <a:schemeClr val="accent2">
                <a:hueOff val="1170380"/>
                <a:satOff val="-1460"/>
                <a:lumOff val="343"/>
                <a:alphaOff val="0"/>
                <a:shade val="93000"/>
                <a:satMod val="130000"/>
              </a:schemeClr>
            </a:gs>
            <a:gs pos="100000">
              <a:schemeClr val="accent2">
                <a:hueOff val="1170380"/>
                <a:satOff val="-1460"/>
                <a:lumOff val="343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8016" tIns="85344" rIns="42672" bIns="85344" numCol="1" spcCol="1270" anchor="ctr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200" kern="1200" dirty="0" smtClean="0"/>
            <a:t>2</a:t>
          </a:r>
          <a:endParaRPr lang="ru-RU" sz="3200" kern="1200" dirty="0"/>
        </a:p>
      </dsp:txBody>
      <dsp:txXfrm>
        <a:off x="2451579" y="1565725"/>
        <a:ext cx="1029876" cy="932549"/>
      </dsp:txXfrm>
    </dsp:sp>
    <dsp:sp modelId="{87620852-91B6-4E62-AE48-F87AF0C312AC}">
      <dsp:nvSpPr>
        <dsp:cNvPr id="0" name=""/>
        <dsp:cNvSpPr/>
      </dsp:nvSpPr>
      <dsp:spPr>
        <a:xfrm>
          <a:off x="3599367" y="1716126"/>
          <a:ext cx="1419451" cy="631746"/>
        </a:xfrm>
        <a:prstGeom prst="chevron">
          <a:avLst/>
        </a:prstGeom>
        <a:solidFill>
          <a:srgbClr val="FF000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8016" tIns="85344" rIns="42672" bIns="85344" numCol="1" spcCol="1270" anchor="ctr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200" kern="1200" dirty="0" smtClean="0"/>
            <a:t>3</a:t>
          </a:r>
          <a:endParaRPr lang="ru-RU" sz="3200" kern="1200" dirty="0"/>
        </a:p>
      </dsp:txBody>
      <dsp:txXfrm>
        <a:off x="3915240" y="1716126"/>
        <a:ext cx="787705" cy="631746"/>
      </dsp:txXfrm>
    </dsp:sp>
    <dsp:sp modelId="{06BF6FFF-C701-4673-8D61-7FE5B264BA34}">
      <dsp:nvSpPr>
        <dsp:cNvPr id="0" name=""/>
        <dsp:cNvSpPr/>
      </dsp:nvSpPr>
      <dsp:spPr>
        <a:xfrm>
          <a:off x="4670457" y="1683638"/>
          <a:ext cx="1741807" cy="696723"/>
        </a:xfrm>
        <a:prstGeom prst="chevron">
          <a:avLst/>
        </a:prstGeom>
        <a:solidFill>
          <a:srgbClr val="FFC00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8016" tIns="85344" rIns="42672" bIns="85344" numCol="1" spcCol="1270" anchor="ctr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200" kern="1200" dirty="0" smtClean="0"/>
            <a:t>4</a:t>
          </a:r>
          <a:endParaRPr lang="ru-RU" sz="3200" kern="1200" dirty="0"/>
        </a:p>
      </dsp:txBody>
      <dsp:txXfrm>
        <a:off x="5018819" y="1683638"/>
        <a:ext cx="1045084" cy="696723"/>
      </dsp:txXfrm>
    </dsp:sp>
    <dsp:sp modelId="{1ACDF47E-3E93-440A-8877-76F059265D79}">
      <dsp:nvSpPr>
        <dsp:cNvPr id="0" name=""/>
        <dsp:cNvSpPr/>
      </dsp:nvSpPr>
      <dsp:spPr>
        <a:xfrm>
          <a:off x="6063903" y="1683638"/>
          <a:ext cx="1741807" cy="696723"/>
        </a:xfrm>
        <a:prstGeom prst="chevron">
          <a:avLst/>
        </a:prstGeom>
        <a:solidFill>
          <a:srgbClr val="71FF7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8016" tIns="85344" rIns="42672" bIns="85344" numCol="1" spcCol="1270" anchor="ctr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200" kern="1200" dirty="0" smtClean="0"/>
            <a:t>5</a:t>
          </a:r>
          <a:endParaRPr lang="ru-RU" sz="3200" kern="1200" dirty="0"/>
        </a:p>
      </dsp:txBody>
      <dsp:txXfrm>
        <a:off x="6412265" y="1683638"/>
        <a:ext cx="1045084" cy="69672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521E398-F086-4D74-A321-8D4B8CE587BC}">
      <dsp:nvSpPr>
        <dsp:cNvPr id="0" name=""/>
        <dsp:cNvSpPr/>
      </dsp:nvSpPr>
      <dsp:spPr>
        <a:xfrm>
          <a:off x="4043" y="1718688"/>
          <a:ext cx="928925" cy="626622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1</a:t>
          </a:r>
          <a:endParaRPr lang="ru-RU" sz="1800" kern="1200" dirty="0"/>
        </a:p>
      </dsp:txBody>
      <dsp:txXfrm>
        <a:off x="22396" y="1737041"/>
        <a:ext cx="892219" cy="589916"/>
      </dsp:txXfrm>
    </dsp:sp>
    <dsp:sp modelId="{FA025205-B5E7-48DA-8EAD-BF26721DD1BE}">
      <dsp:nvSpPr>
        <dsp:cNvPr id="0" name=""/>
        <dsp:cNvSpPr/>
      </dsp:nvSpPr>
      <dsp:spPr>
        <a:xfrm>
          <a:off x="987625" y="1964225"/>
          <a:ext cx="115873" cy="135549"/>
        </a:xfrm>
        <a:prstGeom prst="flowChartConnector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500" kern="1200"/>
        </a:p>
      </dsp:txBody>
      <dsp:txXfrm>
        <a:off x="987625" y="1991335"/>
        <a:ext cx="81111" cy="81329"/>
      </dsp:txXfrm>
    </dsp:sp>
    <dsp:sp modelId="{0D1463D7-5DEC-496E-A15E-ED43092C215A}">
      <dsp:nvSpPr>
        <dsp:cNvPr id="0" name=""/>
        <dsp:cNvSpPr/>
      </dsp:nvSpPr>
      <dsp:spPr>
        <a:xfrm>
          <a:off x="1151597" y="1732115"/>
          <a:ext cx="813314" cy="599768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hueOff val="668788"/>
                <a:satOff val="-834"/>
                <a:lumOff val="196"/>
                <a:alphaOff val="0"/>
                <a:shade val="51000"/>
                <a:satMod val="130000"/>
              </a:schemeClr>
            </a:gs>
            <a:gs pos="80000">
              <a:schemeClr val="accent2">
                <a:hueOff val="668788"/>
                <a:satOff val="-834"/>
                <a:lumOff val="196"/>
                <a:alphaOff val="0"/>
                <a:shade val="93000"/>
                <a:satMod val="130000"/>
              </a:schemeClr>
            </a:gs>
            <a:gs pos="100000">
              <a:schemeClr val="accent2">
                <a:hueOff val="668788"/>
                <a:satOff val="-834"/>
                <a:lumOff val="196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2</a:t>
          </a:r>
          <a:endParaRPr lang="ru-RU" sz="1800" kern="1200" dirty="0"/>
        </a:p>
      </dsp:txBody>
      <dsp:txXfrm>
        <a:off x="1169164" y="1749682"/>
        <a:ext cx="778180" cy="564634"/>
      </dsp:txXfrm>
    </dsp:sp>
    <dsp:sp modelId="{E5D669AD-4BE0-445A-B06A-D887AB185E53}">
      <dsp:nvSpPr>
        <dsp:cNvPr id="0" name=""/>
        <dsp:cNvSpPr/>
      </dsp:nvSpPr>
      <dsp:spPr>
        <a:xfrm>
          <a:off x="2019568" y="1964225"/>
          <a:ext cx="115873" cy="135549"/>
        </a:xfrm>
        <a:prstGeom prst="flowChartConnector">
          <a:avLst/>
        </a:prstGeom>
        <a:gradFill rotWithShape="0">
          <a:gsLst>
            <a:gs pos="0">
              <a:schemeClr val="accent2">
                <a:hueOff val="780253"/>
                <a:satOff val="-973"/>
                <a:lumOff val="229"/>
                <a:alphaOff val="0"/>
                <a:shade val="51000"/>
                <a:satMod val="130000"/>
              </a:schemeClr>
            </a:gs>
            <a:gs pos="80000">
              <a:schemeClr val="accent2">
                <a:hueOff val="780253"/>
                <a:satOff val="-973"/>
                <a:lumOff val="229"/>
                <a:alphaOff val="0"/>
                <a:shade val="93000"/>
                <a:satMod val="130000"/>
              </a:schemeClr>
            </a:gs>
            <a:gs pos="100000">
              <a:schemeClr val="accent2">
                <a:hueOff val="780253"/>
                <a:satOff val="-973"/>
                <a:lumOff val="229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500" kern="1200"/>
        </a:p>
      </dsp:txBody>
      <dsp:txXfrm>
        <a:off x="2019568" y="1991335"/>
        <a:ext cx="81111" cy="81329"/>
      </dsp:txXfrm>
    </dsp:sp>
    <dsp:sp modelId="{022A127A-8A8F-489D-B8AD-D2AB5614D3BE}">
      <dsp:nvSpPr>
        <dsp:cNvPr id="0" name=""/>
        <dsp:cNvSpPr/>
      </dsp:nvSpPr>
      <dsp:spPr>
        <a:xfrm>
          <a:off x="2183540" y="1711844"/>
          <a:ext cx="872972" cy="640311"/>
        </a:xfrm>
        <a:prstGeom prst="roundRect">
          <a:avLst>
            <a:gd name="adj" fmla="val 10000"/>
          </a:avLst>
        </a:prstGeom>
        <a:solidFill>
          <a:srgbClr val="FF000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3</a:t>
          </a:r>
          <a:endParaRPr lang="ru-RU" sz="1800" kern="1200" dirty="0"/>
        </a:p>
      </dsp:txBody>
      <dsp:txXfrm>
        <a:off x="2202294" y="1730598"/>
        <a:ext cx="835464" cy="602803"/>
      </dsp:txXfrm>
    </dsp:sp>
    <dsp:sp modelId="{BF15A3AE-9D4A-40E0-A57F-0ED072806338}">
      <dsp:nvSpPr>
        <dsp:cNvPr id="0" name=""/>
        <dsp:cNvSpPr/>
      </dsp:nvSpPr>
      <dsp:spPr>
        <a:xfrm>
          <a:off x="3111169" y="1964225"/>
          <a:ext cx="115873" cy="135549"/>
        </a:xfrm>
        <a:prstGeom prst="flowChartConnector">
          <a:avLst/>
        </a:prstGeom>
        <a:gradFill rotWithShape="0">
          <a:gsLst>
            <a:gs pos="0">
              <a:schemeClr val="accent2">
                <a:hueOff val="1560506"/>
                <a:satOff val="-1946"/>
                <a:lumOff val="458"/>
                <a:alphaOff val="0"/>
                <a:shade val="51000"/>
                <a:satMod val="130000"/>
              </a:schemeClr>
            </a:gs>
            <a:gs pos="80000">
              <a:schemeClr val="accent2">
                <a:hueOff val="1560506"/>
                <a:satOff val="-1946"/>
                <a:lumOff val="458"/>
                <a:alphaOff val="0"/>
                <a:shade val="93000"/>
                <a:satMod val="130000"/>
              </a:schemeClr>
            </a:gs>
            <a:gs pos="100000">
              <a:schemeClr val="accent2">
                <a:hueOff val="1560506"/>
                <a:satOff val="-1946"/>
                <a:lumOff val="458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500" kern="1200"/>
        </a:p>
      </dsp:txBody>
      <dsp:txXfrm>
        <a:off x="3111169" y="1991335"/>
        <a:ext cx="81111" cy="81329"/>
      </dsp:txXfrm>
    </dsp:sp>
    <dsp:sp modelId="{58134DDA-FB08-42CA-93E7-5F56C16328E1}">
      <dsp:nvSpPr>
        <dsp:cNvPr id="0" name=""/>
        <dsp:cNvSpPr/>
      </dsp:nvSpPr>
      <dsp:spPr>
        <a:xfrm>
          <a:off x="3275141" y="1724483"/>
          <a:ext cx="835516" cy="615033"/>
        </a:xfrm>
        <a:prstGeom prst="roundRect">
          <a:avLst>
            <a:gd name="adj" fmla="val 10000"/>
          </a:avLst>
        </a:prstGeom>
        <a:gradFill rotWithShape="0">
          <a:gsLst>
            <a:gs pos="0">
              <a:srgbClr val="A603AB"/>
            </a:gs>
            <a:gs pos="21001">
              <a:srgbClr val="00B0F0"/>
            </a:gs>
            <a:gs pos="40000">
              <a:srgbClr val="1A8D48"/>
            </a:gs>
            <a:gs pos="59000">
              <a:srgbClr val="FFFF00"/>
            </a:gs>
            <a:gs pos="77000">
              <a:srgbClr val="EE3F17"/>
            </a:gs>
            <a:gs pos="100000">
              <a:srgbClr val="E81766"/>
            </a:gs>
          </a:gsLst>
          <a:lin ang="0" scaled="1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4</a:t>
          </a:r>
          <a:endParaRPr lang="ru-RU" sz="1800" kern="1200" dirty="0"/>
        </a:p>
      </dsp:txBody>
      <dsp:txXfrm>
        <a:off x="3293155" y="1742497"/>
        <a:ext cx="799488" cy="579005"/>
      </dsp:txXfrm>
    </dsp:sp>
    <dsp:sp modelId="{6DFD9D65-96D1-45B0-8314-C4D719F29F81}">
      <dsp:nvSpPr>
        <dsp:cNvPr id="0" name=""/>
        <dsp:cNvSpPr/>
      </dsp:nvSpPr>
      <dsp:spPr>
        <a:xfrm>
          <a:off x="4165314" y="1964225"/>
          <a:ext cx="115873" cy="135549"/>
        </a:xfrm>
        <a:prstGeom prst="flowChartConnector">
          <a:avLst/>
        </a:prstGeom>
        <a:gradFill rotWithShape="0">
          <a:gsLst>
            <a:gs pos="0">
              <a:schemeClr val="accent2">
                <a:hueOff val="2340759"/>
                <a:satOff val="-2919"/>
                <a:lumOff val="686"/>
                <a:alphaOff val="0"/>
                <a:shade val="51000"/>
                <a:satMod val="130000"/>
              </a:schemeClr>
            </a:gs>
            <a:gs pos="80000">
              <a:schemeClr val="accent2">
                <a:hueOff val="2340759"/>
                <a:satOff val="-2919"/>
                <a:lumOff val="686"/>
                <a:alphaOff val="0"/>
                <a:shade val="93000"/>
                <a:satMod val="130000"/>
              </a:schemeClr>
            </a:gs>
            <a:gs pos="100000">
              <a:schemeClr val="accent2">
                <a:hueOff val="2340759"/>
                <a:satOff val="-2919"/>
                <a:lumOff val="686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500" kern="1200"/>
        </a:p>
      </dsp:txBody>
      <dsp:txXfrm>
        <a:off x="4165314" y="1991335"/>
        <a:ext cx="81111" cy="81329"/>
      </dsp:txXfrm>
    </dsp:sp>
    <dsp:sp modelId="{FF19D38E-5865-4D5F-83F5-3E4401420ACC}">
      <dsp:nvSpPr>
        <dsp:cNvPr id="0" name=""/>
        <dsp:cNvSpPr/>
      </dsp:nvSpPr>
      <dsp:spPr>
        <a:xfrm>
          <a:off x="4329286" y="1821911"/>
          <a:ext cx="546571" cy="420176"/>
        </a:xfrm>
        <a:prstGeom prst="roundRect">
          <a:avLst>
            <a:gd name="adj" fmla="val 10000"/>
          </a:avLst>
        </a:prstGeom>
        <a:solidFill>
          <a:srgbClr val="71FF7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5</a:t>
          </a:r>
          <a:endParaRPr lang="ru-RU" sz="1800" kern="1200" dirty="0"/>
        </a:p>
      </dsp:txBody>
      <dsp:txXfrm>
        <a:off x="4341593" y="1834218"/>
        <a:ext cx="521957" cy="395562"/>
      </dsp:txXfrm>
    </dsp:sp>
    <dsp:sp modelId="{3B2A7A04-C312-4310-9133-A4D083C3DB8C}">
      <dsp:nvSpPr>
        <dsp:cNvPr id="0" name=""/>
        <dsp:cNvSpPr/>
      </dsp:nvSpPr>
      <dsp:spPr>
        <a:xfrm>
          <a:off x="4930514" y="1964225"/>
          <a:ext cx="115873" cy="135549"/>
        </a:xfrm>
        <a:prstGeom prst="flowChartConnector">
          <a:avLst/>
        </a:prstGeom>
        <a:gradFill rotWithShape="0">
          <a:gsLst>
            <a:gs pos="0">
              <a:schemeClr val="accent2">
                <a:hueOff val="3121013"/>
                <a:satOff val="-3893"/>
                <a:lumOff val="915"/>
                <a:alphaOff val="0"/>
                <a:shade val="51000"/>
                <a:satMod val="130000"/>
              </a:schemeClr>
            </a:gs>
            <a:gs pos="80000">
              <a:schemeClr val="accent2">
                <a:hueOff val="3121013"/>
                <a:satOff val="-3893"/>
                <a:lumOff val="915"/>
                <a:alphaOff val="0"/>
                <a:shade val="93000"/>
                <a:satMod val="130000"/>
              </a:schemeClr>
            </a:gs>
            <a:gs pos="100000">
              <a:schemeClr val="accent2">
                <a:hueOff val="3121013"/>
                <a:satOff val="-3893"/>
                <a:lumOff val="915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500" kern="1200"/>
        </a:p>
      </dsp:txBody>
      <dsp:txXfrm>
        <a:off x="4930514" y="1991335"/>
        <a:ext cx="81111" cy="81329"/>
      </dsp:txXfrm>
    </dsp:sp>
    <dsp:sp modelId="{AC78B0D9-2E56-4BA5-89E9-7DCC162F0CD0}">
      <dsp:nvSpPr>
        <dsp:cNvPr id="0" name=""/>
        <dsp:cNvSpPr/>
      </dsp:nvSpPr>
      <dsp:spPr>
        <a:xfrm>
          <a:off x="5094485" y="1821911"/>
          <a:ext cx="546571" cy="420176"/>
        </a:xfrm>
        <a:prstGeom prst="roundRect">
          <a:avLst>
            <a:gd name="adj" fmla="val 10000"/>
          </a:avLst>
        </a:prstGeom>
        <a:solidFill>
          <a:srgbClr val="00800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6</a:t>
          </a:r>
          <a:endParaRPr lang="ru-RU" sz="1800" kern="1200" dirty="0"/>
        </a:p>
      </dsp:txBody>
      <dsp:txXfrm>
        <a:off x="5106792" y="1834218"/>
        <a:ext cx="521957" cy="395562"/>
      </dsp:txXfrm>
    </dsp:sp>
    <dsp:sp modelId="{7BDC9722-1551-4044-98E6-19B135003E50}">
      <dsp:nvSpPr>
        <dsp:cNvPr id="0" name=""/>
        <dsp:cNvSpPr/>
      </dsp:nvSpPr>
      <dsp:spPr>
        <a:xfrm>
          <a:off x="5695714" y="1964225"/>
          <a:ext cx="115873" cy="135549"/>
        </a:xfrm>
        <a:prstGeom prst="flowChartConnector">
          <a:avLst/>
        </a:prstGeom>
        <a:gradFill rotWithShape="0">
          <a:gsLst>
            <a:gs pos="0">
              <a:schemeClr val="accent2">
                <a:hueOff val="3901266"/>
                <a:satOff val="-4866"/>
                <a:lumOff val="1144"/>
                <a:alphaOff val="0"/>
                <a:shade val="51000"/>
                <a:satMod val="130000"/>
              </a:schemeClr>
            </a:gs>
            <a:gs pos="80000">
              <a:schemeClr val="accent2">
                <a:hueOff val="3901266"/>
                <a:satOff val="-4866"/>
                <a:lumOff val="1144"/>
                <a:alphaOff val="0"/>
                <a:shade val="93000"/>
                <a:satMod val="130000"/>
              </a:schemeClr>
            </a:gs>
            <a:gs pos="100000">
              <a:schemeClr val="accent2">
                <a:hueOff val="3901266"/>
                <a:satOff val="-4866"/>
                <a:lumOff val="1144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500" kern="1200"/>
        </a:p>
      </dsp:txBody>
      <dsp:txXfrm>
        <a:off x="5695714" y="1991335"/>
        <a:ext cx="81111" cy="81329"/>
      </dsp:txXfrm>
    </dsp:sp>
    <dsp:sp modelId="{6AD28E91-2311-4C09-84C8-CD85A07F8F4D}">
      <dsp:nvSpPr>
        <dsp:cNvPr id="0" name=""/>
        <dsp:cNvSpPr/>
      </dsp:nvSpPr>
      <dsp:spPr>
        <a:xfrm>
          <a:off x="5859685" y="1821911"/>
          <a:ext cx="546571" cy="420176"/>
        </a:xfrm>
        <a:prstGeom prst="roundRect">
          <a:avLst>
            <a:gd name="adj" fmla="val 10000"/>
          </a:avLst>
        </a:prstGeom>
        <a:solidFill>
          <a:srgbClr val="C0000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7</a:t>
          </a:r>
          <a:endParaRPr lang="ru-RU" sz="1800" kern="1200" dirty="0"/>
        </a:p>
      </dsp:txBody>
      <dsp:txXfrm>
        <a:off x="5871992" y="1834218"/>
        <a:ext cx="521957" cy="395562"/>
      </dsp:txXfrm>
    </dsp:sp>
    <dsp:sp modelId="{814C37C0-4890-4C8F-AC94-2F857E961939}">
      <dsp:nvSpPr>
        <dsp:cNvPr id="0" name=""/>
        <dsp:cNvSpPr/>
      </dsp:nvSpPr>
      <dsp:spPr>
        <a:xfrm>
          <a:off x="6460914" y="1964225"/>
          <a:ext cx="115873" cy="135549"/>
        </a:xfrm>
        <a:prstGeom prst="flowChartConnector">
          <a:avLst/>
        </a:prstGeom>
        <a:gradFill rotWithShape="0">
          <a:gsLst>
            <a:gs pos="0">
              <a:schemeClr val="accent2">
                <a:hueOff val="4681519"/>
                <a:satOff val="-5839"/>
                <a:lumOff val="1373"/>
                <a:alphaOff val="0"/>
                <a:shade val="51000"/>
                <a:satMod val="130000"/>
              </a:schemeClr>
            </a:gs>
            <a:gs pos="80000">
              <a:schemeClr val="accent2">
                <a:hueOff val="4681519"/>
                <a:satOff val="-5839"/>
                <a:lumOff val="1373"/>
                <a:alphaOff val="0"/>
                <a:shade val="93000"/>
                <a:satMod val="130000"/>
              </a:schemeClr>
            </a:gs>
            <a:gs pos="100000">
              <a:schemeClr val="accent2">
                <a:hueOff val="4681519"/>
                <a:satOff val="-5839"/>
                <a:lumOff val="1373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500" kern="1200"/>
        </a:p>
      </dsp:txBody>
      <dsp:txXfrm>
        <a:off x="6460914" y="1991335"/>
        <a:ext cx="81111" cy="81329"/>
      </dsp:txXfrm>
    </dsp:sp>
    <dsp:sp modelId="{A0342295-6047-4536-9022-6783593DB076}">
      <dsp:nvSpPr>
        <dsp:cNvPr id="0" name=""/>
        <dsp:cNvSpPr/>
      </dsp:nvSpPr>
      <dsp:spPr>
        <a:xfrm>
          <a:off x="6624885" y="1821911"/>
          <a:ext cx="546571" cy="420176"/>
        </a:xfrm>
        <a:prstGeom prst="roundRect">
          <a:avLst>
            <a:gd name="adj" fmla="val 10000"/>
          </a:avLst>
        </a:prstGeom>
        <a:solidFill>
          <a:schemeClr val="bg1">
            <a:lumMod val="50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8</a:t>
          </a:r>
          <a:endParaRPr lang="ru-RU" sz="1800" kern="1200" dirty="0"/>
        </a:p>
      </dsp:txBody>
      <dsp:txXfrm>
        <a:off x="6637192" y="1834218"/>
        <a:ext cx="521957" cy="39556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6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EE3C5FC-85BF-49B8-BFB2-AA6EED61AA1C}" type="datetimeFigureOut">
              <a:rPr lang="ru-RU"/>
              <a:pPr>
                <a:defRPr/>
              </a:pPr>
              <a:t>21.11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DBE1474-AAD8-41C5-AEA9-BA4DE7B855F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F4D3C8-F1FA-4180-B730-1A4B1D8A9C90}" type="datetimeFigureOut">
              <a:rPr lang="ru-RU"/>
              <a:pPr>
                <a:defRPr/>
              </a:pPr>
              <a:t>21.11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0AF2A74-90AB-4897-8433-17366501B03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E892156-4A72-405B-ADB6-D04B050C07DE}" type="datetimeFigureOut">
              <a:rPr lang="ru-RU"/>
              <a:pPr>
                <a:defRPr/>
              </a:pPr>
              <a:t>21.11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2C1F7A1-1E79-4599-A41E-E7EE0F189E7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EB7E00-190C-402D-A021-5C8961E0E24C}" type="datetimeFigureOut">
              <a:rPr lang="ru-RU"/>
              <a:pPr>
                <a:defRPr/>
              </a:pPr>
              <a:t>21.11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878BA1-2285-496C-8F56-9E1EB4ED6B1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638F05-A2AC-4658-8793-FF8CE1BC6C49}" type="datetimeFigureOut">
              <a:rPr lang="ru-RU"/>
              <a:pPr>
                <a:defRPr/>
              </a:pPr>
              <a:t>21.11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D81C0D-0317-45A6-9ECB-0C8453E6804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981A17B-87D3-4031-B62E-DA692BBCDF76}" type="datetimeFigureOut">
              <a:rPr lang="ru-RU"/>
              <a:pPr>
                <a:defRPr/>
              </a:pPr>
              <a:t>21.11.201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C1529C8-B345-4018-AF5C-53DDFACC840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7" y="1535113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7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06DBE31-DECE-462D-A0C1-8D9057A1EF75}" type="datetimeFigureOut">
              <a:rPr lang="ru-RU"/>
              <a:pPr>
                <a:defRPr/>
              </a:pPr>
              <a:t>21.11.2014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58DAEB1-65DF-467C-B328-FC85F729908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2A67DA4-6EFD-4428-ADFB-48E51AA67C2D}" type="datetimeFigureOut">
              <a:rPr lang="ru-RU"/>
              <a:pPr>
                <a:defRPr/>
              </a:pPr>
              <a:t>21.11.2014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0AF3F2A-B72E-4E68-974F-551D1AAEFE0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8F2D044-334F-428B-99A2-59115AA27DB5}" type="datetimeFigureOut">
              <a:rPr lang="ru-RU"/>
              <a:pPr>
                <a:defRPr/>
              </a:pPr>
              <a:t>21.11.2014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15B4A1-9D83-4AB6-9735-7F7FDAB70F7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73049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5B8DC80-18D1-4472-9CBD-A9CB1160F75B}" type="datetimeFigureOut">
              <a:rPr lang="ru-RU"/>
              <a:pPr>
                <a:defRPr/>
              </a:pPr>
              <a:t>21.11.201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6F31CD9-5811-45A8-B11B-BFEE94561A9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01D213F-BD2B-4471-90B5-00AAB9A355C5}" type="datetimeFigureOut">
              <a:rPr lang="ru-RU"/>
              <a:pPr>
                <a:defRPr/>
              </a:pPr>
              <a:t>21.11.201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63F256C-63C2-454C-84C1-2E5DCB0F5C8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>
            <a:lum/>
          </a:blip>
          <a:srcRect/>
          <a:stretch>
            <a:fillRect l="-17000" r="-1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8435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BBC18BA1-A138-4C62-98DB-4C5B9842950D}" type="datetimeFigureOut">
              <a:rPr lang="ru-RU"/>
              <a:pPr>
                <a:defRPr/>
              </a:pPr>
              <a:t>21.11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B9B519FA-6587-4837-89DD-CCC541A0DD0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62" r:id="rId3"/>
    <p:sldLayoutId id="2147483663" r:id="rId4"/>
    <p:sldLayoutId id="2147483664" r:id="rId5"/>
    <p:sldLayoutId id="2147483665" r:id="rId6"/>
    <p:sldLayoutId id="2147483666" r:id="rId7"/>
    <p:sldLayoutId id="2147483667" r:id="rId8"/>
    <p:sldLayoutId id="2147483668" r:id="rId9"/>
    <p:sldLayoutId id="2147483669" r:id="rId10"/>
    <p:sldLayoutId id="2147483670" r:id="rId11"/>
  </p:sldLayoutIdLst>
  <p:txStyles>
    <p:titleStyle>
      <a:lvl1pPr algn="ctr" rtl="0" fontAlgn="base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openxmlformats.org/officeDocument/2006/relationships/image" Target="../media/image26.png"/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12" Type="http://schemas.openxmlformats.org/officeDocument/2006/relationships/image" Target="../media/image25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9.png"/><Relationship Id="rId11" Type="http://schemas.openxmlformats.org/officeDocument/2006/relationships/image" Target="../media/image24.png"/><Relationship Id="rId5" Type="http://schemas.openxmlformats.org/officeDocument/2006/relationships/image" Target="../media/image18.png"/><Relationship Id="rId15" Type="http://schemas.openxmlformats.org/officeDocument/2006/relationships/image" Target="../media/image28.png"/><Relationship Id="rId10" Type="http://schemas.openxmlformats.org/officeDocument/2006/relationships/image" Target="../media/image23.png"/><Relationship Id="rId4" Type="http://schemas.openxmlformats.org/officeDocument/2006/relationships/image" Target="../media/image17.png"/><Relationship Id="rId9" Type="http://schemas.openxmlformats.org/officeDocument/2006/relationships/image" Target="../media/image22.png"/><Relationship Id="rId14" Type="http://schemas.openxmlformats.org/officeDocument/2006/relationships/image" Target="../media/image27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.vml"/><Relationship Id="rId5" Type="http://schemas.openxmlformats.org/officeDocument/2006/relationships/chart" Target="../charts/chart1.xml"/><Relationship Id="rId4" Type="http://schemas.openxmlformats.org/officeDocument/2006/relationships/image" Target="../media/image4.emf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8.jpeg"/><Relationship Id="rId4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diagramLayout" Target="../diagrams/layout1.xml"/><Relationship Id="rId7" Type="http://schemas.openxmlformats.org/officeDocument/2006/relationships/diagramData" Target="../diagrams/data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11" Type="http://schemas.microsoft.com/office/2007/relationships/diagramDrawing" Target="../diagrams/drawing2.xml"/><Relationship Id="rId5" Type="http://schemas.openxmlformats.org/officeDocument/2006/relationships/diagramColors" Target="../diagrams/colors1.xml"/><Relationship Id="rId10" Type="http://schemas.openxmlformats.org/officeDocument/2006/relationships/diagramColors" Target="../diagrams/colors2.xml"/><Relationship Id="rId4" Type="http://schemas.openxmlformats.org/officeDocument/2006/relationships/diagramQuickStyle" Target="../diagrams/quickStyle1.xml"/><Relationship Id="rId9" Type="http://schemas.openxmlformats.org/officeDocument/2006/relationships/diagramQuickStyle" Target="../diagrams/quickStyl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5" name="TextBox 6"/>
          <p:cNvSpPr txBox="1">
            <a:spLocks noChangeArrowheads="1"/>
          </p:cNvSpPr>
          <p:nvPr/>
        </p:nvSpPr>
        <p:spPr bwMode="auto">
          <a:xfrm>
            <a:off x="718319" y="2636912"/>
            <a:ext cx="7707362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2400" b="1" dirty="0" smtClean="0">
                <a:solidFill>
                  <a:srgbClr val="FF0000"/>
                </a:solidFill>
                <a:latin typeface="Calibri" pitchFamily="34" charset="0"/>
                <a:cs typeface="Arial" charset="0"/>
              </a:rPr>
              <a:t>The Trans-Siberian Route: ways to increase competitiveness of railway freight transportation</a:t>
            </a:r>
            <a:endParaRPr lang="ru-RU" sz="2400" b="1" dirty="0">
              <a:solidFill>
                <a:srgbClr val="FF0000"/>
              </a:solidFill>
              <a:latin typeface="Calibri" pitchFamily="34" charset="0"/>
              <a:cs typeface="Arial" charset="0"/>
            </a:endParaRPr>
          </a:p>
        </p:txBody>
      </p:sp>
      <p:pic>
        <p:nvPicPr>
          <p:cNvPr id="13317" name="Picture 8" descr="CCTT_Blank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190625" y="404813"/>
            <a:ext cx="6502400" cy="1047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6"/>
          <p:cNvSpPr txBox="1">
            <a:spLocks noChangeArrowheads="1"/>
          </p:cNvSpPr>
          <p:nvPr/>
        </p:nvSpPr>
        <p:spPr bwMode="auto">
          <a:xfrm>
            <a:off x="718319" y="3717032"/>
            <a:ext cx="7707362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Arial" charset="0"/>
              </a:rPr>
              <a:t>Транссибирский маршрут: пути повышения конкурентоспособности перевозок грузов железнодорожным транспортом.</a:t>
            </a:r>
            <a:endParaRPr lang="ru-RU" sz="2400" b="1" dirty="0">
              <a:solidFill>
                <a:schemeClr val="tx1">
                  <a:lumMod val="75000"/>
                  <a:lumOff val="25000"/>
                </a:schemeClr>
              </a:solidFill>
              <a:latin typeface="Calibri" pitchFamily="34" charset="0"/>
              <a:cs typeface="Arial" charset="0"/>
            </a:endParaRPr>
          </a:p>
        </p:txBody>
      </p:sp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718319" y="5949280"/>
            <a:ext cx="7707362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Arial" charset="0"/>
              </a:rPr>
              <a:t>Working Party on Rail Transport</a:t>
            </a:r>
            <a:endParaRPr lang="ru-RU" dirty="0" smtClean="0">
              <a:solidFill>
                <a:schemeClr val="tx1">
                  <a:lumMod val="75000"/>
                  <a:lumOff val="25000"/>
                </a:schemeClr>
              </a:solidFill>
              <a:latin typeface="Calibri" pitchFamily="34" charset="0"/>
              <a:cs typeface="Arial" charset="0"/>
            </a:endParaRPr>
          </a:p>
          <a:p>
            <a:pPr algn="ctr"/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Arial" charset="0"/>
              </a:rPr>
              <a:t>Geneva</a:t>
            </a:r>
            <a:r>
              <a:rPr lang="ru-RU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Arial" charset="0"/>
              </a:rPr>
              <a:t>, 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Arial" charset="0"/>
              </a:rPr>
              <a:t>November 25-26, 2014</a:t>
            </a:r>
            <a:endParaRPr lang="ru-RU" dirty="0">
              <a:solidFill>
                <a:schemeClr val="tx1">
                  <a:lumMod val="75000"/>
                  <a:lumOff val="25000"/>
                </a:schemeClr>
              </a:solidFill>
              <a:latin typeface="Calibri" pitchFamily="34" charset="0"/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553" name="Picture 9" descr="Tariff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90513" y="1557338"/>
            <a:ext cx="8745537" cy="4895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554" name="clipart_drawncirclered"/>
          <p:cNvSpPr>
            <a:spLocks/>
          </p:cNvSpPr>
          <p:nvPr>
            <p:custDataLst>
              <p:tags r:id="rId1"/>
            </p:custDataLst>
          </p:nvPr>
        </p:nvSpPr>
        <p:spPr bwMode="gray">
          <a:xfrm>
            <a:off x="6254750" y="5589588"/>
            <a:ext cx="1971675" cy="650875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FFFF00"/>
          </a:solidFill>
          <a:ln w="9525">
            <a:solidFill>
              <a:srgbClr val="CC0000"/>
            </a:solidFill>
            <a:round/>
            <a:headEnd/>
            <a:tailEnd/>
          </a:ln>
        </p:spPr>
        <p:txBody>
          <a:bodyPr tIns="91440" bIns="91440" anchor="ctr"/>
          <a:lstStyle/>
          <a:p>
            <a:endParaRPr lang="ru-RU"/>
          </a:p>
        </p:txBody>
      </p:sp>
      <p:sp>
        <p:nvSpPr>
          <p:cNvPr id="23555" name="Text Box 11"/>
          <p:cNvSpPr txBox="1">
            <a:spLocks noChangeArrowheads="1"/>
          </p:cNvSpPr>
          <p:nvPr/>
        </p:nvSpPr>
        <p:spPr bwMode="auto">
          <a:xfrm>
            <a:off x="6796088" y="5700713"/>
            <a:ext cx="815975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ru-RU" b="1">
                <a:solidFill>
                  <a:srgbClr val="CC0000"/>
                </a:solidFill>
                <a:latin typeface="Calibri" pitchFamily="34" charset="0"/>
              </a:rPr>
              <a:t>China</a:t>
            </a:r>
            <a:endParaRPr lang="ru-RU" altLang="ru-RU" b="1">
              <a:solidFill>
                <a:srgbClr val="CC0000"/>
              </a:solidFill>
              <a:latin typeface="Calibri" pitchFamily="34" charset="0"/>
            </a:endParaRPr>
          </a:p>
        </p:txBody>
      </p:sp>
      <p:sp>
        <p:nvSpPr>
          <p:cNvPr id="23556" name="Line 12"/>
          <p:cNvSpPr>
            <a:spLocks noChangeShapeType="1"/>
          </p:cNvSpPr>
          <p:nvPr/>
        </p:nvSpPr>
        <p:spPr bwMode="auto">
          <a:xfrm flipV="1">
            <a:off x="7972425" y="4243388"/>
            <a:ext cx="573088" cy="1462087"/>
          </a:xfrm>
          <a:prstGeom prst="line">
            <a:avLst/>
          </a:prstGeom>
          <a:noFill/>
          <a:ln w="28575">
            <a:solidFill>
              <a:srgbClr val="008000"/>
            </a:solidFill>
            <a:round/>
            <a:headEnd type="oval" w="med" len="med"/>
            <a:tailEnd type="triangl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3557" name="Line 13"/>
          <p:cNvSpPr>
            <a:spLocks noChangeShapeType="1"/>
          </p:cNvSpPr>
          <p:nvPr/>
        </p:nvSpPr>
        <p:spPr bwMode="auto">
          <a:xfrm flipH="1" flipV="1">
            <a:off x="5581650" y="4818063"/>
            <a:ext cx="842963" cy="865187"/>
          </a:xfrm>
          <a:prstGeom prst="line">
            <a:avLst/>
          </a:prstGeom>
          <a:noFill/>
          <a:ln w="28575">
            <a:solidFill>
              <a:schemeClr val="accent2"/>
            </a:solidFill>
            <a:round/>
            <a:headEnd type="oval" w="med" len="med"/>
            <a:tailEnd type="triangl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3558" name="Line 14"/>
          <p:cNvSpPr>
            <a:spLocks noChangeShapeType="1"/>
          </p:cNvSpPr>
          <p:nvPr/>
        </p:nvSpPr>
        <p:spPr bwMode="auto">
          <a:xfrm flipH="1" flipV="1">
            <a:off x="2930525" y="4038600"/>
            <a:ext cx="2574925" cy="746125"/>
          </a:xfrm>
          <a:prstGeom prst="line">
            <a:avLst/>
          </a:prstGeom>
          <a:noFill/>
          <a:ln w="28575">
            <a:solidFill>
              <a:srgbClr val="C00000"/>
            </a:solidFill>
            <a:round/>
            <a:headEnd type="triangle" w="med" len="med"/>
            <a:tailEnd type="triangl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3559" name="Line 15"/>
          <p:cNvSpPr>
            <a:spLocks noChangeShapeType="1"/>
          </p:cNvSpPr>
          <p:nvPr/>
        </p:nvSpPr>
        <p:spPr bwMode="auto">
          <a:xfrm flipH="1" flipV="1">
            <a:off x="1414463" y="3616325"/>
            <a:ext cx="1428750" cy="400050"/>
          </a:xfrm>
          <a:prstGeom prst="line">
            <a:avLst/>
          </a:prstGeom>
          <a:noFill/>
          <a:ln w="28575">
            <a:solidFill>
              <a:srgbClr val="C00000"/>
            </a:solidFill>
            <a:round/>
            <a:headEnd type="triangle" w="med" len="med"/>
            <a:tailEnd type="triangl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3560" name="Line 16"/>
          <p:cNvSpPr>
            <a:spLocks noChangeShapeType="1"/>
          </p:cNvSpPr>
          <p:nvPr/>
        </p:nvSpPr>
        <p:spPr bwMode="auto">
          <a:xfrm flipH="1">
            <a:off x="700088" y="3627438"/>
            <a:ext cx="693737" cy="204787"/>
          </a:xfrm>
          <a:prstGeom prst="line">
            <a:avLst/>
          </a:prstGeom>
          <a:noFill/>
          <a:ln w="28575">
            <a:solidFill>
              <a:srgbClr val="CC0000"/>
            </a:solidFill>
            <a:round/>
            <a:headEnd type="triangle" w="med" len="med"/>
            <a:tailEnd type="triangl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3561" name="Freeform 17"/>
          <p:cNvSpPr>
            <a:spLocks/>
          </p:cNvSpPr>
          <p:nvPr/>
        </p:nvSpPr>
        <p:spPr bwMode="auto">
          <a:xfrm>
            <a:off x="1425575" y="3017838"/>
            <a:ext cx="7108825" cy="1182687"/>
          </a:xfrm>
          <a:custGeom>
            <a:avLst/>
            <a:gdLst>
              <a:gd name="T0" fmla="*/ 2147483647 w 3912"/>
              <a:gd name="T1" fmla="*/ 2147483647 h 716"/>
              <a:gd name="T2" fmla="*/ 2147483647 w 3912"/>
              <a:gd name="T3" fmla="*/ 2147483647 h 716"/>
              <a:gd name="T4" fmla="*/ 0 w 3912"/>
              <a:gd name="T5" fmla="*/ 2147483647 h 716"/>
              <a:gd name="T6" fmla="*/ 0 60000 65536"/>
              <a:gd name="T7" fmla="*/ 0 60000 65536"/>
              <a:gd name="T8" fmla="*/ 0 60000 65536"/>
              <a:gd name="T9" fmla="*/ 0 w 3912"/>
              <a:gd name="T10" fmla="*/ 0 h 716"/>
              <a:gd name="T11" fmla="*/ 3912 w 3912"/>
              <a:gd name="T12" fmla="*/ 716 h 71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912" h="716">
                <a:moveTo>
                  <a:pt x="3912" y="716"/>
                </a:moveTo>
                <a:cubicBezTo>
                  <a:pt x="3182" y="420"/>
                  <a:pt x="2452" y="124"/>
                  <a:pt x="1800" y="62"/>
                </a:cubicBezTo>
                <a:cubicBezTo>
                  <a:pt x="1148" y="0"/>
                  <a:pt x="300" y="297"/>
                  <a:pt x="0" y="344"/>
                </a:cubicBezTo>
              </a:path>
            </a:pathLst>
          </a:custGeom>
          <a:noFill/>
          <a:ln w="28575" cmpd="sng">
            <a:solidFill>
              <a:srgbClr val="008000"/>
            </a:solidFill>
            <a:round/>
            <a:headEnd type="triangle" w="med" len="med"/>
            <a:tailEnd type="triangl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3562" name="TextBox 121"/>
          <p:cNvSpPr txBox="1">
            <a:spLocks noChangeArrowheads="1"/>
          </p:cNvSpPr>
          <p:nvPr/>
        </p:nvSpPr>
        <p:spPr bwMode="auto">
          <a:xfrm>
            <a:off x="5207000" y="4254500"/>
            <a:ext cx="1624013" cy="312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ru-RU" sz="1200" b="1" u="sng">
                <a:solidFill>
                  <a:srgbClr val="000000"/>
                </a:solidFill>
                <a:latin typeface="Calibri" pitchFamily="34" charset="0"/>
                <a:cs typeface="Arial" charset="0"/>
              </a:rPr>
              <a:t>Dostyk/Alashankou</a:t>
            </a:r>
            <a:endParaRPr lang="ru-RU" altLang="ru-RU" sz="1200" b="1" u="sng">
              <a:solidFill>
                <a:srgbClr val="000000"/>
              </a:solidFill>
              <a:latin typeface="Calibri" pitchFamily="34" charset="0"/>
              <a:cs typeface="Arial" charset="0"/>
            </a:endParaRPr>
          </a:p>
        </p:txBody>
      </p:sp>
      <p:sp>
        <p:nvSpPr>
          <p:cNvPr id="23563" name="TextBox 121"/>
          <p:cNvSpPr txBox="1">
            <a:spLocks noChangeArrowheads="1"/>
          </p:cNvSpPr>
          <p:nvPr/>
        </p:nvSpPr>
        <p:spPr bwMode="auto">
          <a:xfrm>
            <a:off x="2892425" y="3594100"/>
            <a:ext cx="1184275" cy="312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ru-RU" sz="1200" b="1" u="sng">
                <a:solidFill>
                  <a:srgbClr val="000000"/>
                </a:solidFill>
                <a:latin typeface="Calibri" pitchFamily="34" charset="0"/>
                <a:cs typeface="Arial" charset="0"/>
              </a:rPr>
              <a:t>Kanisai/Iletsk</a:t>
            </a:r>
            <a:endParaRPr lang="ru-RU" altLang="ru-RU" sz="1200" b="1" u="sng">
              <a:solidFill>
                <a:srgbClr val="000000"/>
              </a:solidFill>
              <a:latin typeface="Calibri" pitchFamily="34" charset="0"/>
              <a:cs typeface="Arial" charset="0"/>
            </a:endParaRPr>
          </a:p>
        </p:txBody>
      </p:sp>
      <p:sp>
        <p:nvSpPr>
          <p:cNvPr id="23564" name="TextBox 121"/>
          <p:cNvSpPr txBox="1">
            <a:spLocks noChangeArrowheads="1"/>
          </p:cNvSpPr>
          <p:nvPr/>
        </p:nvSpPr>
        <p:spPr bwMode="auto">
          <a:xfrm>
            <a:off x="1117600" y="3032125"/>
            <a:ext cx="1531938" cy="312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ru-RU" sz="1200" b="1" u="sng">
                <a:solidFill>
                  <a:srgbClr val="000000"/>
                </a:solidFill>
                <a:latin typeface="Calibri" pitchFamily="34" charset="0"/>
                <a:cs typeface="Arial" charset="0"/>
              </a:rPr>
              <a:t>Osinovka/</a:t>
            </a:r>
            <a:r>
              <a:rPr lang="ru-RU" altLang="ru-RU" sz="1200" b="1" u="sng">
                <a:solidFill>
                  <a:srgbClr val="000000"/>
                </a:solidFill>
                <a:latin typeface="Calibri" pitchFamily="34" charset="0"/>
                <a:cs typeface="Arial" charset="0"/>
              </a:rPr>
              <a:t>Krasnoe</a:t>
            </a:r>
          </a:p>
        </p:txBody>
      </p:sp>
      <p:sp>
        <p:nvSpPr>
          <p:cNvPr id="23565" name="TextBox 121"/>
          <p:cNvSpPr txBox="1">
            <a:spLocks noChangeArrowheads="1"/>
          </p:cNvSpPr>
          <p:nvPr/>
        </p:nvSpPr>
        <p:spPr bwMode="auto">
          <a:xfrm>
            <a:off x="250825" y="3313113"/>
            <a:ext cx="582613" cy="312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ru-RU" sz="1200" b="1" u="sng">
                <a:solidFill>
                  <a:srgbClr val="000000"/>
                </a:solidFill>
                <a:latin typeface="Calibri" pitchFamily="34" charset="0"/>
                <a:cs typeface="Arial" charset="0"/>
              </a:rPr>
              <a:t>Brest</a:t>
            </a:r>
            <a:endParaRPr lang="ru-RU" altLang="ru-RU" sz="1200" b="1" u="sng">
              <a:solidFill>
                <a:srgbClr val="000000"/>
              </a:solidFill>
              <a:latin typeface="Calibri" pitchFamily="34" charset="0"/>
              <a:cs typeface="Arial" charset="0"/>
            </a:endParaRPr>
          </a:p>
        </p:txBody>
      </p:sp>
      <p:sp>
        <p:nvSpPr>
          <p:cNvPr id="23566" name="TextBox 121"/>
          <p:cNvSpPr txBox="1">
            <a:spLocks noChangeArrowheads="1"/>
          </p:cNvSpPr>
          <p:nvPr/>
        </p:nvSpPr>
        <p:spPr bwMode="auto">
          <a:xfrm>
            <a:off x="8021638" y="3459163"/>
            <a:ext cx="1035050" cy="519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ru-RU" sz="1200" b="1" u="sng">
                <a:solidFill>
                  <a:srgbClr val="000000"/>
                </a:solidFill>
                <a:latin typeface="Calibri" pitchFamily="34" charset="0"/>
                <a:cs typeface="Arial" charset="0"/>
              </a:rPr>
              <a:t>Zabaikalsk/</a:t>
            </a:r>
            <a:br>
              <a:rPr lang="en-US" altLang="ru-RU" sz="1200" b="1" u="sng">
                <a:solidFill>
                  <a:srgbClr val="000000"/>
                </a:solidFill>
                <a:latin typeface="Calibri" pitchFamily="34" charset="0"/>
                <a:cs typeface="Arial" charset="0"/>
              </a:rPr>
            </a:br>
            <a:r>
              <a:rPr lang="ru-RU" altLang="ru-RU" sz="1200" b="1" u="sng">
                <a:solidFill>
                  <a:srgbClr val="000000"/>
                </a:solidFill>
                <a:latin typeface="Calibri" pitchFamily="34" charset="0"/>
                <a:cs typeface="Arial" charset="0"/>
              </a:rPr>
              <a:t>Manzhouli </a:t>
            </a:r>
          </a:p>
        </p:txBody>
      </p:sp>
      <p:sp>
        <p:nvSpPr>
          <p:cNvPr id="23567" name="TextBox 121"/>
          <p:cNvSpPr txBox="1">
            <a:spLocks noChangeArrowheads="1"/>
          </p:cNvSpPr>
          <p:nvPr/>
        </p:nvSpPr>
        <p:spPr bwMode="auto">
          <a:xfrm>
            <a:off x="5370513" y="2890838"/>
            <a:ext cx="1079500" cy="382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ru-RU" sz="1600" b="1" u="sng">
                <a:solidFill>
                  <a:srgbClr val="008000"/>
                </a:solidFill>
                <a:latin typeface="Calibri" pitchFamily="34" charset="0"/>
                <a:cs typeface="Arial" charset="0"/>
              </a:rPr>
              <a:t>7 069 km</a:t>
            </a:r>
            <a:endParaRPr lang="ru-RU" altLang="ru-RU" sz="1600" b="1" u="sng">
              <a:solidFill>
                <a:srgbClr val="008000"/>
              </a:solidFill>
              <a:latin typeface="Calibri" pitchFamily="34" charset="0"/>
              <a:cs typeface="Arial" charset="0"/>
            </a:endParaRPr>
          </a:p>
        </p:txBody>
      </p:sp>
      <p:sp>
        <p:nvSpPr>
          <p:cNvPr id="23568" name="TextBox 121"/>
          <p:cNvSpPr txBox="1">
            <a:spLocks noChangeArrowheads="1"/>
          </p:cNvSpPr>
          <p:nvPr/>
        </p:nvSpPr>
        <p:spPr bwMode="auto">
          <a:xfrm>
            <a:off x="3746500" y="3973513"/>
            <a:ext cx="958917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ru-RU" sz="1600" b="1" u="sng">
                <a:solidFill>
                  <a:srgbClr val="C00000"/>
                </a:solidFill>
                <a:latin typeface="Calibri" pitchFamily="34" charset="0"/>
                <a:cs typeface="Arial" charset="0"/>
              </a:rPr>
              <a:t>3 025 km</a:t>
            </a:r>
            <a:endParaRPr lang="ru-RU" altLang="ru-RU" sz="1600" b="1" u="sng">
              <a:solidFill>
                <a:srgbClr val="C00000"/>
              </a:solidFill>
              <a:latin typeface="Calibri" pitchFamily="34" charset="0"/>
              <a:cs typeface="Arial" charset="0"/>
            </a:endParaRPr>
          </a:p>
        </p:txBody>
      </p:sp>
      <p:sp>
        <p:nvSpPr>
          <p:cNvPr id="23569" name="TextBox 121"/>
          <p:cNvSpPr txBox="1">
            <a:spLocks noChangeArrowheads="1"/>
          </p:cNvSpPr>
          <p:nvPr/>
        </p:nvSpPr>
        <p:spPr bwMode="auto">
          <a:xfrm>
            <a:off x="1831975" y="3432175"/>
            <a:ext cx="958917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ru-RU" sz="1600" b="1" u="sng" dirty="0">
                <a:solidFill>
                  <a:srgbClr val="C00000"/>
                </a:solidFill>
                <a:latin typeface="Calibri" pitchFamily="34" charset="0"/>
                <a:cs typeface="Arial" charset="0"/>
              </a:rPr>
              <a:t>2 058 km</a:t>
            </a:r>
            <a:endParaRPr lang="ru-RU" altLang="ru-RU" sz="1600" b="1" u="sng" dirty="0">
              <a:solidFill>
                <a:srgbClr val="C00000"/>
              </a:solidFill>
              <a:latin typeface="Calibri" pitchFamily="34" charset="0"/>
              <a:cs typeface="Arial" charset="0"/>
            </a:endParaRPr>
          </a:p>
        </p:txBody>
      </p:sp>
      <p:sp>
        <p:nvSpPr>
          <p:cNvPr id="23570" name="TextBox 121"/>
          <p:cNvSpPr txBox="1">
            <a:spLocks noChangeArrowheads="1"/>
          </p:cNvSpPr>
          <p:nvPr/>
        </p:nvSpPr>
        <p:spPr bwMode="auto">
          <a:xfrm>
            <a:off x="727075" y="3713163"/>
            <a:ext cx="911225" cy="382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ru-RU" sz="1600" b="1" u="sng">
                <a:solidFill>
                  <a:srgbClr val="CC0000"/>
                </a:solidFill>
                <a:latin typeface="Calibri" pitchFamily="34" charset="0"/>
                <a:cs typeface="Arial" charset="0"/>
              </a:rPr>
              <a:t>609 km</a:t>
            </a:r>
            <a:endParaRPr lang="ru-RU" altLang="ru-RU" sz="1600" b="1" u="sng">
              <a:solidFill>
                <a:srgbClr val="CC0000"/>
              </a:solidFill>
              <a:latin typeface="Calibri" pitchFamily="34" charset="0"/>
              <a:cs typeface="Arial" charset="0"/>
            </a:endParaRPr>
          </a:p>
        </p:txBody>
      </p:sp>
      <p:sp>
        <p:nvSpPr>
          <p:cNvPr id="23571" name="Text Box 27"/>
          <p:cNvSpPr txBox="1">
            <a:spLocks noChangeArrowheads="1"/>
          </p:cNvSpPr>
          <p:nvPr/>
        </p:nvSpPr>
        <p:spPr bwMode="auto">
          <a:xfrm>
            <a:off x="311150" y="4795838"/>
            <a:ext cx="3581400" cy="415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endParaRPr lang="ru-RU" altLang="ru-RU"/>
          </a:p>
        </p:txBody>
      </p:sp>
      <p:sp>
        <p:nvSpPr>
          <p:cNvPr id="23572" name="Text Box 28"/>
          <p:cNvSpPr txBox="1">
            <a:spLocks noChangeArrowheads="1"/>
          </p:cNvSpPr>
          <p:nvPr/>
        </p:nvSpPr>
        <p:spPr bwMode="auto">
          <a:xfrm>
            <a:off x="342900" y="4903788"/>
            <a:ext cx="3841750" cy="1323439"/>
          </a:xfrm>
          <a:prstGeom prst="rect">
            <a:avLst/>
          </a:prstGeom>
          <a:solidFill>
            <a:schemeClr val="bg1">
              <a:alpha val="65097"/>
            </a:schemeClr>
          </a:solidFill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ru-RU" sz="1600" b="1" dirty="0" err="1">
                <a:solidFill>
                  <a:srgbClr val="008000"/>
                </a:solidFill>
                <a:latin typeface="Calibri" pitchFamily="34" charset="0"/>
              </a:rPr>
              <a:t>Zabaikalsk</a:t>
            </a:r>
            <a:r>
              <a:rPr lang="en-US" altLang="ru-RU" sz="1600" b="1" dirty="0">
                <a:solidFill>
                  <a:srgbClr val="008000"/>
                </a:solidFill>
                <a:latin typeface="Calibri" pitchFamily="34" charset="0"/>
              </a:rPr>
              <a:t> – </a:t>
            </a:r>
            <a:r>
              <a:rPr lang="en-US" altLang="ru-RU" sz="1600" b="1" dirty="0" err="1">
                <a:solidFill>
                  <a:srgbClr val="008000"/>
                </a:solidFill>
                <a:latin typeface="Calibri" pitchFamily="34" charset="0"/>
              </a:rPr>
              <a:t>Krasnoe</a:t>
            </a:r>
            <a:r>
              <a:rPr lang="en-US" altLang="ru-RU" sz="1600" b="1" dirty="0">
                <a:solidFill>
                  <a:srgbClr val="008000"/>
                </a:solidFill>
                <a:latin typeface="Calibri" pitchFamily="34" charset="0"/>
              </a:rPr>
              <a:t> (1 044 CHF)</a:t>
            </a:r>
            <a:br>
              <a:rPr lang="en-US" altLang="ru-RU" sz="1600" b="1" dirty="0">
                <a:solidFill>
                  <a:srgbClr val="008000"/>
                </a:solidFill>
                <a:latin typeface="Calibri" pitchFamily="34" charset="0"/>
              </a:rPr>
            </a:br>
            <a:r>
              <a:rPr lang="en-US" altLang="ru-RU" sz="1600" b="1" dirty="0" err="1">
                <a:solidFill>
                  <a:srgbClr val="008000"/>
                </a:solidFill>
                <a:latin typeface="Calibri" pitchFamily="34" charset="0"/>
              </a:rPr>
              <a:t>Krasnoe</a:t>
            </a:r>
            <a:r>
              <a:rPr lang="en-US" altLang="ru-RU" sz="1600" b="1" dirty="0">
                <a:solidFill>
                  <a:srgbClr val="008000"/>
                </a:solidFill>
                <a:latin typeface="Calibri" pitchFamily="34" charset="0"/>
              </a:rPr>
              <a:t> – </a:t>
            </a:r>
            <a:r>
              <a:rPr lang="en-US" altLang="ru-RU" sz="1600" b="1" dirty="0" err="1">
                <a:solidFill>
                  <a:srgbClr val="008000"/>
                </a:solidFill>
                <a:latin typeface="Calibri" pitchFamily="34" charset="0"/>
              </a:rPr>
              <a:t>Zabaikalsk</a:t>
            </a:r>
            <a:r>
              <a:rPr lang="en-US" altLang="ru-RU" sz="1600" b="1" dirty="0">
                <a:solidFill>
                  <a:srgbClr val="008000"/>
                </a:solidFill>
                <a:latin typeface="Calibri" pitchFamily="34" charset="0"/>
              </a:rPr>
              <a:t> (464 CHF)</a:t>
            </a:r>
            <a:br>
              <a:rPr lang="en-US" altLang="ru-RU" sz="1600" b="1" dirty="0">
                <a:solidFill>
                  <a:srgbClr val="008000"/>
                </a:solidFill>
                <a:latin typeface="Calibri" pitchFamily="34" charset="0"/>
              </a:rPr>
            </a:br>
            <a:r>
              <a:rPr lang="en-US" altLang="ru-RU" sz="1600" b="1" dirty="0" err="1">
                <a:solidFill>
                  <a:srgbClr val="CC0000"/>
                </a:solidFill>
                <a:latin typeface="Calibri" pitchFamily="34" charset="0"/>
              </a:rPr>
              <a:t>Osinovka</a:t>
            </a:r>
            <a:r>
              <a:rPr lang="en-US" altLang="ru-RU" sz="1600" b="1" dirty="0">
                <a:solidFill>
                  <a:srgbClr val="CC0000"/>
                </a:solidFill>
                <a:latin typeface="Calibri" pitchFamily="34" charset="0"/>
              </a:rPr>
              <a:t> – Brest or return (230 CHF)</a:t>
            </a:r>
            <a:br>
              <a:rPr lang="en-US" altLang="ru-RU" sz="1600" b="1" dirty="0">
                <a:solidFill>
                  <a:srgbClr val="CC0000"/>
                </a:solidFill>
                <a:latin typeface="Calibri" pitchFamily="34" charset="0"/>
              </a:rPr>
            </a:br>
            <a:r>
              <a:rPr lang="en-US" altLang="ru-RU" sz="1600" b="1" dirty="0" err="1">
                <a:solidFill>
                  <a:srgbClr val="C00000"/>
                </a:solidFill>
                <a:latin typeface="Calibri" pitchFamily="34" charset="0"/>
              </a:rPr>
              <a:t>Dostyk</a:t>
            </a:r>
            <a:r>
              <a:rPr lang="en-US" altLang="ru-RU" sz="1600" b="1" dirty="0">
                <a:solidFill>
                  <a:srgbClr val="C00000"/>
                </a:solidFill>
                <a:latin typeface="Calibri" pitchFamily="34" charset="0"/>
              </a:rPr>
              <a:t> – </a:t>
            </a:r>
            <a:r>
              <a:rPr lang="en-US" altLang="ru-RU" sz="1600" b="1" dirty="0" err="1">
                <a:solidFill>
                  <a:srgbClr val="C00000"/>
                </a:solidFill>
                <a:latin typeface="Calibri" pitchFamily="34" charset="0"/>
              </a:rPr>
              <a:t>Iletsk</a:t>
            </a:r>
            <a:r>
              <a:rPr lang="en-US" altLang="ru-RU" sz="1600" b="1" dirty="0">
                <a:solidFill>
                  <a:srgbClr val="C00000"/>
                </a:solidFill>
                <a:latin typeface="Calibri" pitchFamily="34" charset="0"/>
              </a:rPr>
              <a:t> or return (859 CHF)</a:t>
            </a:r>
            <a:br>
              <a:rPr lang="en-US" altLang="ru-RU" sz="1600" b="1" dirty="0">
                <a:solidFill>
                  <a:srgbClr val="C00000"/>
                </a:solidFill>
                <a:latin typeface="Calibri" pitchFamily="34" charset="0"/>
              </a:rPr>
            </a:br>
            <a:r>
              <a:rPr lang="en-US" altLang="ru-RU" sz="1600" b="1" dirty="0" err="1">
                <a:solidFill>
                  <a:srgbClr val="C00000"/>
                </a:solidFill>
                <a:latin typeface="Calibri" pitchFamily="34" charset="0"/>
              </a:rPr>
              <a:t>Kanisai</a:t>
            </a:r>
            <a:r>
              <a:rPr lang="en-US" altLang="ru-RU" sz="1600" b="1" dirty="0">
                <a:solidFill>
                  <a:srgbClr val="C00000"/>
                </a:solidFill>
                <a:latin typeface="Calibri" pitchFamily="34" charset="0"/>
              </a:rPr>
              <a:t> – </a:t>
            </a:r>
            <a:r>
              <a:rPr lang="en-US" altLang="ru-RU" sz="1600" b="1" dirty="0" err="1">
                <a:solidFill>
                  <a:srgbClr val="C00000"/>
                </a:solidFill>
                <a:latin typeface="Calibri" pitchFamily="34" charset="0"/>
              </a:rPr>
              <a:t>Krasnoe</a:t>
            </a:r>
            <a:r>
              <a:rPr lang="en-US" altLang="ru-RU" sz="1600" b="1" dirty="0">
                <a:solidFill>
                  <a:srgbClr val="C00000"/>
                </a:solidFill>
                <a:latin typeface="Calibri" pitchFamily="34" charset="0"/>
              </a:rPr>
              <a:t> or return (576 CHF)</a:t>
            </a:r>
            <a:endParaRPr lang="ru-RU" altLang="ru-RU" sz="1600" b="1" dirty="0">
              <a:solidFill>
                <a:srgbClr val="C00000"/>
              </a:solidFill>
              <a:latin typeface="Calibri" pitchFamily="34" charset="0"/>
            </a:endParaRPr>
          </a:p>
        </p:txBody>
      </p:sp>
      <p:sp>
        <p:nvSpPr>
          <p:cNvPr id="23573" name="Line 29"/>
          <p:cNvSpPr>
            <a:spLocks noChangeShapeType="1"/>
          </p:cNvSpPr>
          <p:nvPr/>
        </p:nvSpPr>
        <p:spPr bwMode="auto">
          <a:xfrm flipH="1">
            <a:off x="349250" y="3854450"/>
            <a:ext cx="368300" cy="211138"/>
          </a:xfrm>
          <a:prstGeom prst="line">
            <a:avLst/>
          </a:prstGeom>
          <a:noFill/>
          <a:ln w="12700">
            <a:solidFill>
              <a:srgbClr val="996600"/>
            </a:solidFill>
            <a:prstDash val="sysDot"/>
            <a:round/>
            <a:headEnd type="arrow" w="med" len="med"/>
            <a:tailEnd type="arrow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3574" name="Line 30"/>
          <p:cNvSpPr>
            <a:spLocks noChangeShapeType="1"/>
          </p:cNvSpPr>
          <p:nvPr/>
        </p:nvSpPr>
        <p:spPr bwMode="auto">
          <a:xfrm flipH="1" flipV="1">
            <a:off x="311150" y="3621088"/>
            <a:ext cx="400050" cy="228600"/>
          </a:xfrm>
          <a:prstGeom prst="line">
            <a:avLst/>
          </a:prstGeom>
          <a:noFill/>
          <a:ln w="12700">
            <a:solidFill>
              <a:srgbClr val="996600"/>
            </a:solidFill>
            <a:prstDash val="sysDot"/>
            <a:round/>
            <a:headEnd type="arrow" w="med" len="med"/>
            <a:tailEnd type="arrow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3575" name="Line 31"/>
          <p:cNvSpPr>
            <a:spLocks noChangeShapeType="1"/>
          </p:cNvSpPr>
          <p:nvPr/>
        </p:nvSpPr>
        <p:spPr bwMode="auto">
          <a:xfrm flipH="1">
            <a:off x="360363" y="3859213"/>
            <a:ext cx="361950" cy="720725"/>
          </a:xfrm>
          <a:prstGeom prst="line">
            <a:avLst/>
          </a:prstGeom>
          <a:noFill/>
          <a:ln w="12700">
            <a:solidFill>
              <a:srgbClr val="996600"/>
            </a:solidFill>
            <a:prstDash val="sysDot"/>
            <a:round/>
            <a:headEnd type="arrow" w="med" len="med"/>
            <a:tailEnd type="arrow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9" name="Text Box 140"/>
          <p:cNvSpPr txBox="1">
            <a:spLocks noChangeArrowheads="1"/>
          </p:cNvSpPr>
          <p:nvPr/>
        </p:nvSpPr>
        <p:spPr bwMode="auto">
          <a:xfrm>
            <a:off x="323850" y="908050"/>
            <a:ext cx="8569325" cy="485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ru-RU" sz="1600" b="1" dirty="0" smtClean="0">
                <a:solidFill>
                  <a:srgbClr val="FF0000"/>
                </a:solidFill>
                <a:latin typeface="Calibri" panose="020F0502020204030204" pitchFamily="34" charset="0"/>
              </a:rPr>
              <a:t>Tariff </a:t>
            </a:r>
            <a:r>
              <a:rPr lang="en-US" altLang="ru-RU" sz="1600" b="1" dirty="0">
                <a:solidFill>
                  <a:srgbClr val="FF0000"/>
                </a:solidFill>
                <a:latin typeface="Calibri" panose="020F0502020204030204" pitchFamily="34" charset="0"/>
              </a:rPr>
              <a:t>policy for freight transport by container trains between China to Europe (40’ own)</a:t>
            </a:r>
          </a:p>
          <a:p>
            <a:pPr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</a:rPr>
              <a:t>Формирование тарифной ставки для контейнерных поездов между Китаем и Европой (40</a:t>
            </a:r>
            <a:r>
              <a:rPr lang="en-US" altLang="ru-RU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</a:rPr>
              <a:t>’</a:t>
            </a:r>
            <a:r>
              <a:rPr lang="ru-RU" altLang="ru-RU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</a:rPr>
              <a:t>)</a:t>
            </a:r>
            <a:endParaRPr lang="en-US" altLang="ru-RU" sz="1600" b="1" dirty="0">
              <a:solidFill>
                <a:schemeClr val="tx1">
                  <a:lumMod val="75000"/>
                  <a:lumOff val="25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27" name="Text Box 13"/>
          <p:cNvSpPr txBox="1">
            <a:spLocks noChangeArrowheads="1"/>
          </p:cNvSpPr>
          <p:nvPr/>
        </p:nvSpPr>
        <p:spPr bwMode="auto">
          <a:xfrm>
            <a:off x="395288" y="152544"/>
            <a:ext cx="8353176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altLang="ru-RU" sz="1600" dirty="0">
                <a:solidFill>
                  <a:schemeClr val="bg1"/>
                </a:solidFill>
                <a:latin typeface="Calibri" pitchFamily="34" charset="0"/>
              </a:rPr>
              <a:t>The Trans-Siberian Route: ways to increase competitiveness of railway freight transportation</a:t>
            </a:r>
            <a:endParaRPr lang="en-US" altLang="ru-RU" sz="1600" dirty="0">
              <a:solidFill>
                <a:schemeClr val="bg1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348212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194"/>
          <a:stretch/>
        </p:blipFill>
        <p:spPr>
          <a:xfrm>
            <a:off x="65821" y="1527518"/>
            <a:ext cx="9088759" cy="4944020"/>
          </a:xfrm>
          <a:prstGeom prst="rect">
            <a:avLst/>
          </a:prstGeom>
        </p:spPr>
      </p:pic>
      <p:sp>
        <p:nvSpPr>
          <p:cNvPr id="2" name="Text Box 140"/>
          <p:cNvSpPr txBox="1">
            <a:spLocks noChangeArrowheads="1"/>
          </p:cNvSpPr>
          <p:nvPr/>
        </p:nvSpPr>
        <p:spPr bwMode="auto">
          <a:xfrm>
            <a:off x="323850" y="908050"/>
            <a:ext cx="7896225" cy="592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ru-RU" sz="2000" b="1" dirty="0" smtClean="0">
                <a:solidFill>
                  <a:srgbClr val="FF0000"/>
                </a:solidFill>
                <a:latin typeface="Calibri" panose="020F0502020204030204" pitchFamily="34" charset="0"/>
              </a:rPr>
              <a:t>IV. Freight flow balance</a:t>
            </a:r>
          </a:p>
          <a:p>
            <a:pPr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ru-RU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</a:rPr>
              <a:t>IV. </a:t>
            </a:r>
            <a:r>
              <a:rPr lang="ru-RU" altLang="ru-RU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</a:rPr>
              <a:t>Сбалансированность грузопотоков</a:t>
            </a:r>
            <a:endParaRPr lang="en-US" altLang="ru-RU" sz="2000" b="1" dirty="0">
              <a:solidFill>
                <a:schemeClr val="tx1">
                  <a:lumMod val="75000"/>
                  <a:lumOff val="25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969685" y="3970801"/>
            <a:ext cx="80502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latin typeface="+mj-lt"/>
              </a:rPr>
              <a:t>CHINA</a:t>
            </a:r>
            <a:endParaRPr lang="ru-RU" b="1" dirty="0">
              <a:latin typeface="+mj-lt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331640" y="2996952"/>
            <a:ext cx="96629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chemeClr val="bg1"/>
                </a:solidFill>
                <a:latin typeface="+mj-lt"/>
              </a:rPr>
              <a:t>EUROPE</a:t>
            </a:r>
            <a:endParaRPr lang="ru-RU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6" name="Выгнутая влево стрелка 15"/>
          <p:cNvSpPr/>
          <p:nvPr/>
        </p:nvSpPr>
        <p:spPr>
          <a:xfrm rot="5941219">
            <a:off x="4106035" y="1238712"/>
            <a:ext cx="720080" cy="3448954"/>
          </a:xfrm>
          <a:prstGeom prst="curvedRightArrow">
            <a:avLst>
              <a:gd name="adj1" fmla="val 25000"/>
              <a:gd name="adj2" fmla="val 50000"/>
              <a:gd name="adj3" fmla="val 35242"/>
            </a:avLst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17" name="Выгнутая влево стрелка 16"/>
          <p:cNvSpPr/>
          <p:nvPr/>
        </p:nvSpPr>
        <p:spPr>
          <a:xfrm rot="17042681">
            <a:off x="3526683" y="2832333"/>
            <a:ext cx="720080" cy="3448954"/>
          </a:xfrm>
          <a:prstGeom prst="curvedRightArrow">
            <a:avLst>
              <a:gd name="adj1" fmla="val 25000"/>
              <a:gd name="adj2" fmla="val 50000"/>
              <a:gd name="adj3" fmla="val 35242"/>
            </a:avLst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5196283" y="2102828"/>
            <a:ext cx="2105513" cy="646331"/>
          </a:xfrm>
          <a:prstGeom prst="rect">
            <a:avLst/>
          </a:prstGeom>
          <a:solidFill>
            <a:srgbClr val="FFC000"/>
          </a:solidFill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+mn-lt"/>
              </a:rPr>
              <a:t>40’ containers </a:t>
            </a:r>
          </a:p>
          <a:p>
            <a:pPr algn="ctr"/>
            <a:r>
              <a:rPr lang="en-US" b="1" dirty="0" smtClean="0">
                <a:solidFill>
                  <a:schemeClr val="tx1"/>
                </a:solidFill>
                <a:latin typeface="+mn-lt"/>
              </a:rPr>
              <a:t>(60% of total traffic)</a:t>
            </a:r>
            <a:endParaRPr lang="ru-RU" b="1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971600" y="4672177"/>
            <a:ext cx="2105513" cy="646331"/>
          </a:xfrm>
          <a:prstGeom prst="rect">
            <a:avLst/>
          </a:prstGeom>
          <a:solidFill>
            <a:schemeClr val="tx2"/>
          </a:solidFill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pPr algn="ctr"/>
            <a:r>
              <a:rPr lang="en-US" b="1" dirty="0" smtClean="0">
                <a:solidFill>
                  <a:schemeClr val="bg1"/>
                </a:solidFill>
                <a:latin typeface="+mn-lt"/>
              </a:rPr>
              <a:t>20’ containers </a:t>
            </a:r>
          </a:p>
          <a:p>
            <a:pPr algn="ctr"/>
            <a:r>
              <a:rPr lang="en-US" b="1" dirty="0" smtClean="0">
                <a:solidFill>
                  <a:schemeClr val="bg1"/>
                </a:solidFill>
                <a:latin typeface="+mn-lt"/>
              </a:rPr>
              <a:t>(40% of total traffic)</a:t>
            </a:r>
            <a:endParaRPr lang="ru-RU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1" name="Text Box 13"/>
          <p:cNvSpPr txBox="1">
            <a:spLocks noChangeArrowheads="1"/>
          </p:cNvSpPr>
          <p:nvPr/>
        </p:nvSpPr>
        <p:spPr bwMode="auto">
          <a:xfrm>
            <a:off x="395288" y="152544"/>
            <a:ext cx="8353176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altLang="ru-RU" sz="1600" dirty="0">
                <a:solidFill>
                  <a:schemeClr val="bg1"/>
                </a:solidFill>
                <a:latin typeface="Calibri" pitchFamily="34" charset="0"/>
              </a:rPr>
              <a:t>The Trans-Siberian Route: ways to increase competitiveness of railway freight transportation</a:t>
            </a:r>
            <a:endParaRPr lang="en-US" altLang="ru-RU" sz="1600" dirty="0">
              <a:solidFill>
                <a:schemeClr val="bg1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665651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6"/>
          <p:cNvSpPr txBox="1">
            <a:spLocks noChangeArrowheads="1"/>
          </p:cNvSpPr>
          <p:nvPr/>
        </p:nvSpPr>
        <p:spPr bwMode="auto">
          <a:xfrm>
            <a:off x="323528" y="977046"/>
            <a:ext cx="7896225" cy="592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GB" altLang="ru-RU" sz="2000" b="1" dirty="0" smtClean="0">
                <a:solidFill>
                  <a:srgbClr val="FF0000"/>
                </a:solidFill>
                <a:latin typeface="+mn-lt"/>
              </a:rPr>
              <a:t>V. </a:t>
            </a:r>
            <a:r>
              <a:rPr lang="en-US" altLang="ru-RU" sz="2000" b="1" dirty="0" smtClean="0">
                <a:solidFill>
                  <a:srgbClr val="FF0000"/>
                </a:solidFill>
                <a:latin typeface="+mn-lt"/>
              </a:rPr>
              <a:t>Single legal framework</a:t>
            </a:r>
          </a:p>
          <a:p>
            <a:pPr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ru-RU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V. </a:t>
            </a:r>
            <a:r>
              <a:rPr lang="ru-RU" altLang="ru-RU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Единый правовой режим</a:t>
            </a:r>
            <a:endParaRPr lang="ru-RU" altLang="ru-RU" sz="2000" b="1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552" y="1916832"/>
            <a:ext cx="7874000" cy="3784600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1331640" y="4941168"/>
            <a:ext cx="233679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dirty="0" smtClean="0">
                <a:latin typeface="+mj-lt"/>
              </a:rPr>
              <a:t>Integrated?</a:t>
            </a:r>
            <a:endParaRPr lang="ru-RU" sz="3600" dirty="0">
              <a:latin typeface="+mj-lt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5940152" y="4941168"/>
            <a:ext cx="144783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dirty="0" smtClean="0">
                <a:latin typeface="+mj-lt"/>
              </a:rPr>
              <a:t>Single!</a:t>
            </a:r>
            <a:endParaRPr lang="ru-RU" sz="3600" dirty="0">
              <a:latin typeface="+mj-lt"/>
            </a:endParaRPr>
          </a:p>
        </p:txBody>
      </p:sp>
      <p:sp>
        <p:nvSpPr>
          <p:cNvPr id="7" name="Text Box 13"/>
          <p:cNvSpPr txBox="1">
            <a:spLocks noChangeArrowheads="1"/>
          </p:cNvSpPr>
          <p:nvPr/>
        </p:nvSpPr>
        <p:spPr bwMode="auto">
          <a:xfrm>
            <a:off x="395288" y="152544"/>
            <a:ext cx="8353176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altLang="ru-RU" sz="1600" dirty="0">
                <a:solidFill>
                  <a:schemeClr val="bg1"/>
                </a:solidFill>
                <a:latin typeface="Calibri" pitchFamily="34" charset="0"/>
              </a:rPr>
              <a:t>The Trans-Siberian Route: ways to increase competitiveness of railway freight transportation</a:t>
            </a:r>
            <a:endParaRPr lang="en-US" altLang="ru-RU" sz="1600" dirty="0">
              <a:solidFill>
                <a:schemeClr val="bg1"/>
              </a:solidFill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Box 6"/>
          <p:cNvSpPr txBox="1">
            <a:spLocks noChangeArrowheads="1"/>
          </p:cNvSpPr>
          <p:nvPr/>
        </p:nvSpPr>
        <p:spPr bwMode="auto">
          <a:xfrm>
            <a:off x="395288" y="998242"/>
            <a:ext cx="4789487" cy="5950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GB" altLang="ru-RU" sz="2000" b="1" dirty="0" smtClean="0">
                <a:solidFill>
                  <a:srgbClr val="FF0000"/>
                </a:solidFill>
                <a:latin typeface="+mn-lt"/>
              </a:rPr>
              <a:t>VI. </a:t>
            </a:r>
            <a:r>
              <a:rPr lang="en-US" altLang="ru-RU" sz="2000" b="1" dirty="0">
                <a:solidFill>
                  <a:srgbClr val="FF0000"/>
                </a:solidFill>
                <a:latin typeface="+mn-lt"/>
              </a:rPr>
              <a:t>Cargo </a:t>
            </a:r>
            <a:r>
              <a:rPr lang="en-US" altLang="ru-RU" sz="2000" b="1" dirty="0" smtClean="0">
                <a:solidFill>
                  <a:srgbClr val="FF0000"/>
                </a:solidFill>
                <a:latin typeface="+mn-lt"/>
              </a:rPr>
              <a:t>safety</a:t>
            </a:r>
            <a:endParaRPr lang="ru-RU" altLang="ru-RU" sz="2000" b="1" dirty="0" smtClean="0">
              <a:solidFill>
                <a:srgbClr val="FF0000"/>
              </a:solidFill>
              <a:latin typeface="+mn-lt"/>
            </a:endParaRPr>
          </a:p>
          <a:p>
            <a:pPr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ru-RU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VI. </a:t>
            </a:r>
            <a:r>
              <a:rPr lang="ru-RU" altLang="ru-RU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Обеспечение сохранности грузов</a:t>
            </a:r>
            <a:endParaRPr lang="ru-RU" altLang="ru-RU" sz="2000" b="1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</p:txBody>
      </p:sp>
      <p:grpSp>
        <p:nvGrpSpPr>
          <p:cNvPr id="12" name="Группа 105"/>
          <p:cNvGrpSpPr>
            <a:grpSpLocks/>
          </p:cNvGrpSpPr>
          <p:nvPr/>
        </p:nvGrpSpPr>
        <p:grpSpPr bwMode="auto">
          <a:xfrm>
            <a:off x="899591" y="1882498"/>
            <a:ext cx="7495755" cy="4375459"/>
            <a:chOff x="-725049" y="181527"/>
            <a:chExt cx="10049577" cy="6555920"/>
          </a:xfrm>
        </p:grpSpPr>
        <p:sp>
          <p:nvSpPr>
            <p:cNvPr id="13" name="Прямоугольник 12"/>
            <p:cNvSpPr/>
            <p:nvPr/>
          </p:nvSpPr>
          <p:spPr>
            <a:xfrm>
              <a:off x="7427295" y="1596012"/>
              <a:ext cx="1454043" cy="836961"/>
            </a:xfrm>
            <a:prstGeom prst="rect">
              <a:avLst/>
            </a:prstGeom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14" name="Прямоугольник 13"/>
            <p:cNvSpPr/>
            <p:nvPr/>
          </p:nvSpPr>
          <p:spPr>
            <a:xfrm>
              <a:off x="108439" y="2585147"/>
              <a:ext cx="1454046" cy="1760878"/>
            </a:xfrm>
            <a:prstGeom prst="rect">
              <a:avLst/>
            </a:prstGeom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>
                <a:solidFill>
                  <a:srgbClr val="000000"/>
                </a:solidFill>
              </a:endParaRPr>
            </a:p>
          </p:txBody>
        </p:sp>
        <p:pic>
          <p:nvPicPr>
            <p:cNvPr id="15" name="Picture 4" descr="D:\Sputnik\3.png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 rot="8382615">
              <a:off x="4062081" y="182961"/>
              <a:ext cx="1254661" cy="1554355"/>
            </a:xfrm>
            <a:prstGeom prst="rect">
              <a:avLst/>
            </a:prstGeom>
            <a:noFill/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extLst/>
          </p:spPr>
        </p:pic>
        <p:pic>
          <p:nvPicPr>
            <p:cNvPr id="16" name="Picture 5" descr="D:\Sputnik\4.png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 flipH="1">
              <a:off x="366180" y="2677540"/>
              <a:ext cx="452260" cy="733697"/>
            </a:xfrm>
            <a:prstGeom prst="rect">
              <a:avLst/>
            </a:prstGeom>
            <a:noFill/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extLst/>
          </p:spPr>
        </p:pic>
        <p:grpSp>
          <p:nvGrpSpPr>
            <p:cNvPr id="17" name="Группа 3"/>
            <p:cNvGrpSpPr>
              <a:grpSpLocks/>
            </p:cNvGrpSpPr>
            <p:nvPr/>
          </p:nvGrpSpPr>
          <p:grpSpPr bwMode="auto">
            <a:xfrm>
              <a:off x="-107807" y="5899664"/>
              <a:ext cx="9432335" cy="409656"/>
              <a:chOff x="-142678" y="5298977"/>
              <a:chExt cx="9972663" cy="279429"/>
            </a:xfrm>
          </p:grpSpPr>
          <p:pic>
            <p:nvPicPr>
              <p:cNvPr id="52" name="Picture 3" descr="C:\Users\KimEA\Documents\TEMP\ж.д\84399607.png"/>
              <p:cNvPicPr>
                <a:picLocks noChangeAspect="1" noChangeArrowheads="1"/>
              </p:cNvPicPr>
              <p:nvPr/>
            </p:nvPicPr>
            <p:blipFill>
              <a:blip r:embed="rId4"/>
              <a:srcRect/>
              <a:stretch>
                <a:fillRect/>
              </a:stretch>
            </p:blipFill>
            <p:spPr bwMode="auto">
              <a:xfrm>
                <a:off x="-142678" y="5298977"/>
                <a:ext cx="693991" cy="27942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53" name="Picture 3" descr="C:\Users\KimEA\Documents\TEMP\ж.д\84399607.png"/>
              <p:cNvPicPr>
                <a:picLocks noChangeAspect="1" noChangeArrowheads="1"/>
              </p:cNvPicPr>
              <p:nvPr/>
            </p:nvPicPr>
            <p:blipFill>
              <a:blip r:embed="rId4"/>
              <a:srcRect/>
              <a:stretch>
                <a:fillRect/>
              </a:stretch>
            </p:blipFill>
            <p:spPr bwMode="auto">
              <a:xfrm>
                <a:off x="473768" y="5298977"/>
                <a:ext cx="693991" cy="27942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54" name="Picture 3" descr="C:\Users\KimEA\Documents\TEMP\ж.д\84399607.png"/>
              <p:cNvPicPr>
                <a:picLocks noChangeAspect="1" noChangeArrowheads="1"/>
              </p:cNvPicPr>
              <p:nvPr/>
            </p:nvPicPr>
            <p:blipFill>
              <a:blip r:embed="rId4"/>
              <a:srcRect/>
              <a:stretch>
                <a:fillRect/>
              </a:stretch>
            </p:blipFill>
            <p:spPr bwMode="auto">
              <a:xfrm>
                <a:off x="1089890" y="5298977"/>
                <a:ext cx="693991" cy="27942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55" name="Picture 3" descr="C:\Users\KimEA\Documents\TEMP\ж.д\84399607.png"/>
              <p:cNvPicPr>
                <a:picLocks noChangeAspect="1" noChangeArrowheads="1"/>
              </p:cNvPicPr>
              <p:nvPr/>
            </p:nvPicPr>
            <p:blipFill>
              <a:blip r:embed="rId4"/>
              <a:srcRect/>
              <a:stretch>
                <a:fillRect/>
              </a:stretch>
            </p:blipFill>
            <p:spPr bwMode="auto">
              <a:xfrm>
                <a:off x="1706336" y="5298977"/>
                <a:ext cx="693991" cy="27942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56" name="Picture 3" descr="C:\Users\KimEA\Documents\TEMP\ж.д\84399607.png"/>
              <p:cNvPicPr>
                <a:picLocks noChangeAspect="1" noChangeArrowheads="1"/>
              </p:cNvPicPr>
              <p:nvPr/>
            </p:nvPicPr>
            <p:blipFill>
              <a:blip r:embed="rId4"/>
              <a:srcRect/>
              <a:stretch>
                <a:fillRect/>
              </a:stretch>
            </p:blipFill>
            <p:spPr bwMode="auto">
              <a:xfrm>
                <a:off x="2333524" y="5298977"/>
                <a:ext cx="693991" cy="27942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57" name="Picture 3" descr="C:\Users\KimEA\Documents\TEMP\ж.д\84399607.png"/>
              <p:cNvPicPr>
                <a:picLocks noChangeAspect="1" noChangeArrowheads="1"/>
              </p:cNvPicPr>
              <p:nvPr/>
            </p:nvPicPr>
            <p:blipFill>
              <a:blip r:embed="rId4"/>
              <a:srcRect/>
              <a:stretch>
                <a:fillRect/>
              </a:stretch>
            </p:blipFill>
            <p:spPr bwMode="auto">
              <a:xfrm>
                <a:off x="2949970" y="5298977"/>
                <a:ext cx="693991" cy="27942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58" name="Picture 3" descr="C:\Users\KimEA\Documents\TEMP\ж.д\84399607.png"/>
              <p:cNvPicPr>
                <a:picLocks noChangeAspect="1" noChangeArrowheads="1"/>
              </p:cNvPicPr>
              <p:nvPr/>
            </p:nvPicPr>
            <p:blipFill>
              <a:blip r:embed="rId4"/>
              <a:srcRect/>
              <a:stretch>
                <a:fillRect/>
              </a:stretch>
            </p:blipFill>
            <p:spPr bwMode="auto">
              <a:xfrm>
                <a:off x="3566092" y="5298977"/>
                <a:ext cx="693991" cy="27942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59" name="Picture 3" descr="C:\Users\KimEA\Documents\TEMP\ж.д\84399607.png"/>
              <p:cNvPicPr>
                <a:picLocks noChangeAspect="1" noChangeArrowheads="1"/>
              </p:cNvPicPr>
              <p:nvPr/>
            </p:nvPicPr>
            <p:blipFill>
              <a:blip r:embed="rId4"/>
              <a:srcRect/>
              <a:stretch>
                <a:fillRect/>
              </a:stretch>
            </p:blipFill>
            <p:spPr bwMode="auto">
              <a:xfrm>
                <a:off x="4182538" y="5298977"/>
                <a:ext cx="693991" cy="27942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60" name="Picture 3" descr="C:\Users\KimEA\Documents\TEMP\ж.д\84399607.png"/>
              <p:cNvPicPr>
                <a:picLocks noChangeAspect="1" noChangeArrowheads="1"/>
              </p:cNvPicPr>
              <p:nvPr/>
            </p:nvPicPr>
            <p:blipFill>
              <a:blip r:embed="rId4"/>
              <a:srcRect/>
              <a:stretch>
                <a:fillRect/>
              </a:stretch>
            </p:blipFill>
            <p:spPr bwMode="auto">
              <a:xfrm>
                <a:off x="4810778" y="5298977"/>
                <a:ext cx="693991" cy="27942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61" name="Picture 3" descr="C:\Users\KimEA\Documents\TEMP\ж.д\84399607.png"/>
              <p:cNvPicPr>
                <a:picLocks noChangeAspect="1" noChangeArrowheads="1"/>
              </p:cNvPicPr>
              <p:nvPr/>
            </p:nvPicPr>
            <p:blipFill>
              <a:blip r:embed="rId4"/>
              <a:srcRect/>
              <a:stretch>
                <a:fillRect/>
              </a:stretch>
            </p:blipFill>
            <p:spPr bwMode="auto">
              <a:xfrm>
                <a:off x="5427224" y="5298977"/>
                <a:ext cx="693991" cy="27942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62" name="Picture 3" descr="C:\Users\KimEA\Documents\TEMP\ж.д\84399607.png"/>
              <p:cNvPicPr>
                <a:picLocks noChangeAspect="1" noChangeArrowheads="1"/>
              </p:cNvPicPr>
              <p:nvPr/>
            </p:nvPicPr>
            <p:blipFill>
              <a:blip r:embed="rId4"/>
              <a:srcRect/>
              <a:stretch>
                <a:fillRect/>
              </a:stretch>
            </p:blipFill>
            <p:spPr bwMode="auto">
              <a:xfrm>
                <a:off x="6043346" y="5298977"/>
                <a:ext cx="693991" cy="27942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63" name="Picture 3" descr="C:\Users\KimEA\Documents\TEMP\ж.д\84399607.png"/>
              <p:cNvPicPr>
                <a:picLocks noChangeAspect="1" noChangeArrowheads="1"/>
              </p:cNvPicPr>
              <p:nvPr/>
            </p:nvPicPr>
            <p:blipFill>
              <a:blip r:embed="rId4"/>
              <a:srcRect/>
              <a:stretch>
                <a:fillRect/>
              </a:stretch>
            </p:blipFill>
            <p:spPr bwMode="auto">
              <a:xfrm>
                <a:off x="6659792" y="5298977"/>
                <a:ext cx="693991" cy="27942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64" name="Picture 3" descr="C:\Users\KimEA\Documents\TEMP\ж.д\84399607.png"/>
              <p:cNvPicPr>
                <a:picLocks noChangeAspect="1" noChangeArrowheads="1"/>
              </p:cNvPicPr>
              <p:nvPr/>
            </p:nvPicPr>
            <p:blipFill>
              <a:blip r:embed="rId4"/>
              <a:srcRect/>
              <a:stretch>
                <a:fillRect/>
              </a:stretch>
            </p:blipFill>
            <p:spPr bwMode="auto">
              <a:xfrm>
                <a:off x="7286980" y="5298977"/>
                <a:ext cx="693991" cy="27942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65" name="Picture 3" descr="C:\Users\KimEA\Documents\TEMP\ж.д\84399607.png"/>
              <p:cNvPicPr>
                <a:picLocks noChangeAspect="1" noChangeArrowheads="1"/>
              </p:cNvPicPr>
              <p:nvPr/>
            </p:nvPicPr>
            <p:blipFill>
              <a:blip r:embed="rId4"/>
              <a:srcRect/>
              <a:stretch>
                <a:fillRect/>
              </a:stretch>
            </p:blipFill>
            <p:spPr bwMode="auto">
              <a:xfrm>
                <a:off x="7903426" y="5298977"/>
                <a:ext cx="693991" cy="27942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66" name="Picture 3" descr="C:\Users\KimEA\Documents\TEMP\ж.д\84399607.png"/>
              <p:cNvPicPr>
                <a:picLocks noChangeAspect="1" noChangeArrowheads="1"/>
              </p:cNvPicPr>
              <p:nvPr/>
            </p:nvPicPr>
            <p:blipFill>
              <a:blip r:embed="rId4"/>
              <a:srcRect/>
              <a:stretch>
                <a:fillRect/>
              </a:stretch>
            </p:blipFill>
            <p:spPr bwMode="auto">
              <a:xfrm>
                <a:off x="8519548" y="5298977"/>
                <a:ext cx="693991" cy="27942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67" name="Picture 3" descr="C:\Users\KimEA\Documents\TEMP\ж.д\84399607.png"/>
              <p:cNvPicPr>
                <a:picLocks noChangeAspect="1" noChangeArrowheads="1"/>
              </p:cNvPicPr>
              <p:nvPr/>
            </p:nvPicPr>
            <p:blipFill>
              <a:blip r:embed="rId4"/>
              <a:srcRect/>
              <a:stretch>
                <a:fillRect/>
              </a:stretch>
            </p:blipFill>
            <p:spPr bwMode="auto">
              <a:xfrm>
                <a:off x="9135994" y="5298977"/>
                <a:ext cx="693991" cy="27942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pic>
          <p:nvPicPr>
            <p:cNvPr id="18" name="Picture 14"/>
            <p:cNvPicPr>
              <a:picLocks noChangeAspect="1" noChangeArrowheads="1"/>
            </p:cNvPicPr>
            <p:nvPr/>
          </p:nvPicPr>
          <p:blipFill>
            <a:blip r:embed="rId5"/>
            <a:srcRect/>
            <a:stretch>
              <a:fillRect/>
            </a:stretch>
          </p:blipFill>
          <p:spPr bwMode="auto">
            <a:xfrm>
              <a:off x="5938241" y="5578500"/>
              <a:ext cx="2568468" cy="602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9" name="Picture 5" descr="D:\IE.VC.Comp.Net.Sec\png\plain\laptop.png"/>
            <p:cNvPicPr>
              <a:picLocks noChangeAspect="1" noChangeArrowheads="1"/>
            </p:cNvPicPr>
            <p:nvPr/>
          </p:nvPicPr>
          <p:blipFill>
            <a:blip r:embed="rId6"/>
            <a:srcRect/>
            <a:stretch>
              <a:fillRect/>
            </a:stretch>
          </p:blipFill>
          <p:spPr bwMode="auto">
            <a:xfrm flipH="1">
              <a:off x="7626678" y="1835143"/>
              <a:ext cx="530071" cy="500002"/>
            </a:xfrm>
            <a:prstGeom prst="rect">
              <a:avLst/>
            </a:prstGeom>
            <a:noFill/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extLst/>
          </p:spPr>
        </p:pic>
        <p:pic>
          <p:nvPicPr>
            <p:cNvPr id="20" name="Picture 6" descr="D:\IE.VC.Comp.Net.Sec\png\plain\laptop2.png"/>
            <p:cNvPicPr>
              <a:picLocks noChangeAspect="1" noChangeArrowheads="1"/>
            </p:cNvPicPr>
            <p:nvPr/>
          </p:nvPicPr>
          <p:blipFill>
            <a:blip r:embed="rId7"/>
            <a:srcRect/>
            <a:stretch>
              <a:fillRect/>
            </a:stretch>
          </p:blipFill>
          <p:spPr bwMode="auto">
            <a:xfrm>
              <a:off x="915701" y="3704718"/>
              <a:ext cx="549524" cy="554350"/>
            </a:xfrm>
            <a:prstGeom prst="rect">
              <a:avLst/>
            </a:prstGeom>
            <a:noFill/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extLst/>
          </p:spPr>
        </p:pic>
        <p:grpSp>
          <p:nvGrpSpPr>
            <p:cNvPr id="21" name="Группа 116"/>
            <p:cNvGrpSpPr>
              <a:grpSpLocks/>
            </p:cNvGrpSpPr>
            <p:nvPr/>
          </p:nvGrpSpPr>
          <p:grpSpPr bwMode="auto">
            <a:xfrm>
              <a:off x="2885541" y="4123515"/>
              <a:ext cx="2294598" cy="1436827"/>
              <a:chOff x="3662804" y="3876841"/>
              <a:chExt cx="1781712" cy="1115669"/>
            </a:xfrm>
          </p:grpSpPr>
          <p:pic>
            <p:nvPicPr>
              <p:cNvPr id="50" name="Picture 8" descr="D:\Sputnik\robber.png"/>
              <p:cNvPicPr>
                <a:picLocks noChangeAspect="1" noChangeArrowheads="1"/>
              </p:cNvPicPr>
              <p:nvPr/>
            </p:nvPicPr>
            <p:blipFill>
              <a:blip r:embed="rId8"/>
              <a:srcRect/>
              <a:stretch>
                <a:fillRect/>
              </a:stretch>
            </p:blipFill>
            <p:spPr bwMode="auto">
              <a:xfrm>
                <a:off x="4867715" y="4205963"/>
                <a:ext cx="576801" cy="78654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51" name="Picture 11" descr="D:\Sputnik\Untitled-1.png"/>
              <p:cNvPicPr>
                <a:picLocks noChangeAspect="1" noChangeArrowheads="1"/>
              </p:cNvPicPr>
              <p:nvPr/>
            </p:nvPicPr>
            <p:blipFill>
              <a:blip r:embed="rId9"/>
              <a:srcRect/>
              <a:stretch>
                <a:fillRect/>
              </a:stretch>
            </p:blipFill>
            <p:spPr bwMode="auto">
              <a:xfrm>
                <a:off x="3662804" y="3876841"/>
                <a:ext cx="1092200" cy="10414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cxnSp>
          <p:nvCxnSpPr>
            <p:cNvPr id="22" name="Прямая соединительная линия 21"/>
            <p:cNvCxnSpPr/>
            <p:nvPr/>
          </p:nvCxnSpPr>
          <p:spPr>
            <a:xfrm>
              <a:off x="4810987" y="5297118"/>
              <a:ext cx="0" cy="358697"/>
            </a:xfrm>
            <a:prstGeom prst="line">
              <a:avLst/>
            </a:prstGeom>
            <a:ln>
              <a:solidFill>
                <a:srgbClr val="00B050"/>
              </a:solidFill>
              <a:headEnd type="oval" w="med" len="med"/>
              <a:tailEnd type="oval" w="med" len="med"/>
            </a:ln>
            <a:effectLst/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</p:cxnSp>
        <p:cxnSp>
          <p:nvCxnSpPr>
            <p:cNvPr id="23" name="Прямая соединительная линия 22"/>
            <p:cNvCxnSpPr/>
            <p:nvPr/>
          </p:nvCxnSpPr>
          <p:spPr>
            <a:xfrm flipH="1" flipV="1">
              <a:off x="4640779" y="1231881"/>
              <a:ext cx="170207" cy="4065237"/>
            </a:xfrm>
            <a:prstGeom prst="line">
              <a:avLst/>
            </a:prstGeom>
            <a:ln w="12700">
              <a:solidFill>
                <a:srgbClr val="00B05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Прямая соединительная линия 23"/>
            <p:cNvCxnSpPr/>
            <p:nvPr/>
          </p:nvCxnSpPr>
          <p:spPr>
            <a:xfrm flipH="1">
              <a:off x="915701" y="1231881"/>
              <a:ext cx="3661861" cy="1445659"/>
            </a:xfrm>
            <a:prstGeom prst="line">
              <a:avLst/>
            </a:prstGeom>
            <a:ln w="12700">
              <a:solidFill>
                <a:srgbClr val="00B05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Прямая соединительная линия 24"/>
            <p:cNvCxnSpPr/>
            <p:nvPr/>
          </p:nvCxnSpPr>
          <p:spPr>
            <a:xfrm flipV="1">
              <a:off x="478029" y="1231881"/>
              <a:ext cx="4162751" cy="4000019"/>
            </a:xfrm>
            <a:prstGeom prst="line">
              <a:avLst/>
            </a:prstGeom>
            <a:ln w="12700">
              <a:solidFill>
                <a:srgbClr val="00B05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Прямая соединительная линия 25"/>
            <p:cNvCxnSpPr/>
            <p:nvPr/>
          </p:nvCxnSpPr>
          <p:spPr>
            <a:xfrm flipH="1" flipV="1">
              <a:off x="4752630" y="1248184"/>
              <a:ext cx="170204" cy="3994586"/>
            </a:xfrm>
            <a:prstGeom prst="line">
              <a:avLst/>
            </a:prstGeom>
            <a:ln w="12700">
              <a:solidFill>
                <a:srgbClr val="FF000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Прямая соединительная линия 26"/>
            <p:cNvCxnSpPr/>
            <p:nvPr/>
          </p:nvCxnSpPr>
          <p:spPr>
            <a:xfrm flipH="1">
              <a:off x="896249" y="1324271"/>
              <a:ext cx="3661861" cy="1445659"/>
            </a:xfrm>
            <a:prstGeom prst="line">
              <a:avLst/>
            </a:prstGeom>
            <a:ln w="12700">
              <a:solidFill>
                <a:srgbClr val="FF000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Прямая соединительная линия 27"/>
            <p:cNvCxnSpPr>
              <a:endCxn id="13" idx="1"/>
            </p:cNvCxnSpPr>
            <p:nvPr/>
          </p:nvCxnSpPr>
          <p:spPr>
            <a:xfrm flipV="1">
              <a:off x="1387416" y="2014494"/>
              <a:ext cx="6039879" cy="2108706"/>
            </a:xfrm>
            <a:prstGeom prst="line">
              <a:avLst/>
            </a:prstGeom>
            <a:ln w="12700">
              <a:solidFill>
                <a:srgbClr val="FF000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9" name="Picture 11" descr="D:\Sputnik\Untitled-1.png"/>
            <p:cNvPicPr>
              <a:picLocks noChangeAspect="1" noChangeArrowheads="1"/>
            </p:cNvPicPr>
            <p:nvPr/>
          </p:nvPicPr>
          <p:blipFill>
            <a:blip r:embed="rId9"/>
            <a:srcRect/>
            <a:stretch>
              <a:fillRect/>
            </a:stretch>
          </p:blipFill>
          <p:spPr bwMode="auto">
            <a:xfrm flipH="1">
              <a:off x="5233656" y="4153116"/>
              <a:ext cx="1406602" cy="1341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0" name="Picture 3" descr="G:\Графика\operator1.png"/>
            <p:cNvPicPr>
              <a:picLocks noChangeAspect="1" noChangeArrowheads="1"/>
            </p:cNvPicPr>
            <p:nvPr/>
          </p:nvPicPr>
          <p:blipFill>
            <a:blip r:embed="rId10"/>
            <a:srcRect/>
            <a:stretch>
              <a:fillRect/>
            </a:stretch>
          </p:blipFill>
          <p:spPr bwMode="auto">
            <a:xfrm>
              <a:off x="283507" y="3552543"/>
              <a:ext cx="530071" cy="722831"/>
            </a:xfrm>
            <a:prstGeom prst="rect">
              <a:avLst/>
            </a:prstGeom>
            <a:noFill/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extLst/>
          </p:spPr>
        </p:pic>
        <p:pic>
          <p:nvPicPr>
            <p:cNvPr id="31" name="Picture 3" descr="G:\Графика\operator1.png"/>
            <p:cNvPicPr>
              <a:picLocks noChangeAspect="1" noChangeArrowheads="1"/>
            </p:cNvPicPr>
            <p:nvPr/>
          </p:nvPicPr>
          <p:blipFill>
            <a:blip r:embed="rId11"/>
            <a:srcRect/>
            <a:stretch>
              <a:fillRect/>
            </a:stretch>
          </p:blipFill>
          <p:spPr bwMode="auto">
            <a:xfrm>
              <a:off x="8258871" y="1710144"/>
              <a:ext cx="461989" cy="625001"/>
            </a:xfrm>
            <a:prstGeom prst="rect">
              <a:avLst/>
            </a:prstGeom>
            <a:noFill/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extLst/>
          </p:spPr>
        </p:pic>
        <p:sp>
          <p:nvSpPr>
            <p:cNvPr id="32" name="Прямоугольник 31"/>
            <p:cNvSpPr/>
            <p:nvPr/>
          </p:nvSpPr>
          <p:spPr>
            <a:xfrm>
              <a:off x="7899007" y="3476456"/>
              <a:ext cx="1026100" cy="1119571"/>
            </a:xfrm>
            <a:prstGeom prst="rect">
              <a:avLst/>
            </a:prstGeom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>
                <a:solidFill>
                  <a:srgbClr val="000000"/>
                </a:solidFill>
              </a:endParaRPr>
            </a:p>
          </p:txBody>
        </p:sp>
        <p:pic>
          <p:nvPicPr>
            <p:cNvPr id="33" name="Picture 2" descr="G:\Графика\Иконки\IE.VC_Objec.Peop.Indust\hospital.png"/>
            <p:cNvPicPr>
              <a:picLocks noChangeAspect="1" noChangeArrowheads="1"/>
            </p:cNvPicPr>
            <p:nvPr/>
          </p:nvPicPr>
          <p:blipFill>
            <a:blip r:embed="rId12"/>
            <a:srcRect/>
            <a:stretch>
              <a:fillRect/>
            </a:stretch>
          </p:blipFill>
          <p:spPr bwMode="auto">
            <a:xfrm>
              <a:off x="7972783" y="3690014"/>
              <a:ext cx="896377" cy="8963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4" name="Picture 11" descr="D:\IE.VC.Comp.Net.Sec\png\plain\policeman_usa.png"/>
            <p:cNvPicPr>
              <a:picLocks noChangeAspect="1" noChangeArrowheads="1"/>
            </p:cNvPicPr>
            <p:nvPr/>
          </p:nvPicPr>
          <p:blipFill>
            <a:blip r:embed="rId13"/>
            <a:srcRect/>
            <a:stretch>
              <a:fillRect/>
            </a:stretch>
          </p:blipFill>
          <p:spPr bwMode="auto">
            <a:xfrm>
              <a:off x="8078941" y="3585152"/>
              <a:ext cx="554385" cy="554350"/>
            </a:xfrm>
            <a:prstGeom prst="rect">
              <a:avLst/>
            </a:prstGeom>
            <a:noFill/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extLst/>
          </p:spPr>
        </p:pic>
        <p:cxnSp>
          <p:nvCxnSpPr>
            <p:cNvPr id="35" name="Прямая соединительная линия 34"/>
            <p:cNvCxnSpPr/>
            <p:nvPr/>
          </p:nvCxnSpPr>
          <p:spPr>
            <a:xfrm>
              <a:off x="8506887" y="2454712"/>
              <a:ext cx="0" cy="1016311"/>
            </a:xfrm>
            <a:prstGeom prst="line">
              <a:avLst/>
            </a:prstGeom>
            <a:ln w="12700">
              <a:solidFill>
                <a:srgbClr val="FF000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6" name="Picture 2" descr="G:\Презентации\container-vagon.png"/>
            <p:cNvPicPr>
              <a:picLocks noChangeAspect="1" noChangeArrowheads="1"/>
            </p:cNvPicPr>
            <p:nvPr/>
          </p:nvPicPr>
          <p:blipFill>
            <a:blip r:embed="rId14"/>
            <a:srcRect/>
            <a:stretch>
              <a:fillRect/>
            </a:stretch>
          </p:blipFill>
          <p:spPr bwMode="auto">
            <a:xfrm>
              <a:off x="3710326" y="5611803"/>
              <a:ext cx="2226631" cy="6130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7" name="Picture 2" descr="G:\Презентации\container-vagon.png"/>
            <p:cNvPicPr>
              <a:picLocks noChangeAspect="1" noChangeArrowheads="1"/>
            </p:cNvPicPr>
            <p:nvPr/>
          </p:nvPicPr>
          <p:blipFill>
            <a:blip r:embed="rId14"/>
            <a:srcRect/>
            <a:stretch>
              <a:fillRect/>
            </a:stretch>
          </p:blipFill>
          <p:spPr bwMode="auto">
            <a:xfrm>
              <a:off x="1501582" y="5611803"/>
              <a:ext cx="2226631" cy="6130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8" name="Picture 2" descr="G:\Презентации\container-vagon.png"/>
            <p:cNvPicPr>
              <a:picLocks noChangeAspect="1" noChangeArrowheads="1"/>
            </p:cNvPicPr>
            <p:nvPr/>
          </p:nvPicPr>
          <p:blipFill>
            <a:blip r:embed="rId14"/>
            <a:srcRect/>
            <a:stretch>
              <a:fillRect/>
            </a:stretch>
          </p:blipFill>
          <p:spPr bwMode="auto">
            <a:xfrm>
              <a:off x="-725049" y="5611803"/>
              <a:ext cx="2226631" cy="6130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39" name="Группа 203"/>
            <p:cNvGrpSpPr>
              <a:grpSpLocks/>
            </p:cNvGrpSpPr>
            <p:nvPr/>
          </p:nvGrpSpPr>
          <p:grpSpPr bwMode="auto">
            <a:xfrm>
              <a:off x="275307" y="5323073"/>
              <a:ext cx="263651" cy="538178"/>
              <a:chOff x="3059832" y="2080821"/>
              <a:chExt cx="519363" cy="1060147"/>
            </a:xfrm>
          </p:grpSpPr>
          <p:sp>
            <p:nvSpPr>
              <p:cNvPr id="48" name="Прямоугольник 47"/>
              <p:cNvSpPr/>
              <p:nvPr/>
            </p:nvSpPr>
            <p:spPr>
              <a:xfrm>
                <a:off x="3152623" y="2522168"/>
                <a:ext cx="431086" cy="620944"/>
              </a:xfrm>
              <a:prstGeom prst="rect">
                <a:avLst/>
              </a:prstGeom>
              <a:solidFill>
                <a:srgbClr val="00B050"/>
              </a:solidFill>
              <a:ln>
                <a:noFill/>
              </a:ln>
              <a:effectLst/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>
                  <a:solidFill>
                    <a:srgbClr val="FFFFFF"/>
                  </a:solidFill>
                </a:endParaRPr>
              </a:p>
            </p:txBody>
          </p:sp>
          <p:cxnSp>
            <p:nvCxnSpPr>
              <p:cNvPr id="49" name="Прямая соединительная линия 48"/>
              <p:cNvCxnSpPr/>
              <p:nvPr/>
            </p:nvCxnSpPr>
            <p:spPr>
              <a:xfrm>
                <a:off x="3430435" y="2083222"/>
                <a:ext cx="0" cy="706592"/>
              </a:xfrm>
              <a:prstGeom prst="line">
                <a:avLst/>
              </a:prstGeom>
              <a:ln>
                <a:solidFill>
                  <a:srgbClr val="00B050"/>
                </a:solidFill>
                <a:headEnd type="oval" w="med" len="med"/>
                <a:tailEnd type="oval" w="med" len="med"/>
              </a:ln>
              <a:effectLst/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</p:cxnSp>
        </p:grpSp>
        <p:grpSp>
          <p:nvGrpSpPr>
            <p:cNvPr id="40" name="Группа 204"/>
            <p:cNvGrpSpPr>
              <a:grpSpLocks/>
            </p:cNvGrpSpPr>
            <p:nvPr/>
          </p:nvGrpSpPr>
          <p:grpSpPr bwMode="auto">
            <a:xfrm>
              <a:off x="2484482" y="5286949"/>
              <a:ext cx="263651" cy="576678"/>
              <a:chOff x="3059832" y="2004981"/>
              <a:chExt cx="519363" cy="1135987"/>
            </a:xfrm>
          </p:grpSpPr>
          <p:sp>
            <p:nvSpPr>
              <p:cNvPr id="46" name="Прямоугольник 45"/>
              <p:cNvSpPr/>
              <p:nvPr/>
            </p:nvSpPr>
            <p:spPr>
              <a:xfrm>
                <a:off x="3063730" y="2517482"/>
                <a:ext cx="517299" cy="620943"/>
              </a:xfrm>
              <a:prstGeom prst="rect">
                <a:avLst/>
              </a:prstGeom>
              <a:solidFill>
                <a:srgbClr val="00B050"/>
              </a:solidFill>
              <a:ln>
                <a:noFill/>
              </a:ln>
              <a:effectLst/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>
                  <a:solidFill>
                    <a:srgbClr val="FFFFFF"/>
                  </a:solidFill>
                </a:endParaRPr>
              </a:p>
            </p:txBody>
          </p:sp>
          <p:cxnSp>
            <p:nvCxnSpPr>
              <p:cNvPr id="47" name="Прямая соединительная линия 46"/>
              <p:cNvCxnSpPr/>
              <p:nvPr/>
            </p:nvCxnSpPr>
            <p:spPr>
              <a:xfrm>
                <a:off x="3284058" y="2003599"/>
                <a:ext cx="0" cy="706590"/>
              </a:xfrm>
              <a:prstGeom prst="line">
                <a:avLst/>
              </a:prstGeom>
              <a:ln>
                <a:solidFill>
                  <a:srgbClr val="00B050"/>
                </a:solidFill>
                <a:headEnd type="oval" w="med" len="med"/>
                <a:tailEnd type="oval" w="med" len="med"/>
              </a:ln>
              <a:effectLst/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</p:cxnSp>
        </p:grpSp>
        <p:cxnSp>
          <p:nvCxnSpPr>
            <p:cNvPr id="41" name="Прямая соединительная линия 40"/>
            <p:cNvCxnSpPr/>
            <p:nvPr/>
          </p:nvCxnSpPr>
          <p:spPr>
            <a:xfrm flipV="1">
              <a:off x="2617760" y="1384056"/>
              <a:ext cx="1964663" cy="3847845"/>
            </a:xfrm>
            <a:prstGeom prst="line">
              <a:avLst/>
            </a:prstGeom>
            <a:ln w="12700">
              <a:solidFill>
                <a:srgbClr val="00B05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2" name="Прямоугольник 41"/>
            <p:cNvSpPr/>
            <p:nvPr/>
          </p:nvSpPr>
          <p:spPr>
            <a:xfrm>
              <a:off x="4694274" y="5536250"/>
              <a:ext cx="262603" cy="315219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ffectLst/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srgbClr val="FFFFFF"/>
                </a:solidFill>
              </a:endParaRPr>
            </a:p>
          </p:txBody>
        </p:sp>
        <p:cxnSp>
          <p:nvCxnSpPr>
            <p:cNvPr id="43" name="Прямая соединительная линия 42"/>
            <p:cNvCxnSpPr/>
            <p:nvPr/>
          </p:nvCxnSpPr>
          <p:spPr>
            <a:xfrm>
              <a:off x="4815848" y="5286249"/>
              <a:ext cx="0" cy="358697"/>
            </a:xfrm>
            <a:prstGeom prst="line">
              <a:avLst/>
            </a:prstGeom>
            <a:ln>
              <a:solidFill>
                <a:srgbClr val="FF0000"/>
              </a:solidFill>
              <a:headEnd type="oval" w="med" len="med"/>
              <a:tailEnd type="oval" w="med" len="med"/>
            </a:ln>
            <a:effectLst/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</p:cxnSp>
        <p:sp>
          <p:nvSpPr>
            <p:cNvPr id="44" name="Овал 43"/>
            <p:cNvSpPr/>
            <p:nvPr/>
          </p:nvSpPr>
          <p:spPr>
            <a:xfrm>
              <a:off x="4383040" y="5873208"/>
              <a:ext cx="865619" cy="864133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571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srgbClr val="FFFFFF"/>
                </a:solidFill>
              </a:endParaRPr>
            </a:p>
          </p:txBody>
        </p:sp>
        <p:pic>
          <p:nvPicPr>
            <p:cNvPr id="45" name="Picture 12" descr="D:\IE.VC.Comp.Net.Sec\png\plain\robber.png"/>
            <p:cNvPicPr>
              <a:picLocks noChangeAspect="1" noChangeArrowheads="1"/>
            </p:cNvPicPr>
            <p:nvPr/>
          </p:nvPicPr>
          <p:blipFill>
            <a:blip r:embed="rId15"/>
            <a:srcRect/>
            <a:stretch>
              <a:fillRect/>
            </a:stretch>
          </p:blipFill>
          <p:spPr bwMode="auto">
            <a:xfrm>
              <a:off x="4568583" y="5998569"/>
              <a:ext cx="604084" cy="60408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69" name="Text Box 13"/>
          <p:cNvSpPr txBox="1">
            <a:spLocks noChangeArrowheads="1"/>
          </p:cNvSpPr>
          <p:nvPr/>
        </p:nvSpPr>
        <p:spPr bwMode="auto">
          <a:xfrm>
            <a:off x="395288" y="152544"/>
            <a:ext cx="8353176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altLang="ru-RU" sz="1600" dirty="0">
                <a:solidFill>
                  <a:schemeClr val="bg1"/>
                </a:solidFill>
                <a:latin typeface="Calibri" pitchFamily="34" charset="0"/>
              </a:rPr>
              <a:t>The Trans-Siberian Route: ways to increase competitiveness of railway freight transportation</a:t>
            </a:r>
            <a:endParaRPr lang="en-US" altLang="ru-RU" sz="1600" dirty="0">
              <a:solidFill>
                <a:schemeClr val="bg1"/>
              </a:solidFill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1" name="Oval 3"/>
          <p:cNvSpPr>
            <a:spLocks noChangeArrowheads="1"/>
          </p:cNvSpPr>
          <p:nvPr/>
        </p:nvSpPr>
        <p:spPr bwMode="auto">
          <a:xfrm>
            <a:off x="752475" y="1127125"/>
            <a:ext cx="7526338" cy="5114925"/>
          </a:xfrm>
          <a:prstGeom prst="ellipse">
            <a:avLst/>
          </a:prstGeom>
          <a:solidFill>
            <a:srgbClr val="FFFF99"/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endParaRPr lang="ru-RU">
              <a:latin typeface="Calibri" pitchFamily="34" charset="0"/>
            </a:endParaRPr>
          </a:p>
        </p:txBody>
      </p:sp>
      <p:grpSp>
        <p:nvGrpSpPr>
          <p:cNvPr id="30722" name="Group 8"/>
          <p:cNvGrpSpPr>
            <a:grpSpLocks/>
          </p:cNvGrpSpPr>
          <p:nvPr/>
        </p:nvGrpSpPr>
        <p:grpSpPr bwMode="auto">
          <a:xfrm>
            <a:off x="2317750" y="3357563"/>
            <a:ext cx="3849688" cy="922338"/>
            <a:chOff x="1422" y="2337"/>
            <a:chExt cx="2425" cy="581"/>
          </a:xfrm>
        </p:grpSpPr>
        <p:sp>
          <p:nvSpPr>
            <p:cNvPr id="30734" name="Oval 9"/>
            <p:cNvSpPr>
              <a:spLocks noChangeArrowheads="1"/>
            </p:cNvSpPr>
            <p:nvPr/>
          </p:nvSpPr>
          <p:spPr bwMode="auto">
            <a:xfrm>
              <a:off x="1422" y="2337"/>
              <a:ext cx="2425" cy="581"/>
            </a:xfrm>
            <a:prstGeom prst="ellipse">
              <a:avLst/>
            </a:prstGeom>
            <a:solidFill>
              <a:schemeClr val="folHlink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ru-RU">
                <a:latin typeface="Calibri" pitchFamily="34" charset="0"/>
              </a:endParaRPr>
            </a:p>
          </p:txBody>
        </p:sp>
        <p:sp>
          <p:nvSpPr>
            <p:cNvPr id="30735" name="Text Box 10"/>
            <p:cNvSpPr txBox="1">
              <a:spLocks noChangeArrowheads="1"/>
            </p:cNvSpPr>
            <p:nvPr/>
          </p:nvSpPr>
          <p:spPr bwMode="auto">
            <a:xfrm>
              <a:off x="1617" y="2428"/>
              <a:ext cx="2125" cy="3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en-US" altLang="ru-RU" sz="1600" b="1" dirty="0">
                  <a:solidFill>
                    <a:schemeClr val="bg1"/>
                  </a:solidFill>
                  <a:latin typeface="Calibri" pitchFamily="34" charset="0"/>
                </a:rPr>
                <a:t>T</a:t>
              </a:r>
              <a:r>
                <a:rPr lang="ru-RU" altLang="ru-RU" sz="1600" b="1" dirty="0">
                  <a:solidFill>
                    <a:schemeClr val="bg1"/>
                  </a:solidFill>
                  <a:latin typeface="Calibri" pitchFamily="34" charset="0"/>
                </a:rPr>
                <a:t>ARGET </a:t>
              </a:r>
              <a:r>
                <a:rPr lang="en-US" altLang="ru-RU" sz="1600" b="1" dirty="0">
                  <a:solidFill>
                    <a:schemeClr val="bg1"/>
                  </a:solidFill>
                  <a:latin typeface="Calibri" pitchFamily="34" charset="0"/>
                </a:rPr>
                <a:t>PRIORITIES </a:t>
              </a:r>
            </a:p>
            <a:p>
              <a:pPr algn="ctr"/>
              <a:r>
                <a:rPr lang="en-US" altLang="ru-RU" sz="1600" b="1" dirty="0">
                  <a:solidFill>
                    <a:schemeClr val="bg1"/>
                  </a:solidFill>
                  <a:latin typeface="Calibri" pitchFamily="34" charset="0"/>
                </a:rPr>
                <a:t>OF A MODERN TRANSPORT PRODUCT</a:t>
              </a:r>
              <a:endParaRPr lang="ru-RU" altLang="ru-RU" sz="1600" b="1" dirty="0">
                <a:solidFill>
                  <a:schemeClr val="bg1"/>
                </a:solidFill>
                <a:latin typeface="Calibri" pitchFamily="34" charset="0"/>
              </a:endParaRPr>
            </a:p>
          </p:txBody>
        </p:sp>
      </p:grpSp>
      <p:sp>
        <p:nvSpPr>
          <p:cNvPr id="30723" name="Oval 11"/>
          <p:cNvSpPr>
            <a:spLocks noChangeArrowheads="1"/>
          </p:cNvSpPr>
          <p:nvPr/>
        </p:nvSpPr>
        <p:spPr bwMode="auto">
          <a:xfrm>
            <a:off x="3324225" y="1444625"/>
            <a:ext cx="1306512" cy="1155700"/>
          </a:xfrm>
          <a:prstGeom prst="ellipse">
            <a:avLst/>
          </a:prstGeom>
          <a:solidFill>
            <a:srgbClr val="996600"/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endParaRPr lang="ru-RU">
              <a:latin typeface="Calibri" pitchFamily="34" charset="0"/>
            </a:endParaRPr>
          </a:p>
        </p:txBody>
      </p:sp>
      <p:sp>
        <p:nvSpPr>
          <p:cNvPr id="30724" name="Text Box 12"/>
          <p:cNvSpPr txBox="1">
            <a:spLocks noChangeArrowheads="1"/>
          </p:cNvSpPr>
          <p:nvPr/>
        </p:nvSpPr>
        <p:spPr bwMode="auto">
          <a:xfrm>
            <a:off x="3425825" y="1677988"/>
            <a:ext cx="1101725" cy="641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altLang="ru-RU" b="1" dirty="0">
                <a:solidFill>
                  <a:schemeClr val="bg1"/>
                </a:solidFill>
                <a:latin typeface="Calibri" pitchFamily="34" charset="0"/>
              </a:rPr>
              <a:t>Service </a:t>
            </a:r>
            <a:br>
              <a:rPr lang="en-US" altLang="ru-RU" b="1" dirty="0">
                <a:solidFill>
                  <a:schemeClr val="bg1"/>
                </a:solidFill>
                <a:latin typeface="Calibri" pitchFamily="34" charset="0"/>
              </a:rPr>
            </a:br>
            <a:r>
              <a:rPr lang="ru-RU" altLang="ru-RU" b="1" dirty="0" err="1">
                <a:solidFill>
                  <a:schemeClr val="bg1"/>
                </a:solidFill>
                <a:latin typeface="Calibri" pitchFamily="34" charset="0"/>
              </a:rPr>
              <a:t>regularity</a:t>
            </a:r>
            <a:endParaRPr lang="ru-RU" altLang="ru-RU" b="1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30725" name="Oval 13"/>
          <p:cNvSpPr>
            <a:spLocks noChangeArrowheads="1"/>
          </p:cNvSpPr>
          <p:nvPr/>
        </p:nvSpPr>
        <p:spPr bwMode="auto">
          <a:xfrm>
            <a:off x="5595145" y="1968500"/>
            <a:ext cx="1306512" cy="1155700"/>
          </a:xfrm>
          <a:prstGeom prst="ellipse">
            <a:avLst/>
          </a:prstGeom>
          <a:solidFill>
            <a:srgbClr val="FFFFFF"/>
          </a:solidFill>
          <a:ln w="9525">
            <a:noFill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endParaRPr lang="ru-RU">
              <a:latin typeface="Calibri" pitchFamily="34" charset="0"/>
            </a:endParaRPr>
          </a:p>
        </p:txBody>
      </p:sp>
      <p:sp>
        <p:nvSpPr>
          <p:cNvPr id="30726" name="Text Box 14"/>
          <p:cNvSpPr txBox="1">
            <a:spLocks noChangeArrowheads="1"/>
          </p:cNvSpPr>
          <p:nvPr/>
        </p:nvSpPr>
        <p:spPr bwMode="auto">
          <a:xfrm>
            <a:off x="5210970" y="2181225"/>
            <a:ext cx="2270125" cy="641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altLang="ru-RU" b="1" dirty="0">
                <a:latin typeface="Calibri" pitchFamily="34" charset="0"/>
              </a:rPr>
              <a:t>Improvement of the </a:t>
            </a:r>
            <a:br>
              <a:rPr lang="en-US" altLang="ru-RU" b="1" dirty="0">
                <a:latin typeface="Calibri" pitchFamily="34" charset="0"/>
              </a:rPr>
            </a:br>
            <a:r>
              <a:rPr lang="en-US" altLang="ru-RU" b="1" dirty="0">
                <a:latin typeface="Calibri" pitchFamily="34" charset="0"/>
              </a:rPr>
              <a:t>regulatory framework</a:t>
            </a:r>
            <a:endParaRPr lang="ru-RU" altLang="ru-RU" b="1" dirty="0">
              <a:latin typeface="Calibri" pitchFamily="34" charset="0"/>
            </a:endParaRPr>
          </a:p>
        </p:txBody>
      </p:sp>
      <p:sp>
        <p:nvSpPr>
          <p:cNvPr id="30727" name="Oval 15"/>
          <p:cNvSpPr>
            <a:spLocks noChangeArrowheads="1"/>
          </p:cNvSpPr>
          <p:nvPr/>
        </p:nvSpPr>
        <p:spPr bwMode="auto">
          <a:xfrm>
            <a:off x="5257800" y="4505325"/>
            <a:ext cx="1909763" cy="954088"/>
          </a:xfrm>
          <a:prstGeom prst="ellipse">
            <a:avLst/>
          </a:prstGeom>
          <a:solidFill>
            <a:srgbClr val="FFCC00"/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endParaRPr lang="ru-RU">
              <a:latin typeface="Calibri" pitchFamily="34" charset="0"/>
            </a:endParaRPr>
          </a:p>
        </p:txBody>
      </p:sp>
      <p:sp>
        <p:nvSpPr>
          <p:cNvPr id="30728" name="Text Box 16"/>
          <p:cNvSpPr txBox="1">
            <a:spLocks noChangeArrowheads="1"/>
          </p:cNvSpPr>
          <p:nvPr/>
        </p:nvSpPr>
        <p:spPr bwMode="auto">
          <a:xfrm>
            <a:off x="5272088" y="4652963"/>
            <a:ext cx="1844675" cy="641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altLang="ru-RU" b="1">
                <a:latin typeface="Calibri" pitchFamily="34" charset="0"/>
              </a:rPr>
              <a:t>Introduction of </a:t>
            </a:r>
            <a:br>
              <a:rPr lang="en-US" altLang="ru-RU" b="1">
                <a:latin typeface="Calibri" pitchFamily="34" charset="0"/>
              </a:rPr>
            </a:br>
            <a:r>
              <a:rPr lang="en-US" altLang="ru-RU" b="1">
                <a:latin typeface="Calibri" pitchFamily="34" charset="0"/>
              </a:rPr>
              <a:t>new technologies</a:t>
            </a:r>
            <a:endParaRPr lang="ru-RU" altLang="ru-RU" b="1">
              <a:latin typeface="Calibri" pitchFamily="34" charset="0"/>
            </a:endParaRPr>
          </a:p>
        </p:txBody>
      </p:sp>
      <p:sp>
        <p:nvSpPr>
          <p:cNvPr id="30729" name="Oval 17"/>
          <p:cNvSpPr>
            <a:spLocks noChangeArrowheads="1"/>
          </p:cNvSpPr>
          <p:nvPr/>
        </p:nvSpPr>
        <p:spPr bwMode="auto">
          <a:xfrm>
            <a:off x="1963738" y="4618038"/>
            <a:ext cx="1909762" cy="954087"/>
          </a:xfrm>
          <a:prstGeom prst="ellipse">
            <a:avLst/>
          </a:prstGeom>
          <a:solidFill>
            <a:srgbClr val="0066FF"/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endParaRPr lang="ru-RU">
              <a:latin typeface="Calibri" pitchFamily="34" charset="0"/>
            </a:endParaRPr>
          </a:p>
        </p:txBody>
      </p:sp>
      <p:sp>
        <p:nvSpPr>
          <p:cNvPr id="30730" name="Text Box 18"/>
          <p:cNvSpPr txBox="1">
            <a:spLocks noChangeArrowheads="1"/>
          </p:cNvSpPr>
          <p:nvPr/>
        </p:nvSpPr>
        <p:spPr bwMode="auto">
          <a:xfrm>
            <a:off x="1930400" y="4800600"/>
            <a:ext cx="2033588" cy="641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altLang="ru-RU" b="1">
                <a:latin typeface="Calibri" pitchFamily="34" charset="0"/>
              </a:rPr>
              <a:t>New infrastructure </a:t>
            </a:r>
            <a:br>
              <a:rPr lang="en-US" altLang="ru-RU" b="1">
                <a:latin typeface="Calibri" pitchFamily="34" charset="0"/>
              </a:rPr>
            </a:br>
            <a:r>
              <a:rPr lang="en-US" altLang="ru-RU" b="1">
                <a:latin typeface="Calibri" pitchFamily="34" charset="0"/>
              </a:rPr>
              <a:t>opportunities</a:t>
            </a:r>
            <a:endParaRPr lang="ru-RU" altLang="ru-RU" b="1">
              <a:latin typeface="Calibri" pitchFamily="34" charset="0"/>
            </a:endParaRPr>
          </a:p>
        </p:txBody>
      </p:sp>
      <p:sp>
        <p:nvSpPr>
          <p:cNvPr id="30731" name="Oval 19"/>
          <p:cNvSpPr>
            <a:spLocks noChangeArrowheads="1"/>
          </p:cNvSpPr>
          <p:nvPr/>
        </p:nvSpPr>
        <p:spPr bwMode="auto">
          <a:xfrm>
            <a:off x="1030288" y="2528888"/>
            <a:ext cx="1909762" cy="954087"/>
          </a:xfrm>
          <a:prstGeom prst="ellipse">
            <a:avLst/>
          </a:prstGeom>
          <a:solidFill>
            <a:srgbClr val="FF5050"/>
          </a:solidFill>
          <a:ln w="9525">
            <a:noFill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endParaRPr lang="ru-RU">
              <a:latin typeface="Calibri" pitchFamily="34" charset="0"/>
            </a:endParaRPr>
          </a:p>
        </p:txBody>
      </p:sp>
      <p:sp>
        <p:nvSpPr>
          <p:cNvPr id="30732" name="Text Box 20"/>
          <p:cNvSpPr txBox="1">
            <a:spLocks noChangeArrowheads="1"/>
          </p:cNvSpPr>
          <p:nvPr/>
        </p:nvSpPr>
        <p:spPr bwMode="auto">
          <a:xfrm>
            <a:off x="1025525" y="2600325"/>
            <a:ext cx="1843088" cy="641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altLang="ru-RU" b="1" dirty="0">
                <a:latin typeface="Calibri" pitchFamily="34" charset="0"/>
              </a:rPr>
              <a:t>Stable and </a:t>
            </a:r>
            <a:br>
              <a:rPr lang="en-US" altLang="ru-RU" b="1" dirty="0">
                <a:latin typeface="Calibri" pitchFamily="34" charset="0"/>
              </a:rPr>
            </a:br>
            <a:r>
              <a:rPr lang="en-US" altLang="ru-RU" b="1" dirty="0">
                <a:latin typeface="Calibri" pitchFamily="34" charset="0"/>
              </a:rPr>
              <a:t>competitive tariff</a:t>
            </a:r>
            <a:endParaRPr lang="ru-RU" altLang="ru-RU" b="1" dirty="0">
              <a:latin typeface="Calibri" pitchFamily="34" charset="0"/>
            </a:endParaRPr>
          </a:p>
        </p:txBody>
      </p:sp>
      <p:sp>
        <p:nvSpPr>
          <p:cNvPr id="18" name="Oval 15"/>
          <p:cNvSpPr>
            <a:spLocks noChangeArrowheads="1"/>
          </p:cNvSpPr>
          <p:nvPr/>
        </p:nvSpPr>
        <p:spPr bwMode="auto">
          <a:xfrm>
            <a:off x="6459538" y="3153613"/>
            <a:ext cx="1273176" cy="811962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noFill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endParaRPr lang="ru-RU">
              <a:latin typeface="Calibri" pitchFamily="34" charset="0"/>
            </a:endParaRPr>
          </a:p>
        </p:txBody>
      </p:sp>
      <p:sp>
        <p:nvSpPr>
          <p:cNvPr id="19" name="Text Box 16"/>
          <p:cNvSpPr txBox="1">
            <a:spLocks noChangeArrowheads="1"/>
          </p:cNvSpPr>
          <p:nvPr/>
        </p:nvSpPr>
        <p:spPr bwMode="auto">
          <a:xfrm>
            <a:off x="6618270" y="3384630"/>
            <a:ext cx="95571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altLang="ru-RU" b="1" dirty="0" smtClean="0">
                <a:latin typeface="Calibri" pitchFamily="34" charset="0"/>
              </a:rPr>
              <a:t>Security</a:t>
            </a:r>
            <a:endParaRPr lang="ru-RU" altLang="ru-RU" b="1" dirty="0">
              <a:latin typeface="Calibri" pitchFamily="34" charset="0"/>
            </a:endParaRPr>
          </a:p>
        </p:txBody>
      </p:sp>
      <p:sp>
        <p:nvSpPr>
          <p:cNvPr id="20" name="Text Box 13"/>
          <p:cNvSpPr txBox="1">
            <a:spLocks noChangeArrowheads="1"/>
          </p:cNvSpPr>
          <p:nvPr/>
        </p:nvSpPr>
        <p:spPr bwMode="auto">
          <a:xfrm>
            <a:off x="395288" y="152544"/>
            <a:ext cx="8353176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altLang="ru-RU" sz="1600" dirty="0">
                <a:solidFill>
                  <a:schemeClr val="bg1"/>
                </a:solidFill>
                <a:latin typeface="Calibri" pitchFamily="34" charset="0"/>
              </a:rPr>
              <a:t>The Trans-Siberian Route: ways to increase competitiveness of railway freight transportation</a:t>
            </a:r>
            <a:endParaRPr lang="en-US" altLang="ru-RU" sz="1600" dirty="0">
              <a:solidFill>
                <a:schemeClr val="bg1"/>
              </a:solidFill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4"/>
          <p:cNvSpPr txBox="1">
            <a:spLocks noChangeArrowheads="1"/>
          </p:cNvSpPr>
          <p:nvPr/>
        </p:nvSpPr>
        <p:spPr bwMode="auto">
          <a:xfrm>
            <a:off x="2478088" y="4398963"/>
            <a:ext cx="3952875" cy="83026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ru-RU" sz="2400" b="1" dirty="0">
                <a:solidFill>
                  <a:srgbClr val="FF0000"/>
                </a:solidFill>
                <a:latin typeface="Calibri" panose="020F0502020204030204" pitchFamily="34" charset="0"/>
              </a:rPr>
              <a:t>Thank you for your attention!</a:t>
            </a:r>
            <a:endParaRPr lang="ru-RU" altLang="ru-RU" sz="2400" b="1" dirty="0">
              <a:solidFill>
                <a:srgbClr val="FF0000"/>
              </a:solidFill>
              <a:latin typeface="Calibri" panose="020F0502020204030204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2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rPr>
              <a:t>Спасибо за внимание</a:t>
            </a:r>
          </a:p>
        </p:txBody>
      </p:sp>
      <p:pic>
        <p:nvPicPr>
          <p:cNvPr id="31747" name="Picture 10" descr="rowing_comp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357313" y="1085850"/>
            <a:ext cx="6291262" cy="3189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Box 7"/>
          <p:cNvSpPr txBox="1">
            <a:spLocks noChangeArrowheads="1"/>
          </p:cNvSpPr>
          <p:nvPr/>
        </p:nvSpPr>
        <p:spPr bwMode="auto">
          <a:xfrm>
            <a:off x="1066800" y="5630605"/>
            <a:ext cx="6781800" cy="9253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 eaLnBrk="1" hangingPunct="1">
              <a:lnSpc>
                <a:spcPct val="65000"/>
              </a:lnSpc>
              <a:spcBef>
                <a:spcPct val="50000"/>
              </a:spcBef>
              <a:defRPr/>
            </a:pPr>
            <a:r>
              <a:rPr lang="en-US" altLang="ru-RU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</a:rPr>
              <a:t>CCTT Deputy Secretary General</a:t>
            </a:r>
          </a:p>
          <a:p>
            <a:pPr algn="ctr" eaLnBrk="1" hangingPunct="1">
              <a:lnSpc>
                <a:spcPct val="65000"/>
              </a:lnSpc>
              <a:spcBef>
                <a:spcPct val="50000"/>
              </a:spcBef>
              <a:defRPr/>
            </a:pPr>
            <a:r>
              <a:rPr lang="en-US" altLang="ru-RU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</a:rPr>
              <a:t>Mrs. </a:t>
            </a:r>
            <a:r>
              <a:rPr lang="ru-RU" altLang="ru-RU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</a:rPr>
              <a:t>Natalia </a:t>
            </a:r>
            <a:r>
              <a:rPr lang="ru-RU" altLang="ru-RU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</a:rPr>
              <a:t>Stepanova, </a:t>
            </a:r>
            <a:r>
              <a:rPr lang="en-US" altLang="ru-RU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</a:rPr>
              <a:t>PhD</a:t>
            </a:r>
            <a:endParaRPr lang="ru-RU" altLang="ru-RU" dirty="0" smtClean="0">
              <a:solidFill>
                <a:schemeClr val="tx1">
                  <a:lumMod val="75000"/>
                  <a:lumOff val="25000"/>
                </a:schemeClr>
              </a:solidFill>
              <a:latin typeface="Calibri" panose="020F0502020204030204" pitchFamily="34" charset="0"/>
            </a:endParaRPr>
          </a:p>
          <a:p>
            <a:pPr algn="ctr" eaLnBrk="1" hangingPunct="1">
              <a:lnSpc>
                <a:spcPct val="65000"/>
              </a:lnSpc>
              <a:spcBef>
                <a:spcPct val="50000"/>
              </a:spcBef>
              <a:defRPr/>
            </a:pPr>
            <a:r>
              <a:rPr lang="en-US" altLang="ru-RU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</a:rPr>
              <a:t>info@icctt.com</a:t>
            </a:r>
            <a:endParaRPr lang="en-US" altLang="ru-RU" dirty="0">
              <a:solidFill>
                <a:schemeClr val="tx1">
                  <a:lumMod val="75000"/>
                  <a:lumOff val="25000"/>
                </a:schemeClr>
              </a:solidFill>
              <a:latin typeface="Calibri" panose="020F050202020403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7" name="Text Box 5"/>
          <p:cNvSpPr txBox="1">
            <a:spLocks noChangeArrowheads="1"/>
          </p:cNvSpPr>
          <p:nvPr/>
        </p:nvSpPr>
        <p:spPr bwMode="auto">
          <a:xfrm>
            <a:off x="549275" y="1900238"/>
            <a:ext cx="6624638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endParaRPr lang="ru-RU" altLang="ru-RU">
              <a:cs typeface="Arial" charset="0"/>
            </a:endParaRPr>
          </a:p>
        </p:txBody>
      </p:sp>
      <p:pic>
        <p:nvPicPr>
          <p:cNvPr id="14338" name="Picture 10" descr="Scan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68313" y="1900238"/>
            <a:ext cx="8351837" cy="4265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 Box 6"/>
          <p:cNvSpPr txBox="1">
            <a:spLocks noChangeArrowheads="1"/>
          </p:cNvSpPr>
          <p:nvPr/>
        </p:nvSpPr>
        <p:spPr bwMode="auto">
          <a:xfrm>
            <a:off x="395288" y="936625"/>
            <a:ext cx="7896225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defRPr kumimoji="1"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ru-RU" sz="2000" b="1" dirty="0" smtClean="0">
                <a:solidFill>
                  <a:srgbClr val="FF0000"/>
                </a:solidFill>
                <a:latin typeface="Calibri" panose="020F0502020204030204" pitchFamily="34" charset="0"/>
              </a:rPr>
              <a:t>TSR: integrated </a:t>
            </a:r>
            <a:r>
              <a:rPr kumimoji="0" lang="en-US" altLang="ru-RU" sz="2000" b="1" dirty="0">
                <a:solidFill>
                  <a:srgbClr val="FF0000"/>
                </a:solidFill>
                <a:latin typeface="Calibri" panose="020F0502020204030204" pitchFamily="34" charset="0"/>
              </a:rPr>
              <a:t>multimodal </a:t>
            </a:r>
            <a:r>
              <a:rPr kumimoji="0" lang="en-US" altLang="ru-RU" sz="2000" b="1" dirty="0" smtClean="0">
                <a:solidFill>
                  <a:srgbClr val="FF0000"/>
                </a:solidFill>
                <a:latin typeface="Calibri" panose="020F0502020204030204" pitchFamily="34" charset="0"/>
              </a:rPr>
              <a:t>network</a:t>
            </a:r>
            <a:endParaRPr kumimoji="0" lang="en-US" altLang="ru-RU" sz="2000" b="1" dirty="0">
              <a:solidFill>
                <a:srgbClr val="FF0000"/>
              </a:solidFill>
              <a:latin typeface="Calibri" panose="020F0502020204030204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ru-RU" altLang="ru-RU" sz="2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rPr>
              <a:t>ТСМ: интегрированная </a:t>
            </a:r>
            <a:r>
              <a:rPr kumimoji="0" lang="ru-RU" altLang="ru-RU" sz="20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rPr>
              <a:t>мультимодальная</a:t>
            </a:r>
            <a:r>
              <a:rPr kumimoji="0" lang="ru-RU" altLang="ru-RU" sz="2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rPr>
              <a:t> сеть</a:t>
            </a:r>
          </a:p>
        </p:txBody>
      </p:sp>
      <p:sp>
        <p:nvSpPr>
          <p:cNvPr id="14340" name="Text Box 12"/>
          <p:cNvSpPr txBox="1">
            <a:spLocks noChangeArrowheads="1"/>
          </p:cNvSpPr>
          <p:nvPr/>
        </p:nvSpPr>
        <p:spPr bwMode="auto">
          <a:xfrm>
            <a:off x="484188" y="4557713"/>
            <a:ext cx="3886200" cy="1474787"/>
          </a:xfrm>
          <a:prstGeom prst="rect">
            <a:avLst/>
          </a:prstGeom>
          <a:solidFill>
            <a:srgbClr val="FFFFFF"/>
          </a:solidFill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GB" altLang="ru-RU">
                <a:latin typeface="Calibri" pitchFamily="34" charset="0"/>
                <a:cs typeface="Arial" charset="0"/>
              </a:rPr>
              <a:t>Integrated multimodal services connect sea ports and terminals of Europe, Russia and the Asia-Pacific Region and can deliver a container from North Atlantic shores to the Pacific.    </a:t>
            </a:r>
            <a:endParaRPr lang="ru-RU" altLang="ru-RU">
              <a:latin typeface="Calibri" pitchFamily="34" charset="0"/>
              <a:cs typeface="Arial" charset="0"/>
            </a:endParaRPr>
          </a:p>
        </p:txBody>
      </p:sp>
      <p:sp>
        <p:nvSpPr>
          <p:cNvPr id="14341" name="Text Box 13"/>
          <p:cNvSpPr txBox="1">
            <a:spLocks noChangeArrowheads="1"/>
          </p:cNvSpPr>
          <p:nvPr/>
        </p:nvSpPr>
        <p:spPr bwMode="auto">
          <a:xfrm>
            <a:off x="395288" y="152544"/>
            <a:ext cx="8353176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altLang="ru-RU" sz="1600" dirty="0">
                <a:solidFill>
                  <a:schemeClr val="bg1"/>
                </a:solidFill>
                <a:latin typeface="Calibri" pitchFamily="34" charset="0"/>
              </a:rPr>
              <a:t>The Trans-Siberian Route: ways to increase competitiveness of railway freight transportation</a:t>
            </a:r>
            <a:endParaRPr lang="en-US" altLang="ru-RU" sz="1600" dirty="0">
              <a:solidFill>
                <a:schemeClr val="bg1"/>
              </a:solidFill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52" name="Object 28"/>
          <p:cNvGraphicFramePr>
            <a:graphicFrameLocks noChangeAspect="1"/>
          </p:cNvGraphicFramePr>
          <p:nvPr/>
        </p:nvGraphicFramePr>
        <p:xfrm>
          <a:off x="250825" y="1412875"/>
          <a:ext cx="4064000" cy="26447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" name="Диаграмма" r:id="rId3" imgW="6134239" imgH="3429000" progId="Excel.Chart.8">
                  <p:embed/>
                </p:oleObj>
              </mc:Choice>
              <mc:Fallback>
                <p:oleObj name="Диаграмма" r:id="rId3" imgW="6134239" imgH="3429000" progId="Excel.Chart.8">
                  <p:embed/>
                  <p:pic>
                    <p:nvPicPr>
                      <p:cNvPr id="0" name="Picture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50825" y="1412875"/>
                        <a:ext cx="4064000" cy="26447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="" xmlns:a14="http://schemas.microsoft.com/office/drawing/2010/main">
                            <a:effectLst>
                              <a:outerShdw blurRad="63500" dist="38099" dir="2700000" algn="ctr" rotWithShape="0">
                                <a:schemeClr val="bg2">
                                  <a:alpha val="74998"/>
                                </a:scheme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Box 3"/>
          <p:cNvSpPr txBox="1">
            <a:spLocks noChangeArrowheads="1"/>
          </p:cNvSpPr>
          <p:nvPr/>
        </p:nvSpPr>
        <p:spPr bwMode="auto">
          <a:xfrm>
            <a:off x="5287963" y="1071563"/>
            <a:ext cx="3678237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ru-RU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Volumes of container cargo transportation between Russia and </a:t>
            </a:r>
            <a:r>
              <a:rPr kumimoji="0" lang="en-US" alt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sia-Pacific,</a:t>
            </a:r>
            <a:endParaRPr kumimoji="0" lang="en-US" altLang="ru-RU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ctr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January-October, </a:t>
            </a:r>
            <a:r>
              <a:rPr kumimoji="0" lang="ru-RU" alt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2013 – </a:t>
            </a:r>
            <a:r>
              <a:rPr kumimoji="0" lang="ru-RU" altLang="ru-RU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014, </a:t>
            </a:r>
            <a:r>
              <a:rPr kumimoji="0" lang="en-US" alt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TEU</a:t>
            </a:r>
            <a:endParaRPr kumimoji="0" lang="ru-RU" altLang="ru-RU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aphicFrame>
        <p:nvGraphicFramePr>
          <p:cNvPr id="2" name="Object 7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12300706"/>
              </p:ext>
            </p:extLst>
          </p:nvPr>
        </p:nvGraphicFramePr>
        <p:xfrm>
          <a:off x="4851400" y="1681163"/>
          <a:ext cx="4195763" cy="25955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055" name="Text Box 6"/>
          <p:cNvSpPr txBox="1">
            <a:spLocks noChangeArrowheads="1"/>
          </p:cNvSpPr>
          <p:nvPr/>
        </p:nvSpPr>
        <p:spPr bwMode="auto">
          <a:xfrm>
            <a:off x="4927600" y="4840288"/>
            <a:ext cx="813043" cy="3508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342900" indent="-342900">
              <a:lnSpc>
                <a:spcPct val="120000"/>
              </a:lnSpc>
              <a:spcBef>
                <a:spcPct val="20000"/>
              </a:spcBef>
            </a:pPr>
            <a:r>
              <a:rPr lang="en-US" altLang="ru-RU" sz="1400" u="sng" dirty="0" smtClean="0">
                <a:solidFill>
                  <a:srgbClr val="CC0000"/>
                </a:solidFill>
                <a:latin typeface="Calibri" pitchFamily="34" charset="0"/>
                <a:cs typeface="Arial" charset="0"/>
              </a:rPr>
              <a:t>+</a:t>
            </a:r>
            <a:r>
              <a:rPr lang="ru-RU" altLang="ru-RU" sz="1400" u="sng" dirty="0" smtClean="0">
                <a:solidFill>
                  <a:srgbClr val="CC0000"/>
                </a:solidFill>
                <a:latin typeface="Calibri" pitchFamily="34" charset="0"/>
                <a:cs typeface="Arial" charset="0"/>
              </a:rPr>
              <a:t>15,22</a:t>
            </a:r>
            <a:r>
              <a:rPr lang="en-US" altLang="ru-RU" sz="1400" u="sng" dirty="0" smtClean="0">
                <a:solidFill>
                  <a:srgbClr val="CC0000"/>
                </a:solidFill>
                <a:latin typeface="Calibri" pitchFamily="34" charset="0"/>
                <a:cs typeface="Arial" charset="0"/>
              </a:rPr>
              <a:t>%</a:t>
            </a:r>
            <a:endParaRPr lang="ru-RU" altLang="ru-RU" sz="1400" u="sng" dirty="0">
              <a:solidFill>
                <a:srgbClr val="CC0000"/>
              </a:solidFill>
              <a:latin typeface="Calibri" pitchFamily="34" charset="0"/>
              <a:cs typeface="Arial" charset="0"/>
            </a:endParaRPr>
          </a:p>
        </p:txBody>
      </p:sp>
      <p:sp>
        <p:nvSpPr>
          <p:cNvPr id="1056" name="Text Box 6"/>
          <p:cNvSpPr txBox="1">
            <a:spLocks noChangeArrowheads="1"/>
          </p:cNvSpPr>
          <p:nvPr/>
        </p:nvSpPr>
        <p:spPr bwMode="auto">
          <a:xfrm>
            <a:off x="7173913" y="4973638"/>
            <a:ext cx="777777" cy="3508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342900" indent="-342900">
              <a:lnSpc>
                <a:spcPct val="120000"/>
              </a:lnSpc>
              <a:spcBef>
                <a:spcPct val="20000"/>
              </a:spcBef>
            </a:pPr>
            <a:r>
              <a:rPr lang="en-US" altLang="ru-RU" sz="1400" u="sng" dirty="0">
                <a:solidFill>
                  <a:srgbClr val="CC0000"/>
                </a:solidFill>
                <a:latin typeface="Calibri" pitchFamily="34" charset="0"/>
                <a:cs typeface="Arial" charset="0"/>
              </a:rPr>
              <a:t>-</a:t>
            </a:r>
            <a:r>
              <a:rPr lang="en-US" altLang="ru-RU" sz="1400" u="sng" dirty="0" smtClean="0">
                <a:solidFill>
                  <a:srgbClr val="CC0000"/>
                </a:solidFill>
                <a:latin typeface="Calibri" pitchFamily="34" charset="0"/>
                <a:cs typeface="Arial" charset="0"/>
              </a:rPr>
              <a:t>1</a:t>
            </a:r>
            <a:r>
              <a:rPr lang="ru-RU" altLang="ru-RU" sz="1400" u="sng" dirty="0" smtClean="0">
                <a:solidFill>
                  <a:srgbClr val="CC0000"/>
                </a:solidFill>
                <a:latin typeface="Calibri" pitchFamily="34" charset="0"/>
                <a:cs typeface="Arial" charset="0"/>
              </a:rPr>
              <a:t>2,10</a:t>
            </a:r>
            <a:r>
              <a:rPr lang="en-US" altLang="ru-RU" sz="1400" u="sng" dirty="0" smtClean="0">
                <a:solidFill>
                  <a:srgbClr val="CC0000"/>
                </a:solidFill>
                <a:latin typeface="Calibri" pitchFamily="34" charset="0"/>
                <a:cs typeface="Arial" charset="0"/>
              </a:rPr>
              <a:t>%</a:t>
            </a:r>
            <a:endParaRPr lang="ru-RU" altLang="ru-RU" sz="1400" u="sng" dirty="0">
              <a:solidFill>
                <a:srgbClr val="CC0000"/>
              </a:solidFill>
              <a:latin typeface="Calibri" pitchFamily="34" charset="0"/>
              <a:cs typeface="Arial" charset="0"/>
            </a:endParaRPr>
          </a:p>
        </p:txBody>
      </p:sp>
      <p:sp>
        <p:nvSpPr>
          <p:cNvPr id="46" name="Text Box 8"/>
          <p:cNvSpPr txBox="1">
            <a:spLocks noChangeArrowheads="1"/>
          </p:cNvSpPr>
          <p:nvPr/>
        </p:nvSpPr>
        <p:spPr bwMode="auto">
          <a:xfrm>
            <a:off x="1209675" y="4437063"/>
            <a:ext cx="6364288" cy="44133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/>
          <a:p>
            <a:pPr algn="ctr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</a:rPr>
              <a:t>Volumes </a:t>
            </a:r>
            <a:r>
              <a:rPr lang="en-US" altLang="ru-RU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</a:rPr>
              <a:t>of international container transportation on </a:t>
            </a:r>
            <a:r>
              <a:rPr lang="en-US" alt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</a:rPr>
              <a:t>TSM,</a:t>
            </a:r>
          </a:p>
          <a:p>
            <a:pPr algn="ctr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</a:rPr>
              <a:t> January-September 2013-2014, TEU</a:t>
            </a:r>
            <a:endParaRPr lang="ru-RU" altLang="ru-RU" sz="1400" dirty="0">
              <a:solidFill>
                <a:schemeClr val="tx1">
                  <a:lumMod val="75000"/>
                  <a:lumOff val="25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1058" name="Freeform 19"/>
          <p:cNvSpPr>
            <a:spLocks/>
          </p:cNvSpPr>
          <p:nvPr/>
        </p:nvSpPr>
        <p:spPr bwMode="auto">
          <a:xfrm>
            <a:off x="5618163" y="5499100"/>
            <a:ext cx="222250" cy="260350"/>
          </a:xfrm>
          <a:custGeom>
            <a:avLst/>
            <a:gdLst>
              <a:gd name="T0" fmla="*/ 222250 w 174"/>
              <a:gd name="T1" fmla="*/ 105487 h 232"/>
              <a:gd name="T2" fmla="*/ 194149 w 174"/>
              <a:gd name="T3" fmla="*/ 105487 h 232"/>
              <a:gd name="T4" fmla="*/ 166049 w 174"/>
              <a:gd name="T5" fmla="*/ 97631 h 232"/>
              <a:gd name="T6" fmla="*/ 137948 w 174"/>
              <a:gd name="T7" fmla="*/ 89776 h 232"/>
              <a:gd name="T8" fmla="*/ 120066 w 174"/>
              <a:gd name="T9" fmla="*/ 89776 h 232"/>
              <a:gd name="T10" fmla="*/ 100907 w 174"/>
              <a:gd name="T11" fmla="*/ 81920 h 232"/>
              <a:gd name="T12" fmla="*/ 74083 w 174"/>
              <a:gd name="T13" fmla="*/ 72943 h 232"/>
              <a:gd name="T14" fmla="*/ 63865 w 174"/>
              <a:gd name="T15" fmla="*/ 65088 h 232"/>
              <a:gd name="T16" fmla="*/ 45983 w 174"/>
              <a:gd name="T17" fmla="*/ 57232 h 232"/>
              <a:gd name="T18" fmla="*/ 37042 w 174"/>
              <a:gd name="T19" fmla="*/ 49377 h 232"/>
              <a:gd name="T20" fmla="*/ 17882 w 174"/>
              <a:gd name="T21" fmla="*/ 40399 h 232"/>
              <a:gd name="T22" fmla="*/ 17882 w 174"/>
              <a:gd name="T23" fmla="*/ 32544 h 232"/>
              <a:gd name="T24" fmla="*/ 8941 w 174"/>
              <a:gd name="T25" fmla="*/ 24688 h 232"/>
              <a:gd name="T26" fmla="*/ 0 w 174"/>
              <a:gd name="T27" fmla="*/ 16833 h 232"/>
              <a:gd name="T28" fmla="*/ 0 w 174"/>
              <a:gd name="T29" fmla="*/ 7855 h 232"/>
              <a:gd name="T30" fmla="*/ 0 w 174"/>
              <a:gd name="T31" fmla="*/ 0 h 232"/>
              <a:gd name="T32" fmla="*/ 0 w 174"/>
              <a:gd name="T33" fmla="*/ 154863 h 232"/>
              <a:gd name="T34" fmla="*/ 0 w 174"/>
              <a:gd name="T35" fmla="*/ 162719 h 232"/>
              <a:gd name="T36" fmla="*/ 0 w 174"/>
              <a:gd name="T37" fmla="*/ 170574 h 232"/>
              <a:gd name="T38" fmla="*/ 8941 w 174"/>
              <a:gd name="T39" fmla="*/ 179552 h 232"/>
              <a:gd name="T40" fmla="*/ 17882 w 174"/>
              <a:gd name="T41" fmla="*/ 187407 h 232"/>
              <a:gd name="T42" fmla="*/ 17882 w 174"/>
              <a:gd name="T43" fmla="*/ 195263 h 232"/>
              <a:gd name="T44" fmla="*/ 37042 w 174"/>
              <a:gd name="T45" fmla="*/ 203118 h 232"/>
              <a:gd name="T46" fmla="*/ 45983 w 174"/>
              <a:gd name="T47" fmla="*/ 212095 h 232"/>
              <a:gd name="T48" fmla="*/ 63865 w 174"/>
              <a:gd name="T49" fmla="*/ 219951 h 232"/>
              <a:gd name="T50" fmla="*/ 74083 w 174"/>
              <a:gd name="T51" fmla="*/ 227806 h 232"/>
              <a:gd name="T52" fmla="*/ 100907 w 174"/>
              <a:gd name="T53" fmla="*/ 235662 h 232"/>
              <a:gd name="T54" fmla="*/ 120066 w 174"/>
              <a:gd name="T55" fmla="*/ 244639 h 232"/>
              <a:gd name="T56" fmla="*/ 137948 w 174"/>
              <a:gd name="T57" fmla="*/ 244639 h 232"/>
              <a:gd name="T58" fmla="*/ 166049 w 174"/>
              <a:gd name="T59" fmla="*/ 252495 h 232"/>
              <a:gd name="T60" fmla="*/ 194149 w 174"/>
              <a:gd name="T61" fmla="*/ 260350 h 232"/>
              <a:gd name="T62" fmla="*/ 222250 w 174"/>
              <a:gd name="T63" fmla="*/ 260350 h 232"/>
              <a:gd name="T64" fmla="*/ 222250 w 174"/>
              <a:gd name="T65" fmla="*/ 105487 h 232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174"/>
              <a:gd name="T100" fmla="*/ 0 h 232"/>
              <a:gd name="T101" fmla="*/ 174 w 174"/>
              <a:gd name="T102" fmla="*/ 232 h 232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174" h="232">
                <a:moveTo>
                  <a:pt x="174" y="94"/>
                </a:moveTo>
                <a:lnTo>
                  <a:pt x="152" y="94"/>
                </a:lnTo>
                <a:lnTo>
                  <a:pt x="130" y="87"/>
                </a:lnTo>
                <a:lnTo>
                  <a:pt x="108" y="80"/>
                </a:lnTo>
                <a:lnTo>
                  <a:pt x="94" y="80"/>
                </a:lnTo>
                <a:lnTo>
                  <a:pt x="79" y="73"/>
                </a:lnTo>
                <a:lnTo>
                  <a:pt x="58" y="65"/>
                </a:lnTo>
                <a:lnTo>
                  <a:pt x="50" y="58"/>
                </a:lnTo>
                <a:lnTo>
                  <a:pt x="36" y="51"/>
                </a:lnTo>
                <a:lnTo>
                  <a:pt x="29" y="44"/>
                </a:lnTo>
                <a:lnTo>
                  <a:pt x="14" y="36"/>
                </a:lnTo>
                <a:lnTo>
                  <a:pt x="14" y="29"/>
                </a:lnTo>
                <a:lnTo>
                  <a:pt x="7" y="22"/>
                </a:lnTo>
                <a:lnTo>
                  <a:pt x="0" y="15"/>
                </a:lnTo>
                <a:lnTo>
                  <a:pt x="0" y="7"/>
                </a:lnTo>
                <a:lnTo>
                  <a:pt x="0" y="0"/>
                </a:lnTo>
                <a:lnTo>
                  <a:pt x="0" y="138"/>
                </a:lnTo>
                <a:lnTo>
                  <a:pt x="0" y="145"/>
                </a:lnTo>
                <a:lnTo>
                  <a:pt x="0" y="152"/>
                </a:lnTo>
                <a:lnTo>
                  <a:pt x="7" y="160"/>
                </a:lnTo>
                <a:lnTo>
                  <a:pt x="14" y="167"/>
                </a:lnTo>
                <a:lnTo>
                  <a:pt x="14" y="174"/>
                </a:lnTo>
                <a:lnTo>
                  <a:pt x="29" y="181"/>
                </a:lnTo>
                <a:lnTo>
                  <a:pt x="36" y="189"/>
                </a:lnTo>
                <a:lnTo>
                  <a:pt x="50" y="196"/>
                </a:lnTo>
                <a:lnTo>
                  <a:pt x="58" y="203"/>
                </a:lnTo>
                <a:lnTo>
                  <a:pt x="79" y="210"/>
                </a:lnTo>
                <a:lnTo>
                  <a:pt x="94" y="218"/>
                </a:lnTo>
                <a:lnTo>
                  <a:pt x="108" y="218"/>
                </a:lnTo>
                <a:lnTo>
                  <a:pt x="130" y="225"/>
                </a:lnTo>
                <a:lnTo>
                  <a:pt x="152" y="232"/>
                </a:lnTo>
                <a:lnTo>
                  <a:pt x="174" y="232"/>
                </a:lnTo>
                <a:lnTo>
                  <a:pt x="174" y="94"/>
                </a:lnTo>
                <a:close/>
              </a:path>
            </a:pathLst>
          </a:custGeom>
          <a:solidFill>
            <a:srgbClr val="80800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059" name="Freeform 20"/>
          <p:cNvSpPr>
            <a:spLocks/>
          </p:cNvSpPr>
          <p:nvPr/>
        </p:nvSpPr>
        <p:spPr bwMode="auto">
          <a:xfrm>
            <a:off x="5840413" y="5507038"/>
            <a:ext cx="414337" cy="260350"/>
          </a:xfrm>
          <a:custGeom>
            <a:avLst/>
            <a:gdLst>
              <a:gd name="T0" fmla="*/ 414338 w 326"/>
              <a:gd name="T1" fmla="*/ 0 h 232"/>
              <a:gd name="T2" fmla="*/ 0 w 326"/>
              <a:gd name="T3" fmla="*/ 106609 h 232"/>
              <a:gd name="T4" fmla="*/ 0 w 326"/>
              <a:gd name="T5" fmla="*/ 260350 h 232"/>
              <a:gd name="T6" fmla="*/ 414338 w 326"/>
              <a:gd name="T7" fmla="*/ 154863 h 232"/>
              <a:gd name="T8" fmla="*/ 414338 w 326"/>
              <a:gd name="T9" fmla="*/ 0 h 23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26"/>
              <a:gd name="T16" fmla="*/ 0 h 232"/>
              <a:gd name="T17" fmla="*/ 326 w 326"/>
              <a:gd name="T18" fmla="*/ 232 h 232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26" h="232">
                <a:moveTo>
                  <a:pt x="326" y="0"/>
                </a:moveTo>
                <a:lnTo>
                  <a:pt x="0" y="95"/>
                </a:lnTo>
                <a:lnTo>
                  <a:pt x="0" y="232"/>
                </a:lnTo>
                <a:lnTo>
                  <a:pt x="326" y="138"/>
                </a:lnTo>
                <a:lnTo>
                  <a:pt x="326" y="0"/>
                </a:lnTo>
                <a:close/>
              </a:path>
            </a:pathLst>
          </a:custGeom>
          <a:solidFill>
            <a:srgbClr val="80800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060" name="Freeform 21"/>
          <p:cNvSpPr>
            <a:spLocks/>
          </p:cNvSpPr>
          <p:nvPr/>
        </p:nvSpPr>
        <p:spPr bwMode="auto">
          <a:xfrm>
            <a:off x="5618163" y="5360988"/>
            <a:ext cx="636587" cy="252412"/>
          </a:xfrm>
          <a:custGeom>
            <a:avLst/>
            <a:gdLst>
              <a:gd name="T0" fmla="*/ 221533 w 500"/>
              <a:gd name="T1" fmla="*/ 252412 h 225"/>
              <a:gd name="T2" fmla="*/ 184611 w 500"/>
              <a:gd name="T3" fmla="*/ 243437 h 225"/>
              <a:gd name="T4" fmla="*/ 165513 w 500"/>
              <a:gd name="T5" fmla="*/ 243437 h 225"/>
              <a:gd name="T6" fmla="*/ 128591 w 500"/>
              <a:gd name="T7" fmla="*/ 235585 h 225"/>
              <a:gd name="T8" fmla="*/ 110766 w 500"/>
              <a:gd name="T9" fmla="*/ 227732 h 225"/>
              <a:gd name="T10" fmla="*/ 91669 w 500"/>
              <a:gd name="T11" fmla="*/ 219879 h 225"/>
              <a:gd name="T12" fmla="*/ 73844 w 500"/>
              <a:gd name="T13" fmla="*/ 210904 h 225"/>
              <a:gd name="T14" fmla="*/ 54747 w 500"/>
              <a:gd name="T15" fmla="*/ 203051 h 225"/>
              <a:gd name="T16" fmla="*/ 36922 w 500"/>
              <a:gd name="T17" fmla="*/ 195199 h 225"/>
              <a:gd name="T18" fmla="*/ 26737 w 500"/>
              <a:gd name="T19" fmla="*/ 187346 h 225"/>
              <a:gd name="T20" fmla="*/ 17824 w 500"/>
              <a:gd name="T21" fmla="*/ 178371 h 225"/>
              <a:gd name="T22" fmla="*/ 8912 w 500"/>
              <a:gd name="T23" fmla="*/ 170518 h 225"/>
              <a:gd name="T24" fmla="*/ 0 w 500"/>
              <a:gd name="T25" fmla="*/ 162666 h 225"/>
              <a:gd name="T26" fmla="*/ 0 w 500"/>
              <a:gd name="T27" fmla="*/ 154813 h 225"/>
              <a:gd name="T28" fmla="*/ 0 w 500"/>
              <a:gd name="T29" fmla="*/ 137985 h 225"/>
              <a:gd name="T30" fmla="*/ 0 w 500"/>
              <a:gd name="T31" fmla="*/ 130132 h 225"/>
              <a:gd name="T32" fmla="*/ 0 w 500"/>
              <a:gd name="T33" fmla="*/ 122280 h 225"/>
              <a:gd name="T34" fmla="*/ 8912 w 500"/>
              <a:gd name="T35" fmla="*/ 113305 h 225"/>
              <a:gd name="T36" fmla="*/ 17824 w 500"/>
              <a:gd name="T37" fmla="*/ 105452 h 225"/>
              <a:gd name="T38" fmla="*/ 36922 w 500"/>
              <a:gd name="T39" fmla="*/ 97599 h 225"/>
              <a:gd name="T40" fmla="*/ 45834 w 500"/>
              <a:gd name="T41" fmla="*/ 89746 h 225"/>
              <a:gd name="T42" fmla="*/ 63659 w 500"/>
              <a:gd name="T43" fmla="*/ 81894 h 225"/>
              <a:gd name="T44" fmla="*/ 73844 w 500"/>
              <a:gd name="T45" fmla="*/ 72919 h 225"/>
              <a:gd name="T46" fmla="*/ 100581 w 500"/>
              <a:gd name="T47" fmla="*/ 65066 h 225"/>
              <a:gd name="T48" fmla="*/ 128591 w 500"/>
              <a:gd name="T49" fmla="*/ 57213 h 225"/>
              <a:gd name="T50" fmla="*/ 147688 w 500"/>
              <a:gd name="T51" fmla="*/ 49361 h 225"/>
              <a:gd name="T52" fmla="*/ 174425 w 500"/>
              <a:gd name="T53" fmla="*/ 40386 h 225"/>
              <a:gd name="T54" fmla="*/ 202435 w 500"/>
              <a:gd name="T55" fmla="*/ 40386 h 225"/>
              <a:gd name="T56" fmla="*/ 239357 w 500"/>
              <a:gd name="T57" fmla="*/ 32533 h 225"/>
              <a:gd name="T58" fmla="*/ 258455 w 500"/>
              <a:gd name="T59" fmla="*/ 24680 h 225"/>
              <a:gd name="T60" fmla="*/ 295377 w 500"/>
              <a:gd name="T61" fmla="*/ 16827 h 225"/>
              <a:gd name="T62" fmla="*/ 332299 w 500"/>
              <a:gd name="T63" fmla="*/ 16827 h 225"/>
              <a:gd name="T64" fmla="*/ 369221 w 500"/>
              <a:gd name="T65" fmla="*/ 7853 h 225"/>
              <a:gd name="T66" fmla="*/ 406143 w 500"/>
              <a:gd name="T67" fmla="*/ 7853 h 225"/>
              <a:gd name="T68" fmla="*/ 443065 w 500"/>
              <a:gd name="T69" fmla="*/ 7853 h 225"/>
              <a:gd name="T70" fmla="*/ 479987 w 500"/>
              <a:gd name="T71" fmla="*/ 0 h 225"/>
              <a:gd name="T72" fmla="*/ 516909 w 500"/>
              <a:gd name="T73" fmla="*/ 0 h 225"/>
              <a:gd name="T74" fmla="*/ 562744 w 500"/>
              <a:gd name="T75" fmla="*/ 0 h 225"/>
              <a:gd name="T76" fmla="*/ 590754 w 500"/>
              <a:gd name="T77" fmla="*/ 0 h 225"/>
              <a:gd name="T78" fmla="*/ 636588 w 500"/>
              <a:gd name="T79" fmla="*/ 0 h 225"/>
              <a:gd name="T80" fmla="*/ 636588 w 500"/>
              <a:gd name="T81" fmla="*/ 145838 h 225"/>
              <a:gd name="T82" fmla="*/ 221533 w 500"/>
              <a:gd name="T83" fmla="*/ 252412 h 225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500"/>
              <a:gd name="T127" fmla="*/ 0 h 225"/>
              <a:gd name="T128" fmla="*/ 500 w 500"/>
              <a:gd name="T129" fmla="*/ 225 h 225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500" h="225">
                <a:moveTo>
                  <a:pt x="174" y="225"/>
                </a:moveTo>
                <a:lnTo>
                  <a:pt x="145" y="217"/>
                </a:lnTo>
                <a:lnTo>
                  <a:pt x="130" y="217"/>
                </a:lnTo>
                <a:lnTo>
                  <a:pt x="101" y="210"/>
                </a:lnTo>
                <a:lnTo>
                  <a:pt x="87" y="203"/>
                </a:lnTo>
                <a:lnTo>
                  <a:pt x="72" y="196"/>
                </a:lnTo>
                <a:lnTo>
                  <a:pt x="58" y="188"/>
                </a:lnTo>
                <a:lnTo>
                  <a:pt x="43" y="181"/>
                </a:lnTo>
                <a:lnTo>
                  <a:pt x="29" y="174"/>
                </a:lnTo>
                <a:lnTo>
                  <a:pt x="21" y="167"/>
                </a:lnTo>
                <a:lnTo>
                  <a:pt x="14" y="159"/>
                </a:lnTo>
                <a:lnTo>
                  <a:pt x="7" y="152"/>
                </a:lnTo>
                <a:lnTo>
                  <a:pt x="0" y="145"/>
                </a:lnTo>
                <a:lnTo>
                  <a:pt x="0" y="138"/>
                </a:lnTo>
                <a:lnTo>
                  <a:pt x="0" y="123"/>
                </a:lnTo>
                <a:lnTo>
                  <a:pt x="0" y="116"/>
                </a:lnTo>
                <a:lnTo>
                  <a:pt x="0" y="109"/>
                </a:lnTo>
                <a:lnTo>
                  <a:pt x="7" y="101"/>
                </a:lnTo>
                <a:lnTo>
                  <a:pt x="14" y="94"/>
                </a:lnTo>
                <a:lnTo>
                  <a:pt x="29" y="87"/>
                </a:lnTo>
                <a:lnTo>
                  <a:pt x="36" y="80"/>
                </a:lnTo>
                <a:lnTo>
                  <a:pt x="50" y="73"/>
                </a:lnTo>
                <a:lnTo>
                  <a:pt x="58" y="65"/>
                </a:lnTo>
                <a:lnTo>
                  <a:pt x="79" y="58"/>
                </a:lnTo>
                <a:lnTo>
                  <a:pt x="101" y="51"/>
                </a:lnTo>
                <a:lnTo>
                  <a:pt x="116" y="44"/>
                </a:lnTo>
                <a:lnTo>
                  <a:pt x="137" y="36"/>
                </a:lnTo>
                <a:lnTo>
                  <a:pt x="159" y="36"/>
                </a:lnTo>
                <a:lnTo>
                  <a:pt x="188" y="29"/>
                </a:lnTo>
                <a:lnTo>
                  <a:pt x="203" y="22"/>
                </a:lnTo>
                <a:lnTo>
                  <a:pt x="232" y="15"/>
                </a:lnTo>
                <a:lnTo>
                  <a:pt x="261" y="15"/>
                </a:lnTo>
                <a:lnTo>
                  <a:pt x="290" y="7"/>
                </a:lnTo>
                <a:lnTo>
                  <a:pt x="319" y="7"/>
                </a:lnTo>
                <a:lnTo>
                  <a:pt x="348" y="7"/>
                </a:lnTo>
                <a:lnTo>
                  <a:pt x="377" y="0"/>
                </a:lnTo>
                <a:lnTo>
                  <a:pt x="406" y="0"/>
                </a:lnTo>
                <a:lnTo>
                  <a:pt x="442" y="0"/>
                </a:lnTo>
                <a:lnTo>
                  <a:pt x="464" y="0"/>
                </a:lnTo>
                <a:lnTo>
                  <a:pt x="500" y="0"/>
                </a:lnTo>
                <a:lnTo>
                  <a:pt x="500" y="130"/>
                </a:lnTo>
                <a:lnTo>
                  <a:pt x="174" y="225"/>
                </a:lnTo>
                <a:close/>
              </a:path>
            </a:pathLst>
          </a:custGeom>
          <a:solidFill>
            <a:srgbClr val="FFFF0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061" name="Freeform 22"/>
          <p:cNvSpPr>
            <a:spLocks/>
          </p:cNvSpPr>
          <p:nvPr/>
        </p:nvSpPr>
        <p:spPr bwMode="auto">
          <a:xfrm>
            <a:off x="5580063" y="5303838"/>
            <a:ext cx="65087" cy="153987"/>
          </a:xfrm>
          <a:custGeom>
            <a:avLst/>
            <a:gdLst>
              <a:gd name="T0" fmla="*/ 0 w 7"/>
              <a:gd name="T1" fmla="*/ 0 h 19"/>
              <a:gd name="T2" fmla="*/ 14291466 w 7"/>
              <a:gd name="T3" fmla="*/ 0 h 19"/>
              <a:gd name="T4" fmla="*/ 25198357 w 7"/>
              <a:gd name="T5" fmla="*/ 58985118 h 19"/>
              <a:gd name="T6" fmla="*/ 0 60000 65536"/>
              <a:gd name="T7" fmla="*/ 0 60000 65536"/>
              <a:gd name="T8" fmla="*/ 0 60000 65536"/>
              <a:gd name="T9" fmla="*/ 0 w 7"/>
              <a:gd name="T10" fmla="*/ 0 h 19"/>
              <a:gd name="T11" fmla="*/ 7 w 7"/>
              <a:gd name="T12" fmla="*/ 19 h 19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7" h="19">
                <a:moveTo>
                  <a:pt x="0" y="0"/>
                </a:moveTo>
                <a:lnTo>
                  <a:pt x="4" y="0"/>
                </a:lnTo>
                <a:lnTo>
                  <a:pt x="7" y="19"/>
                </a:lnTo>
              </a:path>
            </a:pathLst>
          </a:custGeom>
          <a:noFill/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062" name="Freeform 23"/>
          <p:cNvSpPr>
            <a:spLocks/>
          </p:cNvSpPr>
          <p:nvPr/>
        </p:nvSpPr>
        <p:spPr bwMode="auto">
          <a:xfrm>
            <a:off x="6457950" y="5499100"/>
            <a:ext cx="498475" cy="293688"/>
          </a:xfrm>
          <a:custGeom>
            <a:avLst/>
            <a:gdLst>
              <a:gd name="T0" fmla="*/ 498475 w 391"/>
              <a:gd name="T1" fmla="*/ 0 h 261"/>
              <a:gd name="T2" fmla="*/ 498475 w 391"/>
              <a:gd name="T3" fmla="*/ 7877 h 261"/>
              <a:gd name="T4" fmla="*/ 489551 w 391"/>
              <a:gd name="T5" fmla="*/ 16879 h 261"/>
              <a:gd name="T6" fmla="*/ 480627 w 391"/>
              <a:gd name="T7" fmla="*/ 32632 h 261"/>
              <a:gd name="T8" fmla="*/ 471703 w 391"/>
              <a:gd name="T9" fmla="*/ 40509 h 261"/>
              <a:gd name="T10" fmla="*/ 461504 w 391"/>
              <a:gd name="T11" fmla="*/ 49511 h 261"/>
              <a:gd name="T12" fmla="*/ 452580 w 391"/>
              <a:gd name="T13" fmla="*/ 57387 h 261"/>
              <a:gd name="T14" fmla="*/ 434731 w 391"/>
              <a:gd name="T15" fmla="*/ 65264 h 261"/>
              <a:gd name="T16" fmla="*/ 415608 w 391"/>
              <a:gd name="T17" fmla="*/ 73141 h 261"/>
              <a:gd name="T18" fmla="*/ 397760 w 391"/>
              <a:gd name="T19" fmla="*/ 82143 h 261"/>
              <a:gd name="T20" fmla="*/ 369713 w 391"/>
              <a:gd name="T21" fmla="*/ 90019 h 261"/>
              <a:gd name="T22" fmla="*/ 341666 w 391"/>
              <a:gd name="T23" fmla="*/ 90019 h 261"/>
              <a:gd name="T24" fmla="*/ 313619 w 391"/>
              <a:gd name="T25" fmla="*/ 97896 h 261"/>
              <a:gd name="T26" fmla="*/ 286846 w 391"/>
              <a:gd name="T27" fmla="*/ 105773 h 261"/>
              <a:gd name="T28" fmla="*/ 258799 w 391"/>
              <a:gd name="T29" fmla="*/ 114775 h 261"/>
              <a:gd name="T30" fmla="*/ 221828 w 391"/>
              <a:gd name="T31" fmla="*/ 122651 h 261"/>
              <a:gd name="T32" fmla="*/ 184856 w 391"/>
              <a:gd name="T33" fmla="*/ 122651 h 261"/>
              <a:gd name="T34" fmla="*/ 156809 w 391"/>
              <a:gd name="T35" fmla="*/ 130528 h 261"/>
              <a:gd name="T36" fmla="*/ 119838 w 391"/>
              <a:gd name="T37" fmla="*/ 130528 h 261"/>
              <a:gd name="T38" fmla="*/ 73943 w 391"/>
              <a:gd name="T39" fmla="*/ 138405 h 261"/>
              <a:gd name="T40" fmla="*/ 45895 w 391"/>
              <a:gd name="T41" fmla="*/ 138405 h 261"/>
              <a:gd name="T42" fmla="*/ 0 w 391"/>
              <a:gd name="T43" fmla="*/ 138405 h 261"/>
              <a:gd name="T44" fmla="*/ 0 w 391"/>
              <a:gd name="T45" fmla="*/ 293688 h 261"/>
              <a:gd name="T46" fmla="*/ 45895 w 391"/>
              <a:gd name="T47" fmla="*/ 293688 h 261"/>
              <a:gd name="T48" fmla="*/ 73943 w 391"/>
              <a:gd name="T49" fmla="*/ 293688 h 261"/>
              <a:gd name="T50" fmla="*/ 119838 w 391"/>
              <a:gd name="T51" fmla="*/ 285811 h 261"/>
              <a:gd name="T52" fmla="*/ 156809 w 391"/>
              <a:gd name="T53" fmla="*/ 285811 h 261"/>
              <a:gd name="T54" fmla="*/ 184856 w 391"/>
              <a:gd name="T55" fmla="*/ 277935 h 261"/>
              <a:gd name="T56" fmla="*/ 221828 w 391"/>
              <a:gd name="T57" fmla="*/ 277935 h 261"/>
              <a:gd name="T58" fmla="*/ 258799 w 391"/>
              <a:gd name="T59" fmla="*/ 268933 h 261"/>
              <a:gd name="T60" fmla="*/ 286846 w 391"/>
              <a:gd name="T61" fmla="*/ 261056 h 261"/>
              <a:gd name="T62" fmla="*/ 313619 w 391"/>
              <a:gd name="T63" fmla="*/ 253179 h 261"/>
              <a:gd name="T64" fmla="*/ 341666 w 391"/>
              <a:gd name="T65" fmla="*/ 245303 h 261"/>
              <a:gd name="T66" fmla="*/ 369713 w 391"/>
              <a:gd name="T67" fmla="*/ 245303 h 261"/>
              <a:gd name="T68" fmla="*/ 397760 w 391"/>
              <a:gd name="T69" fmla="*/ 236301 h 261"/>
              <a:gd name="T70" fmla="*/ 415608 w 391"/>
              <a:gd name="T71" fmla="*/ 228424 h 261"/>
              <a:gd name="T72" fmla="*/ 434731 w 391"/>
              <a:gd name="T73" fmla="*/ 220547 h 261"/>
              <a:gd name="T74" fmla="*/ 452580 w 391"/>
              <a:gd name="T75" fmla="*/ 212671 h 261"/>
              <a:gd name="T76" fmla="*/ 461504 w 391"/>
              <a:gd name="T77" fmla="*/ 203669 h 261"/>
              <a:gd name="T78" fmla="*/ 471703 w 391"/>
              <a:gd name="T79" fmla="*/ 195792 h 261"/>
              <a:gd name="T80" fmla="*/ 480627 w 391"/>
              <a:gd name="T81" fmla="*/ 187915 h 261"/>
              <a:gd name="T82" fmla="*/ 489551 w 391"/>
              <a:gd name="T83" fmla="*/ 171037 h 261"/>
              <a:gd name="T84" fmla="*/ 498475 w 391"/>
              <a:gd name="T85" fmla="*/ 163160 h 261"/>
              <a:gd name="T86" fmla="*/ 498475 w 391"/>
              <a:gd name="T87" fmla="*/ 155283 h 261"/>
              <a:gd name="T88" fmla="*/ 498475 w 391"/>
              <a:gd name="T89" fmla="*/ 0 h 261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391"/>
              <a:gd name="T136" fmla="*/ 0 h 261"/>
              <a:gd name="T137" fmla="*/ 391 w 391"/>
              <a:gd name="T138" fmla="*/ 261 h 261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391" h="261">
                <a:moveTo>
                  <a:pt x="391" y="0"/>
                </a:moveTo>
                <a:lnTo>
                  <a:pt x="391" y="7"/>
                </a:lnTo>
                <a:lnTo>
                  <a:pt x="384" y="15"/>
                </a:lnTo>
                <a:lnTo>
                  <a:pt x="377" y="29"/>
                </a:lnTo>
                <a:lnTo>
                  <a:pt x="370" y="36"/>
                </a:lnTo>
                <a:lnTo>
                  <a:pt x="362" y="44"/>
                </a:lnTo>
                <a:lnTo>
                  <a:pt x="355" y="51"/>
                </a:lnTo>
                <a:lnTo>
                  <a:pt x="341" y="58"/>
                </a:lnTo>
                <a:lnTo>
                  <a:pt x="326" y="65"/>
                </a:lnTo>
                <a:lnTo>
                  <a:pt x="312" y="73"/>
                </a:lnTo>
                <a:lnTo>
                  <a:pt x="290" y="80"/>
                </a:lnTo>
                <a:lnTo>
                  <a:pt x="268" y="80"/>
                </a:lnTo>
                <a:lnTo>
                  <a:pt x="246" y="87"/>
                </a:lnTo>
                <a:lnTo>
                  <a:pt x="225" y="94"/>
                </a:lnTo>
                <a:lnTo>
                  <a:pt x="203" y="102"/>
                </a:lnTo>
                <a:lnTo>
                  <a:pt x="174" y="109"/>
                </a:lnTo>
                <a:lnTo>
                  <a:pt x="145" y="109"/>
                </a:lnTo>
                <a:lnTo>
                  <a:pt x="123" y="116"/>
                </a:lnTo>
                <a:lnTo>
                  <a:pt x="94" y="116"/>
                </a:lnTo>
                <a:lnTo>
                  <a:pt x="58" y="123"/>
                </a:lnTo>
                <a:lnTo>
                  <a:pt x="36" y="123"/>
                </a:lnTo>
                <a:lnTo>
                  <a:pt x="0" y="123"/>
                </a:lnTo>
                <a:lnTo>
                  <a:pt x="0" y="261"/>
                </a:lnTo>
                <a:lnTo>
                  <a:pt x="36" y="261"/>
                </a:lnTo>
                <a:lnTo>
                  <a:pt x="58" y="261"/>
                </a:lnTo>
                <a:lnTo>
                  <a:pt x="94" y="254"/>
                </a:lnTo>
                <a:lnTo>
                  <a:pt x="123" y="254"/>
                </a:lnTo>
                <a:lnTo>
                  <a:pt x="145" y="247"/>
                </a:lnTo>
                <a:lnTo>
                  <a:pt x="174" y="247"/>
                </a:lnTo>
                <a:lnTo>
                  <a:pt x="203" y="239"/>
                </a:lnTo>
                <a:lnTo>
                  <a:pt x="225" y="232"/>
                </a:lnTo>
                <a:lnTo>
                  <a:pt x="246" y="225"/>
                </a:lnTo>
                <a:lnTo>
                  <a:pt x="268" y="218"/>
                </a:lnTo>
                <a:lnTo>
                  <a:pt x="290" y="218"/>
                </a:lnTo>
                <a:lnTo>
                  <a:pt x="312" y="210"/>
                </a:lnTo>
                <a:lnTo>
                  <a:pt x="326" y="203"/>
                </a:lnTo>
                <a:lnTo>
                  <a:pt x="341" y="196"/>
                </a:lnTo>
                <a:lnTo>
                  <a:pt x="355" y="189"/>
                </a:lnTo>
                <a:lnTo>
                  <a:pt x="362" y="181"/>
                </a:lnTo>
                <a:lnTo>
                  <a:pt x="370" y="174"/>
                </a:lnTo>
                <a:lnTo>
                  <a:pt x="377" y="167"/>
                </a:lnTo>
                <a:lnTo>
                  <a:pt x="384" y="152"/>
                </a:lnTo>
                <a:lnTo>
                  <a:pt x="391" y="145"/>
                </a:lnTo>
                <a:lnTo>
                  <a:pt x="391" y="138"/>
                </a:lnTo>
                <a:lnTo>
                  <a:pt x="391" y="0"/>
                </a:lnTo>
                <a:close/>
              </a:path>
            </a:pathLst>
          </a:custGeom>
          <a:solidFill>
            <a:srgbClr val="00400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063" name="Freeform 24"/>
          <p:cNvSpPr>
            <a:spLocks/>
          </p:cNvSpPr>
          <p:nvPr/>
        </p:nvSpPr>
        <p:spPr bwMode="auto">
          <a:xfrm>
            <a:off x="6310313" y="5507038"/>
            <a:ext cx="138112" cy="293687"/>
          </a:xfrm>
          <a:custGeom>
            <a:avLst/>
            <a:gdLst>
              <a:gd name="T0" fmla="*/ 0 w 108"/>
              <a:gd name="T1" fmla="*/ 0 h 261"/>
              <a:gd name="T2" fmla="*/ 138113 w 108"/>
              <a:gd name="T3" fmla="*/ 139529 h 261"/>
              <a:gd name="T4" fmla="*/ 138113 w 108"/>
              <a:gd name="T5" fmla="*/ 293687 h 261"/>
              <a:gd name="T6" fmla="*/ 0 w 108"/>
              <a:gd name="T7" fmla="*/ 155283 h 261"/>
              <a:gd name="T8" fmla="*/ 0 w 108"/>
              <a:gd name="T9" fmla="*/ 0 h 26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08"/>
              <a:gd name="T16" fmla="*/ 0 h 261"/>
              <a:gd name="T17" fmla="*/ 108 w 108"/>
              <a:gd name="T18" fmla="*/ 261 h 261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08" h="261">
                <a:moveTo>
                  <a:pt x="0" y="0"/>
                </a:moveTo>
                <a:lnTo>
                  <a:pt x="108" y="124"/>
                </a:lnTo>
                <a:lnTo>
                  <a:pt x="108" y="261"/>
                </a:lnTo>
                <a:lnTo>
                  <a:pt x="0" y="138"/>
                </a:lnTo>
                <a:lnTo>
                  <a:pt x="0" y="0"/>
                </a:lnTo>
                <a:close/>
              </a:path>
            </a:pathLst>
          </a:custGeom>
          <a:solidFill>
            <a:srgbClr val="00400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064" name="Freeform 25"/>
          <p:cNvSpPr>
            <a:spLocks/>
          </p:cNvSpPr>
          <p:nvPr/>
        </p:nvSpPr>
        <p:spPr bwMode="auto">
          <a:xfrm>
            <a:off x="6310313" y="5360988"/>
            <a:ext cx="646112" cy="285750"/>
          </a:xfrm>
          <a:custGeom>
            <a:avLst/>
            <a:gdLst>
              <a:gd name="T0" fmla="*/ 0 w 507"/>
              <a:gd name="T1" fmla="*/ 0 h 254"/>
              <a:gd name="T2" fmla="*/ 36957 w 507"/>
              <a:gd name="T3" fmla="*/ 0 h 254"/>
              <a:gd name="T4" fmla="*/ 82835 w 507"/>
              <a:gd name="T5" fmla="*/ 0 h 254"/>
              <a:gd name="T6" fmla="*/ 110871 w 507"/>
              <a:gd name="T7" fmla="*/ 0 h 254"/>
              <a:gd name="T8" fmla="*/ 156749 w 507"/>
              <a:gd name="T9" fmla="*/ 0 h 254"/>
              <a:gd name="T10" fmla="*/ 193706 w 507"/>
              <a:gd name="T11" fmla="*/ 7875 h 254"/>
              <a:gd name="T12" fmla="*/ 230664 w 507"/>
              <a:gd name="T13" fmla="*/ 7875 h 254"/>
              <a:gd name="T14" fmla="*/ 267621 w 507"/>
              <a:gd name="T15" fmla="*/ 7875 h 254"/>
              <a:gd name="T16" fmla="*/ 304578 w 507"/>
              <a:gd name="T17" fmla="*/ 16875 h 254"/>
              <a:gd name="T18" fmla="*/ 332614 w 507"/>
              <a:gd name="T19" fmla="*/ 16875 h 254"/>
              <a:gd name="T20" fmla="*/ 369572 w 507"/>
              <a:gd name="T21" fmla="*/ 24750 h 254"/>
              <a:gd name="T22" fmla="*/ 397608 w 507"/>
              <a:gd name="T23" fmla="*/ 32625 h 254"/>
              <a:gd name="T24" fmla="*/ 434565 w 507"/>
              <a:gd name="T25" fmla="*/ 32625 h 254"/>
              <a:gd name="T26" fmla="*/ 452407 w 507"/>
              <a:gd name="T27" fmla="*/ 40500 h 254"/>
              <a:gd name="T28" fmla="*/ 489364 w 507"/>
              <a:gd name="T29" fmla="*/ 49500 h 254"/>
              <a:gd name="T30" fmla="*/ 508479 w 507"/>
              <a:gd name="T31" fmla="*/ 57375 h 254"/>
              <a:gd name="T32" fmla="*/ 535242 w 507"/>
              <a:gd name="T33" fmla="*/ 65250 h 254"/>
              <a:gd name="T34" fmla="*/ 554357 w 507"/>
              <a:gd name="T35" fmla="*/ 65250 h 254"/>
              <a:gd name="T36" fmla="*/ 572199 w 507"/>
              <a:gd name="T37" fmla="*/ 82125 h 254"/>
              <a:gd name="T38" fmla="*/ 591314 w 507"/>
              <a:gd name="T39" fmla="*/ 82125 h 254"/>
              <a:gd name="T40" fmla="*/ 609156 w 507"/>
              <a:gd name="T41" fmla="*/ 97875 h 254"/>
              <a:gd name="T42" fmla="*/ 619351 w 507"/>
              <a:gd name="T43" fmla="*/ 97875 h 254"/>
              <a:gd name="T44" fmla="*/ 628272 w 507"/>
              <a:gd name="T45" fmla="*/ 113625 h 254"/>
              <a:gd name="T46" fmla="*/ 637192 w 507"/>
              <a:gd name="T47" fmla="*/ 122625 h 254"/>
              <a:gd name="T48" fmla="*/ 637192 w 507"/>
              <a:gd name="T49" fmla="*/ 130500 h 254"/>
              <a:gd name="T50" fmla="*/ 646113 w 507"/>
              <a:gd name="T51" fmla="*/ 138375 h 254"/>
              <a:gd name="T52" fmla="*/ 646113 w 507"/>
              <a:gd name="T53" fmla="*/ 146250 h 254"/>
              <a:gd name="T54" fmla="*/ 646113 w 507"/>
              <a:gd name="T55" fmla="*/ 155250 h 254"/>
              <a:gd name="T56" fmla="*/ 637192 w 507"/>
              <a:gd name="T57" fmla="*/ 163125 h 254"/>
              <a:gd name="T58" fmla="*/ 628272 w 507"/>
              <a:gd name="T59" fmla="*/ 171000 h 254"/>
              <a:gd name="T60" fmla="*/ 628272 w 507"/>
              <a:gd name="T61" fmla="*/ 178875 h 254"/>
              <a:gd name="T62" fmla="*/ 609156 w 507"/>
              <a:gd name="T63" fmla="*/ 187875 h 254"/>
              <a:gd name="T64" fmla="*/ 600235 w 507"/>
              <a:gd name="T65" fmla="*/ 195750 h 254"/>
              <a:gd name="T66" fmla="*/ 582394 w 507"/>
              <a:gd name="T67" fmla="*/ 203625 h 254"/>
              <a:gd name="T68" fmla="*/ 572199 w 507"/>
              <a:gd name="T69" fmla="*/ 211500 h 254"/>
              <a:gd name="T70" fmla="*/ 545437 w 507"/>
              <a:gd name="T71" fmla="*/ 220500 h 254"/>
              <a:gd name="T72" fmla="*/ 526321 w 507"/>
              <a:gd name="T73" fmla="*/ 228375 h 254"/>
              <a:gd name="T74" fmla="*/ 498284 w 507"/>
              <a:gd name="T75" fmla="*/ 236250 h 254"/>
              <a:gd name="T76" fmla="*/ 480443 w 507"/>
              <a:gd name="T77" fmla="*/ 244125 h 254"/>
              <a:gd name="T78" fmla="*/ 452407 w 507"/>
              <a:gd name="T79" fmla="*/ 253125 h 254"/>
              <a:gd name="T80" fmla="*/ 424370 w 507"/>
              <a:gd name="T81" fmla="*/ 253125 h 254"/>
              <a:gd name="T82" fmla="*/ 387413 w 507"/>
              <a:gd name="T83" fmla="*/ 261000 h 254"/>
              <a:gd name="T84" fmla="*/ 360651 w 507"/>
              <a:gd name="T85" fmla="*/ 268875 h 254"/>
              <a:gd name="T86" fmla="*/ 322419 w 507"/>
              <a:gd name="T87" fmla="*/ 268875 h 254"/>
              <a:gd name="T88" fmla="*/ 295657 w 507"/>
              <a:gd name="T89" fmla="*/ 276750 h 254"/>
              <a:gd name="T90" fmla="*/ 248505 w 507"/>
              <a:gd name="T91" fmla="*/ 276750 h 254"/>
              <a:gd name="T92" fmla="*/ 221743 w 507"/>
              <a:gd name="T93" fmla="*/ 285750 h 254"/>
              <a:gd name="T94" fmla="*/ 174591 w 507"/>
              <a:gd name="T95" fmla="*/ 285750 h 254"/>
              <a:gd name="T96" fmla="*/ 147829 w 507"/>
              <a:gd name="T97" fmla="*/ 285750 h 254"/>
              <a:gd name="T98" fmla="*/ 0 w 507"/>
              <a:gd name="T99" fmla="*/ 146250 h 254"/>
              <a:gd name="T100" fmla="*/ 0 w 507"/>
              <a:gd name="T101" fmla="*/ 0 h 254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507"/>
              <a:gd name="T154" fmla="*/ 0 h 254"/>
              <a:gd name="T155" fmla="*/ 507 w 507"/>
              <a:gd name="T156" fmla="*/ 254 h 254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507" h="254">
                <a:moveTo>
                  <a:pt x="0" y="0"/>
                </a:moveTo>
                <a:lnTo>
                  <a:pt x="29" y="0"/>
                </a:lnTo>
                <a:lnTo>
                  <a:pt x="65" y="0"/>
                </a:lnTo>
                <a:lnTo>
                  <a:pt x="87" y="0"/>
                </a:lnTo>
                <a:lnTo>
                  <a:pt x="123" y="0"/>
                </a:lnTo>
                <a:lnTo>
                  <a:pt x="152" y="7"/>
                </a:lnTo>
                <a:lnTo>
                  <a:pt x="181" y="7"/>
                </a:lnTo>
                <a:lnTo>
                  <a:pt x="210" y="7"/>
                </a:lnTo>
                <a:lnTo>
                  <a:pt x="239" y="15"/>
                </a:lnTo>
                <a:lnTo>
                  <a:pt x="261" y="15"/>
                </a:lnTo>
                <a:lnTo>
                  <a:pt x="290" y="22"/>
                </a:lnTo>
                <a:lnTo>
                  <a:pt x="312" y="29"/>
                </a:lnTo>
                <a:lnTo>
                  <a:pt x="341" y="29"/>
                </a:lnTo>
                <a:lnTo>
                  <a:pt x="355" y="36"/>
                </a:lnTo>
                <a:lnTo>
                  <a:pt x="384" y="44"/>
                </a:lnTo>
                <a:lnTo>
                  <a:pt x="399" y="51"/>
                </a:lnTo>
                <a:lnTo>
                  <a:pt x="420" y="58"/>
                </a:lnTo>
                <a:lnTo>
                  <a:pt x="435" y="58"/>
                </a:lnTo>
                <a:lnTo>
                  <a:pt x="449" y="73"/>
                </a:lnTo>
                <a:lnTo>
                  <a:pt x="464" y="73"/>
                </a:lnTo>
                <a:lnTo>
                  <a:pt x="478" y="87"/>
                </a:lnTo>
                <a:lnTo>
                  <a:pt x="486" y="87"/>
                </a:lnTo>
                <a:lnTo>
                  <a:pt x="493" y="101"/>
                </a:lnTo>
                <a:lnTo>
                  <a:pt x="500" y="109"/>
                </a:lnTo>
                <a:lnTo>
                  <a:pt x="500" y="116"/>
                </a:lnTo>
                <a:lnTo>
                  <a:pt x="507" y="123"/>
                </a:lnTo>
                <a:lnTo>
                  <a:pt x="507" y="130"/>
                </a:lnTo>
                <a:lnTo>
                  <a:pt x="507" y="138"/>
                </a:lnTo>
                <a:lnTo>
                  <a:pt x="500" y="145"/>
                </a:lnTo>
                <a:lnTo>
                  <a:pt x="493" y="152"/>
                </a:lnTo>
                <a:lnTo>
                  <a:pt x="493" y="159"/>
                </a:lnTo>
                <a:lnTo>
                  <a:pt x="478" y="167"/>
                </a:lnTo>
                <a:lnTo>
                  <a:pt x="471" y="174"/>
                </a:lnTo>
                <a:lnTo>
                  <a:pt x="457" y="181"/>
                </a:lnTo>
                <a:lnTo>
                  <a:pt x="449" y="188"/>
                </a:lnTo>
                <a:lnTo>
                  <a:pt x="428" y="196"/>
                </a:lnTo>
                <a:lnTo>
                  <a:pt x="413" y="203"/>
                </a:lnTo>
                <a:lnTo>
                  <a:pt x="391" y="210"/>
                </a:lnTo>
                <a:lnTo>
                  <a:pt x="377" y="217"/>
                </a:lnTo>
                <a:lnTo>
                  <a:pt x="355" y="225"/>
                </a:lnTo>
                <a:lnTo>
                  <a:pt x="333" y="225"/>
                </a:lnTo>
                <a:lnTo>
                  <a:pt x="304" y="232"/>
                </a:lnTo>
                <a:lnTo>
                  <a:pt x="283" y="239"/>
                </a:lnTo>
                <a:lnTo>
                  <a:pt x="253" y="239"/>
                </a:lnTo>
                <a:lnTo>
                  <a:pt x="232" y="246"/>
                </a:lnTo>
                <a:lnTo>
                  <a:pt x="195" y="246"/>
                </a:lnTo>
                <a:lnTo>
                  <a:pt x="174" y="254"/>
                </a:lnTo>
                <a:lnTo>
                  <a:pt x="137" y="254"/>
                </a:lnTo>
                <a:lnTo>
                  <a:pt x="116" y="254"/>
                </a:lnTo>
                <a:lnTo>
                  <a:pt x="0" y="130"/>
                </a:lnTo>
                <a:lnTo>
                  <a:pt x="0" y="0"/>
                </a:lnTo>
                <a:close/>
              </a:path>
            </a:pathLst>
          </a:custGeom>
          <a:solidFill>
            <a:srgbClr val="00800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065" name="Freeform 26"/>
          <p:cNvSpPr>
            <a:spLocks/>
          </p:cNvSpPr>
          <p:nvPr/>
        </p:nvSpPr>
        <p:spPr bwMode="auto">
          <a:xfrm>
            <a:off x="6948488" y="5441950"/>
            <a:ext cx="138112" cy="49213"/>
          </a:xfrm>
          <a:custGeom>
            <a:avLst/>
            <a:gdLst>
              <a:gd name="T0" fmla="*/ 52989359 w 15"/>
              <a:gd name="T1" fmla="*/ 0 h 6"/>
              <a:gd name="T2" fmla="*/ 38874214 w 15"/>
              <a:gd name="T3" fmla="*/ 0 h 6"/>
              <a:gd name="T4" fmla="*/ 0 w 15"/>
              <a:gd name="T5" fmla="*/ 18102184 h 6"/>
              <a:gd name="T6" fmla="*/ 0 60000 65536"/>
              <a:gd name="T7" fmla="*/ 0 60000 65536"/>
              <a:gd name="T8" fmla="*/ 0 60000 65536"/>
              <a:gd name="T9" fmla="*/ 0 w 15"/>
              <a:gd name="T10" fmla="*/ 0 h 6"/>
              <a:gd name="T11" fmla="*/ 15 w 15"/>
              <a:gd name="T12" fmla="*/ 6 h 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5" h="6">
                <a:moveTo>
                  <a:pt x="15" y="0"/>
                </a:moveTo>
                <a:lnTo>
                  <a:pt x="11" y="0"/>
                </a:lnTo>
                <a:lnTo>
                  <a:pt x="0" y="6"/>
                </a:lnTo>
              </a:path>
            </a:pathLst>
          </a:custGeom>
          <a:noFill/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066" name="Freeform 27"/>
          <p:cNvSpPr>
            <a:spLocks/>
          </p:cNvSpPr>
          <p:nvPr/>
        </p:nvSpPr>
        <p:spPr bwMode="auto">
          <a:xfrm>
            <a:off x="5857875" y="5613400"/>
            <a:ext cx="563563" cy="195263"/>
          </a:xfrm>
          <a:custGeom>
            <a:avLst/>
            <a:gdLst>
              <a:gd name="T0" fmla="*/ 563562 w 443"/>
              <a:gd name="T1" fmla="*/ 32544 h 174"/>
              <a:gd name="T2" fmla="*/ 516493 w 443"/>
              <a:gd name="T3" fmla="*/ 40399 h 174"/>
              <a:gd name="T4" fmla="*/ 489777 w 443"/>
              <a:gd name="T5" fmla="*/ 40399 h 174"/>
              <a:gd name="T6" fmla="*/ 442708 w 443"/>
              <a:gd name="T7" fmla="*/ 40399 h 174"/>
              <a:gd name="T8" fmla="*/ 405816 w 443"/>
              <a:gd name="T9" fmla="*/ 40399 h 174"/>
              <a:gd name="T10" fmla="*/ 360018 w 443"/>
              <a:gd name="T11" fmla="*/ 40399 h 174"/>
              <a:gd name="T12" fmla="*/ 314221 w 443"/>
              <a:gd name="T13" fmla="*/ 40399 h 174"/>
              <a:gd name="T14" fmla="*/ 286234 w 443"/>
              <a:gd name="T15" fmla="*/ 32544 h 174"/>
              <a:gd name="T16" fmla="*/ 240436 w 443"/>
              <a:gd name="T17" fmla="*/ 32544 h 174"/>
              <a:gd name="T18" fmla="*/ 212449 w 443"/>
              <a:gd name="T19" fmla="*/ 32544 h 174"/>
              <a:gd name="T20" fmla="*/ 166652 w 443"/>
              <a:gd name="T21" fmla="*/ 23566 h 174"/>
              <a:gd name="T22" fmla="*/ 129759 w 443"/>
              <a:gd name="T23" fmla="*/ 23566 h 174"/>
              <a:gd name="T24" fmla="*/ 92867 w 443"/>
              <a:gd name="T25" fmla="*/ 15711 h 174"/>
              <a:gd name="T26" fmla="*/ 55975 w 443"/>
              <a:gd name="T27" fmla="*/ 15711 h 174"/>
              <a:gd name="T28" fmla="*/ 27987 w 443"/>
              <a:gd name="T29" fmla="*/ 7855 h 174"/>
              <a:gd name="T30" fmla="*/ 0 w 443"/>
              <a:gd name="T31" fmla="*/ 0 h 174"/>
              <a:gd name="T32" fmla="*/ 0 w 443"/>
              <a:gd name="T33" fmla="*/ 153742 h 174"/>
              <a:gd name="T34" fmla="*/ 27987 w 443"/>
              <a:gd name="T35" fmla="*/ 162719 h 174"/>
              <a:gd name="T36" fmla="*/ 55975 w 443"/>
              <a:gd name="T37" fmla="*/ 170575 h 174"/>
              <a:gd name="T38" fmla="*/ 92867 w 443"/>
              <a:gd name="T39" fmla="*/ 170575 h 174"/>
              <a:gd name="T40" fmla="*/ 129759 w 443"/>
              <a:gd name="T41" fmla="*/ 178430 h 174"/>
              <a:gd name="T42" fmla="*/ 166652 w 443"/>
              <a:gd name="T43" fmla="*/ 178430 h 174"/>
              <a:gd name="T44" fmla="*/ 212449 w 443"/>
              <a:gd name="T45" fmla="*/ 186285 h 174"/>
              <a:gd name="T46" fmla="*/ 240436 w 443"/>
              <a:gd name="T47" fmla="*/ 186285 h 174"/>
              <a:gd name="T48" fmla="*/ 286234 w 443"/>
              <a:gd name="T49" fmla="*/ 186285 h 174"/>
              <a:gd name="T50" fmla="*/ 314221 w 443"/>
              <a:gd name="T51" fmla="*/ 195263 h 174"/>
              <a:gd name="T52" fmla="*/ 360018 w 443"/>
              <a:gd name="T53" fmla="*/ 195263 h 174"/>
              <a:gd name="T54" fmla="*/ 405816 w 443"/>
              <a:gd name="T55" fmla="*/ 195263 h 174"/>
              <a:gd name="T56" fmla="*/ 442708 w 443"/>
              <a:gd name="T57" fmla="*/ 195263 h 174"/>
              <a:gd name="T58" fmla="*/ 489777 w 443"/>
              <a:gd name="T59" fmla="*/ 195263 h 174"/>
              <a:gd name="T60" fmla="*/ 516493 w 443"/>
              <a:gd name="T61" fmla="*/ 195263 h 174"/>
              <a:gd name="T62" fmla="*/ 563562 w 443"/>
              <a:gd name="T63" fmla="*/ 186285 h 174"/>
              <a:gd name="T64" fmla="*/ 563562 w 443"/>
              <a:gd name="T65" fmla="*/ 32544 h 174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443"/>
              <a:gd name="T100" fmla="*/ 0 h 174"/>
              <a:gd name="T101" fmla="*/ 443 w 443"/>
              <a:gd name="T102" fmla="*/ 174 h 174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443" h="174">
                <a:moveTo>
                  <a:pt x="443" y="29"/>
                </a:moveTo>
                <a:lnTo>
                  <a:pt x="406" y="36"/>
                </a:lnTo>
                <a:lnTo>
                  <a:pt x="385" y="36"/>
                </a:lnTo>
                <a:lnTo>
                  <a:pt x="348" y="36"/>
                </a:lnTo>
                <a:lnTo>
                  <a:pt x="319" y="36"/>
                </a:lnTo>
                <a:lnTo>
                  <a:pt x="283" y="36"/>
                </a:lnTo>
                <a:lnTo>
                  <a:pt x="247" y="36"/>
                </a:lnTo>
                <a:lnTo>
                  <a:pt x="225" y="29"/>
                </a:lnTo>
                <a:lnTo>
                  <a:pt x="189" y="29"/>
                </a:lnTo>
                <a:lnTo>
                  <a:pt x="167" y="29"/>
                </a:lnTo>
                <a:lnTo>
                  <a:pt x="131" y="21"/>
                </a:lnTo>
                <a:lnTo>
                  <a:pt x="102" y="21"/>
                </a:lnTo>
                <a:lnTo>
                  <a:pt x="73" y="14"/>
                </a:lnTo>
                <a:lnTo>
                  <a:pt x="44" y="14"/>
                </a:lnTo>
                <a:lnTo>
                  <a:pt x="22" y="7"/>
                </a:lnTo>
                <a:lnTo>
                  <a:pt x="0" y="0"/>
                </a:lnTo>
                <a:lnTo>
                  <a:pt x="0" y="137"/>
                </a:lnTo>
                <a:lnTo>
                  <a:pt x="22" y="145"/>
                </a:lnTo>
                <a:lnTo>
                  <a:pt x="44" y="152"/>
                </a:lnTo>
                <a:lnTo>
                  <a:pt x="73" y="152"/>
                </a:lnTo>
                <a:lnTo>
                  <a:pt x="102" y="159"/>
                </a:lnTo>
                <a:lnTo>
                  <a:pt x="131" y="159"/>
                </a:lnTo>
                <a:lnTo>
                  <a:pt x="167" y="166"/>
                </a:lnTo>
                <a:lnTo>
                  <a:pt x="189" y="166"/>
                </a:lnTo>
                <a:lnTo>
                  <a:pt x="225" y="166"/>
                </a:lnTo>
                <a:lnTo>
                  <a:pt x="247" y="174"/>
                </a:lnTo>
                <a:lnTo>
                  <a:pt x="283" y="174"/>
                </a:lnTo>
                <a:lnTo>
                  <a:pt x="319" y="174"/>
                </a:lnTo>
                <a:lnTo>
                  <a:pt x="348" y="174"/>
                </a:lnTo>
                <a:lnTo>
                  <a:pt x="385" y="174"/>
                </a:lnTo>
                <a:lnTo>
                  <a:pt x="406" y="174"/>
                </a:lnTo>
                <a:lnTo>
                  <a:pt x="443" y="166"/>
                </a:lnTo>
                <a:lnTo>
                  <a:pt x="443" y="29"/>
                </a:lnTo>
                <a:close/>
              </a:path>
            </a:pathLst>
          </a:custGeom>
          <a:solidFill>
            <a:srgbClr val="80000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067" name="Freeform 28"/>
          <p:cNvSpPr>
            <a:spLocks/>
          </p:cNvSpPr>
          <p:nvPr/>
        </p:nvSpPr>
        <p:spPr bwMode="auto">
          <a:xfrm>
            <a:off x="5857875" y="5514975"/>
            <a:ext cx="563563" cy="147638"/>
          </a:xfrm>
          <a:custGeom>
            <a:avLst/>
            <a:gdLst>
              <a:gd name="T0" fmla="*/ 563562 w 443"/>
              <a:gd name="T1" fmla="*/ 139688 h 130"/>
              <a:gd name="T2" fmla="*/ 516493 w 443"/>
              <a:gd name="T3" fmla="*/ 147638 h 130"/>
              <a:gd name="T4" fmla="*/ 489777 w 443"/>
              <a:gd name="T5" fmla="*/ 147638 h 130"/>
              <a:gd name="T6" fmla="*/ 442708 w 443"/>
              <a:gd name="T7" fmla="*/ 147638 h 130"/>
              <a:gd name="T8" fmla="*/ 405816 w 443"/>
              <a:gd name="T9" fmla="*/ 147638 h 130"/>
              <a:gd name="T10" fmla="*/ 360018 w 443"/>
              <a:gd name="T11" fmla="*/ 147638 h 130"/>
              <a:gd name="T12" fmla="*/ 314221 w 443"/>
              <a:gd name="T13" fmla="*/ 147638 h 130"/>
              <a:gd name="T14" fmla="*/ 286234 w 443"/>
              <a:gd name="T15" fmla="*/ 139688 h 130"/>
              <a:gd name="T16" fmla="*/ 240436 w 443"/>
              <a:gd name="T17" fmla="*/ 139688 h 130"/>
              <a:gd name="T18" fmla="*/ 212449 w 443"/>
              <a:gd name="T19" fmla="*/ 139688 h 130"/>
              <a:gd name="T20" fmla="*/ 166652 w 443"/>
              <a:gd name="T21" fmla="*/ 131738 h 130"/>
              <a:gd name="T22" fmla="*/ 129759 w 443"/>
              <a:gd name="T23" fmla="*/ 131738 h 130"/>
              <a:gd name="T24" fmla="*/ 92867 w 443"/>
              <a:gd name="T25" fmla="*/ 122653 h 130"/>
              <a:gd name="T26" fmla="*/ 55975 w 443"/>
              <a:gd name="T27" fmla="*/ 122653 h 130"/>
              <a:gd name="T28" fmla="*/ 27987 w 443"/>
              <a:gd name="T29" fmla="*/ 114703 h 130"/>
              <a:gd name="T30" fmla="*/ 0 w 443"/>
              <a:gd name="T31" fmla="*/ 106754 h 130"/>
              <a:gd name="T32" fmla="*/ 415993 w 443"/>
              <a:gd name="T33" fmla="*/ 0 h 130"/>
              <a:gd name="T34" fmla="*/ 563562 w 443"/>
              <a:gd name="T35" fmla="*/ 139688 h 130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443"/>
              <a:gd name="T55" fmla="*/ 0 h 130"/>
              <a:gd name="T56" fmla="*/ 443 w 443"/>
              <a:gd name="T57" fmla="*/ 130 h 130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443" h="130">
                <a:moveTo>
                  <a:pt x="443" y="123"/>
                </a:moveTo>
                <a:lnTo>
                  <a:pt x="406" y="130"/>
                </a:lnTo>
                <a:lnTo>
                  <a:pt x="385" y="130"/>
                </a:lnTo>
                <a:lnTo>
                  <a:pt x="348" y="130"/>
                </a:lnTo>
                <a:lnTo>
                  <a:pt x="319" y="130"/>
                </a:lnTo>
                <a:lnTo>
                  <a:pt x="283" y="130"/>
                </a:lnTo>
                <a:lnTo>
                  <a:pt x="247" y="130"/>
                </a:lnTo>
                <a:lnTo>
                  <a:pt x="225" y="123"/>
                </a:lnTo>
                <a:lnTo>
                  <a:pt x="189" y="123"/>
                </a:lnTo>
                <a:lnTo>
                  <a:pt x="167" y="123"/>
                </a:lnTo>
                <a:lnTo>
                  <a:pt x="131" y="116"/>
                </a:lnTo>
                <a:lnTo>
                  <a:pt x="102" y="116"/>
                </a:lnTo>
                <a:lnTo>
                  <a:pt x="73" y="108"/>
                </a:lnTo>
                <a:lnTo>
                  <a:pt x="44" y="108"/>
                </a:lnTo>
                <a:lnTo>
                  <a:pt x="22" y="101"/>
                </a:lnTo>
                <a:lnTo>
                  <a:pt x="0" y="94"/>
                </a:lnTo>
                <a:lnTo>
                  <a:pt x="327" y="0"/>
                </a:lnTo>
                <a:lnTo>
                  <a:pt x="443" y="123"/>
                </a:lnTo>
                <a:close/>
              </a:path>
            </a:pathLst>
          </a:custGeom>
          <a:solidFill>
            <a:srgbClr val="FF000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068" name="Freeform 29"/>
          <p:cNvSpPr>
            <a:spLocks/>
          </p:cNvSpPr>
          <p:nvPr/>
        </p:nvSpPr>
        <p:spPr bwMode="auto">
          <a:xfrm>
            <a:off x="5930900" y="5808663"/>
            <a:ext cx="185738" cy="179387"/>
          </a:xfrm>
          <a:custGeom>
            <a:avLst/>
            <a:gdLst>
              <a:gd name="T0" fmla="*/ 0 w 20"/>
              <a:gd name="T1" fmla="*/ 67710447 h 22"/>
              <a:gd name="T2" fmla="*/ 0 w 20"/>
              <a:gd name="T3" fmla="*/ 55397964 h 22"/>
              <a:gd name="T4" fmla="*/ 70765788 w 20"/>
              <a:gd name="T5" fmla="*/ 0 h 22"/>
              <a:gd name="T6" fmla="*/ 0 60000 65536"/>
              <a:gd name="T7" fmla="*/ 0 60000 65536"/>
              <a:gd name="T8" fmla="*/ 0 60000 65536"/>
              <a:gd name="T9" fmla="*/ 0 w 20"/>
              <a:gd name="T10" fmla="*/ 0 h 22"/>
              <a:gd name="T11" fmla="*/ 20 w 20"/>
              <a:gd name="T12" fmla="*/ 22 h 22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0" h="22">
                <a:moveTo>
                  <a:pt x="0" y="22"/>
                </a:moveTo>
                <a:lnTo>
                  <a:pt x="0" y="18"/>
                </a:lnTo>
                <a:lnTo>
                  <a:pt x="20" y="0"/>
                </a:lnTo>
              </a:path>
            </a:pathLst>
          </a:custGeom>
          <a:noFill/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069" name="Rectangle 30"/>
          <p:cNvSpPr>
            <a:spLocks noChangeArrowheads="1"/>
          </p:cNvSpPr>
          <p:nvPr/>
        </p:nvSpPr>
        <p:spPr bwMode="auto">
          <a:xfrm>
            <a:off x="5053013" y="5099050"/>
            <a:ext cx="479298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altLang="ru-RU" sz="1400" dirty="0" smtClean="0">
                <a:solidFill>
                  <a:srgbClr val="0000FF"/>
                </a:solidFill>
                <a:latin typeface="Calibri" pitchFamily="34" charset="0"/>
                <a:cs typeface="Arial" charset="0"/>
              </a:rPr>
              <a:t>Export</a:t>
            </a:r>
            <a:endParaRPr lang="ru-RU" altLang="ru-RU" sz="1400" dirty="0">
              <a:cs typeface="Arial" charset="0"/>
            </a:endParaRPr>
          </a:p>
        </p:txBody>
      </p:sp>
      <p:sp>
        <p:nvSpPr>
          <p:cNvPr id="1070" name="Rectangle 31"/>
          <p:cNvSpPr>
            <a:spLocks noChangeArrowheads="1"/>
          </p:cNvSpPr>
          <p:nvPr/>
        </p:nvSpPr>
        <p:spPr bwMode="auto">
          <a:xfrm>
            <a:off x="4973638" y="5311775"/>
            <a:ext cx="588303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ru-RU" altLang="ru-RU" sz="1400" dirty="0" smtClean="0">
                <a:solidFill>
                  <a:srgbClr val="0000FF"/>
                </a:solidFill>
                <a:latin typeface="Calibri" pitchFamily="34" charset="0"/>
                <a:cs typeface="Arial" charset="0"/>
              </a:rPr>
              <a:t>228 912</a:t>
            </a:r>
            <a:endParaRPr lang="ru-RU" altLang="ru-RU" sz="1400" dirty="0">
              <a:solidFill>
                <a:srgbClr val="0000FF"/>
              </a:solidFill>
              <a:latin typeface="Calibri" pitchFamily="34" charset="0"/>
              <a:cs typeface="Arial" charset="0"/>
            </a:endParaRPr>
          </a:p>
        </p:txBody>
      </p:sp>
      <p:sp>
        <p:nvSpPr>
          <p:cNvPr id="1071" name="Rectangle 32"/>
          <p:cNvSpPr>
            <a:spLocks noChangeArrowheads="1"/>
          </p:cNvSpPr>
          <p:nvPr/>
        </p:nvSpPr>
        <p:spPr bwMode="auto">
          <a:xfrm>
            <a:off x="5664200" y="6035675"/>
            <a:ext cx="490134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altLang="ru-RU" sz="1400" dirty="0" smtClean="0">
                <a:solidFill>
                  <a:srgbClr val="0000FF"/>
                </a:solidFill>
                <a:latin typeface="Calibri" pitchFamily="34" charset="0"/>
                <a:cs typeface="Arial" charset="0"/>
              </a:rPr>
              <a:t>Transit</a:t>
            </a:r>
            <a:endParaRPr lang="ru-RU" altLang="ru-RU" sz="1400" dirty="0">
              <a:cs typeface="Arial" charset="0"/>
            </a:endParaRPr>
          </a:p>
        </p:txBody>
      </p:sp>
      <p:sp>
        <p:nvSpPr>
          <p:cNvPr id="1072" name="Rectangle 33"/>
          <p:cNvSpPr>
            <a:spLocks noChangeArrowheads="1"/>
          </p:cNvSpPr>
          <p:nvPr/>
        </p:nvSpPr>
        <p:spPr bwMode="auto">
          <a:xfrm>
            <a:off x="5681663" y="6246813"/>
            <a:ext cx="49693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ru-RU" altLang="ru-RU" sz="1400" dirty="0" smtClean="0">
                <a:solidFill>
                  <a:srgbClr val="0000FF"/>
                </a:solidFill>
                <a:latin typeface="Calibri" pitchFamily="34" charset="0"/>
                <a:cs typeface="Arial" charset="0"/>
              </a:rPr>
              <a:t>98 598</a:t>
            </a:r>
            <a:endParaRPr lang="ru-RU" altLang="ru-RU" sz="1400" dirty="0">
              <a:solidFill>
                <a:srgbClr val="0000FF"/>
              </a:solidFill>
              <a:latin typeface="Calibri" pitchFamily="34" charset="0"/>
              <a:cs typeface="Arial" charset="0"/>
            </a:endParaRPr>
          </a:p>
        </p:txBody>
      </p:sp>
      <p:sp>
        <p:nvSpPr>
          <p:cNvPr id="1073" name="Rectangle 34"/>
          <p:cNvSpPr>
            <a:spLocks noChangeArrowheads="1"/>
          </p:cNvSpPr>
          <p:nvPr/>
        </p:nvSpPr>
        <p:spPr bwMode="auto">
          <a:xfrm>
            <a:off x="7115175" y="5237163"/>
            <a:ext cx="50013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altLang="ru-RU" sz="1400" dirty="0" smtClean="0">
                <a:solidFill>
                  <a:srgbClr val="0000FF"/>
                </a:solidFill>
                <a:latin typeface="Calibri" pitchFamily="34" charset="0"/>
                <a:cs typeface="Arial" charset="0"/>
              </a:rPr>
              <a:t>Import</a:t>
            </a:r>
            <a:endParaRPr lang="ru-RU" altLang="ru-RU" sz="1400" dirty="0">
              <a:cs typeface="Arial" charset="0"/>
            </a:endParaRPr>
          </a:p>
        </p:txBody>
      </p:sp>
      <p:sp>
        <p:nvSpPr>
          <p:cNvPr id="1074" name="Rectangle 35"/>
          <p:cNvSpPr>
            <a:spLocks noChangeArrowheads="1"/>
          </p:cNvSpPr>
          <p:nvPr/>
        </p:nvSpPr>
        <p:spPr bwMode="auto">
          <a:xfrm>
            <a:off x="7121525" y="5449888"/>
            <a:ext cx="588303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ru-RU" altLang="ru-RU" sz="1400" dirty="0" smtClean="0">
                <a:solidFill>
                  <a:srgbClr val="0000FF"/>
                </a:solidFill>
                <a:latin typeface="Calibri" pitchFamily="34" charset="0"/>
                <a:cs typeface="Arial" charset="0"/>
              </a:rPr>
              <a:t>210 996</a:t>
            </a:r>
            <a:endParaRPr lang="ru-RU" altLang="ru-RU" sz="1400" dirty="0">
              <a:solidFill>
                <a:srgbClr val="0000FF"/>
              </a:solidFill>
              <a:latin typeface="Calibri" pitchFamily="34" charset="0"/>
              <a:cs typeface="Arial" charset="0"/>
            </a:endParaRPr>
          </a:p>
        </p:txBody>
      </p:sp>
      <p:sp>
        <p:nvSpPr>
          <p:cNvPr id="1075" name="Text Box 6"/>
          <p:cNvSpPr txBox="1">
            <a:spLocks noChangeArrowheads="1"/>
          </p:cNvSpPr>
          <p:nvPr/>
        </p:nvSpPr>
        <p:spPr bwMode="auto">
          <a:xfrm>
            <a:off x="6245225" y="6083300"/>
            <a:ext cx="813043" cy="3508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342900" indent="-342900">
              <a:lnSpc>
                <a:spcPct val="120000"/>
              </a:lnSpc>
              <a:spcBef>
                <a:spcPct val="20000"/>
              </a:spcBef>
            </a:pPr>
            <a:r>
              <a:rPr lang="en-US" altLang="ru-RU" sz="1400" u="sng" dirty="0" smtClean="0">
                <a:solidFill>
                  <a:srgbClr val="CC0000"/>
                </a:solidFill>
                <a:latin typeface="Calibri" pitchFamily="34" charset="0"/>
                <a:cs typeface="Arial" charset="0"/>
              </a:rPr>
              <a:t>+</a:t>
            </a:r>
            <a:r>
              <a:rPr lang="ru-RU" altLang="ru-RU" sz="1400" u="sng" dirty="0" smtClean="0">
                <a:solidFill>
                  <a:srgbClr val="CC0000"/>
                </a:solidFill>
                <a:latin typeface="Calibri" pitchFamily="34" charset="0"/>
                <a:cs typeface="Arial" charset="0"/>
              </a:rPr>
              <a:t>13,39</a:t>
            </a:r>
            <a:r>
              <a:rPr lang="en-US" altLang="ru-RU" sz="1400" u="sng" dirty="0" smtClean="0">
                <a:solidFill>
                  <a:srgbClr val="CC0000"/>
                </a:solidFill>
                <a:latin typeface="Calibri" pitchFamily="34" charset="0"/>
                <a:cs typeface="Arial" charset="0"/>
              </a:rPr>
              <a:t>%</a:t>
            </a:r>
            <a:endParaRPr lang="ru-RU" altLang="ru-RU" sz="1400" u="sng" dirty="0">
              <a:solidFill>
                <a:srgbClr val="CC0000"/>
              </a:solidFill>
              <a:latin typeface="Calibri" pitchFamily="34" charset="0"/>
              <a:cs typeface="Arial" charset="0"/>
            </a:endParaRPr>
          </a:p>
        </p:txBody>
      </p:sp>
      <p:sp>
        <p:nvSpPr>
          <p:cNvPr id="1076" name="Freeform 39"/>
          <p:cNvSpPr>
            <a:spLocks/>
          </p:cNvSpPr>
          <p:nvPr/>
        </p:nvSpPr>
        <p:spPr bwMode="auto">
          <a:xfrm>
            <a:off x="2911475" y="5408613"/>
            <a:ext cx="230188" cy="254000"/>
          </a:xfrm>
          <a:custGeom>
            <a:avLst/>
            <a:gdLst>
              <a:gd name="T0" fmla="*/ 230187 w 181"/>
              <a:gd name="T1" fmla="*/ 0 h 225"/>
              <a:gd name="T2" fmla="*/ 230187 w 181"/>
              <a:gd name="T3" fmla="*/ 7902 h 225"/>
              <a:gd name="T4" fmla="*/ 220013 w 181"/>
              <a:gd name="T5" fmla="*/ 15804 h 225"/>
              <a:gd name="T6" fmla="*/ 220013 w 181"/>
              <a:gd name="T7" fmla="*/ 24836 h 225"/>
              <a:gd name="T8" fmla="*/ 211111 w 181"/>
              <a:gd name="T9" fmla="*/ 32738 h 225"/>
              <a:gd name="T10" fmla="*/ 202208 w 181"/>
              <a:gd name="T11" fmla="*/ 40640 h 225"/>
              <a:gd name="T12" fmla="*/ 193306 w 181"/>
              <a:gd name="T13" fmla="*/ 48542 h 225"/>
              <a:gd name="T14" fmla="*/ 174230 w 181"/>
              <a:gd name="T15" fmla="*/ 57573 h 225"/>
              <a:gd name="T16" fmla="*/ 156425 w 181"/>
              <a:gd name="T17" fmla="*/ 57573 h 225"/>
              <a:gd name="T18" fmla="*/ 137349 w 181"/>
              <a:gd name="T19" fmla="*/ 73378 h 225"/>
              <a:gd name="T20" fmla="*/ 119545 w 181"/>
              <a:gd name="T21" fmla="*/ 73378 h 225"/>
              <a:gd name="T22" fmla="*/ 100468 w 181"/>
              <a:gd name="T23" fmla="*/ 81280 h 225"/>
              <a:gd name="T24" fmla="*/ 73762 w 181"/>
              <a:gd name="T25" fmla="*/ 90311 h 225"/>
              <a:gd name="T26" fmla="*/ 54685 w 181"/>
              <a:gd name="T27" fmla="*/ 98213 h 225"/>
              <a:gd name="T28" fmla="*/ 26707 w 181"/>
              <a:gd name="T29" fmla="*/ 98213 h 225"/>
              <a:gd name="T30" fmla="*/ 0 w 181"/>
              <a:gd name="T31" fmla="*/ 106116 h 225"/>
              <a:gd name="T32" fmla="*/ 0 w 181"/>
              <a:gd name="T33" fmla="*/ 254000 h 225"/>
              <a:gd name="T34" fmla="*/ 26707 w 181"/>
              <a:gd name="T35" fmla="*/ 244969 h 225"/>
              <a:gd name="T36" fmla="*/ 54685 w 181"/>
              <a:gd name="T37" fmla="*/ 244969 h 225"/>
              <a:gd name="T38" fmla="*/ 73762 w 181"/>
              <a:gd name="T39" fmla="*/ 237067 h 225"/>
              <a:gd name="T40" fmla="*/ 100468 w 181"/>
              <a:gd name="T41" fmla="*/ 229164 h 225"/>
              <a:gd name="T42" fmla="*/ 119545 w 181"/>
              <a:gd name="T43" fmla="*/ 221262 h 225"/>
              <a:gd name="T44" fmla="*/ 137349 w 181"/>
              <a:gd name="T45" fmla="*/ 221262 h 225"/>
              <a:gd name="T46" fmla="*/ 156425 w 181"/>
              <a:gd name="T47" fmla="*/ 204329 h 225"/>
              <a:gd name="T48" fmla="*/ 174230 w 181"/>
              <a:gd name="T49" fmla="*/ 204329 h 225"/>
              <a:gd name="T50" fmla="*/ 193306 w 181"/>
              <a:gd name="T51" fmla="*/ 196427 h 225"/>
              <a:gd name="T52" fmla="*/ 202208 w 181"/>
              <a:gd name="T53" fmla="*/ 188524 h 225"/>
              <a:gd name="T54" fmla="*/ 211111 w 181"/>
              <a:gd name="T55" fmla="*/ 179493 h 225"/>
              <a:gd name="T56" fmla="*/ 220013 w 181"/>
              <a:gd name="T57" fmla="*/ 171591 h 225"/>
              <a:gd name="T58" fmla="*/ 220013 w 181"/>
              <a:gd name="T59" fmla="*/ 163689 h 225"/>
              <a:gd name="T60" fmla="*/ 230187 w 181"/>
              <a:gd name="T61" fmla="*/ 155787 h 225"/>
              <a:gd name="T62" fmla="*/ 230187 w 181"/>
              <a:gd name="T63" fmla="*/ 146756 h 225"/>
              <a:gd name="T64" fmla="*/ 230187 w 181"/>
              <a:gd name="T65" fmla="*/ 0 h 225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181"/>
              <a:gd name="T100" fmla="*/ 0 h 225"/>
              <a:gd name="T101" fmla="*/ 181 w 181"/>
              <a:gd name="T102" fmla="*/ 225 h 225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181" h="225">
                <a:moveTo>
                  <a:pt x="181" y="0"/>
                </a:moveTo>
                <a:lnTo>
                  <a:pt x="181" y="7"/>
                </a:lnTo>
                <a:lnTo>
                  <a:pt x="173" y="14"/>
                </a:lnTo>
                <a:lnTo>
                  <a:pt x="173" y="22"/>
                </a:lnTo>
                <a:lnTo>
                  <a:pt x="166" y="29"/>
                </a:lnTo>
                <a:lnTo>
                  <a:pt x="159" y="36"/>
                </a:lnTo>
                <a:lnTo>
                  <a:pt x="152" y="43"/>
                </a:lnTo>
                <a:lnTo>
                  <a:pt x="137" y="51"/>
                </a:lnTo>
                <a:lnTo>
                  <a:pt x="123" y="51"/>
                </a:lnTo>
                <a:lnTo>
                  <a:pt x="108" y="65"/>
                </a:lnTo>
                <a:lnTo>
                  <a:pt x="94" y="65"/>
                </a:lnTo>
                <a:lnTo>
                  <a:pt x="79" y="72"/>
                </a:lnTo>
                <a:lnTo>
                  <a:pt x="58" y="80"/>
                </a:lnTo>
                <a:lnTo>
                  <a:pt x="43" y="87"/>
                </a:lnTo>
                <a:lnTo>
                  <a:pt x="21" y="87"/>
                </a:lnTo>
                <a:lnTo>
                  <a:pt x="0" y="94"/>
                </a:lnTo>
                <a:lnTo>
                  <a:pt x="0" y="225"/>
                </a:lnTo>
                <a:lnTo>
                  <a:pt x="21" y="217"/>
                </a:lnTo>
                <a:lnTo>
                  <a:pt x="43" y="217"/>
                </a:lnTo>
                <a:lnTo>
                  <a:pt x="58" y="210"/>
                </a:lnTo>
                <a:lnTo>
                  <a:pt x="79" y="203"/>
                </a:lnTo>
                <a:lnTo>
                  <a:pt x="94" y="196"/>
                </a:lnTo>
                <a:lnTo>
                  <a:pt x="108" y="196"/>
                </a:lnTo>
                <a:lnTo>
                  <a:pt x="123" y="181"/>
                </a:lnTo>
                <a:lnTo>
                  <a:pt x="137" y="181"/>
                </a:lnTo>
                <a:lnTo>
                  <a:pt x="152" y="174"/>
                </a:lnTo>
                <a:lnTo>
                  <a:pt x="159" y="167"/>
                </a:lnTo>
                <a:lnTo>
                  <a:pt x="166" y="159"/>
                </a:lnTo>
                <a:lnTo>
                  <a:pt x="173" y="152"/>
                </a:lnTo>
                <a:lnTo>
                  <a:pt x="173" y="145"/>
                </a:lnTo>
                <a:lnTo>
                  <a:pt x="181" y="138"/>
                </a:lnTo>
                <a:lnTo>
                  <a:pt x="181" y="130"/>
                </a:lnTo>
                <a:lnTo>
                  <a:pt x="181" y="0"/>
                </a:lnTo>
                <a:close/>
              </a:path>
            </a:pathLst>
          </a:custGeom>
          <a:solidFill>
            <a:srgbClr val="00400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077" name="Freeform 40"/>
          <p:cNvSpPr>
            <a:spLocks/>
          </p:cNvSpPr>
          <p:nvPr/>
        </p:nvSpPr>
        <p:spPr bwMode="auto">
          <a:xfrm>
            <a:off x="2522538" y="5408613"/>
            <a:ext cx="388937" cy="254000"/>
          </a:xfrm>
          <a:custGeom>
            <a:avLst/>
            <a:gdLst>
              <a:gd name="T0" fmla="*/ 0 w 305"/>
              <a:gd name="T1" fmla="*/ 0 h 225"/>
              <a:gd name="T2" fmla="*/ 388938 w 305"/>
              <a:gd name="T3" fmla="*/ 106116 h 225"/>
              <a:gd name="T4" fmla="*/ 388938 w 305"/>
              <a:gd name="T5" fmla="*/ 254000 h 225"/>
              <a:gd name="T6" fmla="*/ 0 w 305"/>
              <a:gd name="T7" fmla="*/ 146756 h 225"/>
              <a:gd name="T8" fmla="*/ 0 w 305"/>
              <a:gd name="T9" fmla="*/ 0 h 22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05"/>
              <a:gd name="T16" fmla="*/ 0 h 225"/>
              <a:gd name="T17" fmla="*/ 305 w 305"/>
              <a:gd name="T18" fmla="*/ 225 h 22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05" h="225">
                <a:moveTo>
                  <a:pt x="0" y="0"/>
                </a:moveTo>
                <a:lnTo>
                  <a:pt x="305" y="94"/>
                </a:lnTo>
                <a:lnTo>
                  <a:pt x="305" y="225"/>
                </a:lnTo>
                <a:lnTo>
                  <a:pt x="0" y="130"/>
                </a:lnTo>
                <a:lnTo>
                  <a:pt x="0" y="0"/>
                </a:lnTo>
                <a:close/>
              </a:path>
            </a:pathLst>
          </a:custGeom>
          <a:solidFill>
            <a:srgbClr val="00400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078" name="Freeform 41"/>
          <p:cNvSpPr>
            <a:spLocks/>
          </p:cNvSpPr>
          <p:nvPr/>
        </p:nvSpPr>
        <p:spPr bwMode="auto">
          <a:xfrm>
            <a:off x="2522538" y="5270500"/>
            <a:ext cx="619125" cy="252413"/>
          </a:xfrm>
          <a:custGeom>
            <a:avLst/>
            <a:gdLst>
              <a:gd name="T0" fmla="*/ 0 w 486"/>
              <a:gd name="T1" fmla="*/ 0 h 224"/>
              <a:gd name="T2" fmla="*/ 36944 w 486"/>
              <a:gd name="T3" fmla="*/ 0 h 224"/>
              <a:gd name="T4" fmla="*/ 73887 w 486"/>
              <a:gd name="T5" fmla="*/ 0 h 224"/>
              <a:gd name="T6" fmla="*/ 121022 w 486"/>
              <a:gd name="T7" fmla="*/ 0 h 224"/>
              <a:gd name="T8" fmla="*/ 147775 w 486"/>
              <a:gd name="T9" fmla="*/ 0 h 224"/>
              <a:gd name="T10" fmla="*/ 184718 w 486"/>
              <a:gd name="T11" fmla="*/ 7888 h 224"/>
              <a:gd name="T12" fmla="*/ 230579 w 486"/>
              <a:gd name="T13" fmla="*/ 7888 h 224"/>
              <a:gd name="T14" fmla="*/ 258606 w 486"/>
              <a:gd name="T15" fmla="*/ 7888 h 224"/>
              <a:gd name="T16" fmla="*/ 295549 w 486"/>
              <a:gd name="T17" fmla="*/ 15776 h 224"/>
              <a:gd name="T18" fmla="*/ 332493 w 486"/>
              <a:gd name="T19" fmla="*/ 24791 h 224"/>
              <a:gd name="T20" fmla="*/ 360519 w 486"/>
              <a:gd name="T21" fmla="*/ 24791 h 224"/>
              <a:gd name="T22" fmla="*/ 397463 w 486"/>
              <a:gd name="T23" fmla="*/ 32678 h 224"/>
              <a:gd name="T24" fmla="*/ 415298 w 486"/>
              <a:gd name="T25" fmla="*/ 32678 h 224"/>
              <a:gd name="T26" fmla="*/ 452242 w 486"/>
              <a:gd name="T27" fmla="*/ 40566 h 224"/>
              <a:gd name="T28" fmla="*/ 480268 w 486"/>
              <a:gd name="T29" fmla="*/ 48454 h 224"/>
              <a:gd name="T30" fmla="*/ 499377 w 486"/>
              <a:gd name="T31" fmla="*/ 57469 h 224"/>
              <a:gd name="T32" fmla="*/ 526129 w 486"/>
              <a:gd name="T33" fmla="*/ 65357 h 224"/>
              <a:gd name="T34" fmla="*/ 535046 w 486"/>
              <a:gd name="T35" fmla="*/ 73245 h 224"/>
              <a:gd name="T36" fmla="*/ 554155 w 486"/>
              <a:gd name="T37" fmla="*/ 81133 h 224"/>
              <a:gd name="T38" fmla="*/ 571990 w 486"/>
              <a:gd name="T39" fmla="*/ 90148 h 224"/>
              <a:gd name="T40" fmla="*/ 582181 w 486"/>
              <a:gd name="T41" fmla="*/ 98035 h 224"/>
              <a:gd name="T42" fmla="*/ 600016 w 486"/>
              <a:gd name="T43" fmla="*/ 105923 h 224"/>
              <a:gd name="T44" fmla="*/ 608934 w 486"/>
              <a:gd name="T45" fmla="*/ 113811 h 224"/>
              <a:gd name="T46" fmla="*/ 608934 w 486"/>
              <a:gd name="T47" fmla="*/ 122826 h 224"/>
              <a:gd name="T48" fmla="*/ 619125 w 486"/>
              <a:gd name="T49" fmla="*/ 130714 h 224"/>
              <a:gd name="T50" fmla="*/ 619125 w 486"/>
              <a:gd name="T51" fmla="*/ 138602 h 224"/>
              <a:gd name="T52" fmla="*/ 619125 w 486"/>
              <a:gd name="T53" fmla="*/ 146490 h 224"/>
              <a:gd name="T54" fmla="*/ 608934 w 486"/>
              <a:gd name="T55" fmla="*/ 163392 h 224"/>
              <a:gd name="T56" fmla="*/ 608934 w 486"/>
              <a:gd name="T57" fmla="*/ 171280 h 224"/>
              <a:gd name="T58" fmla="*/ 591099 w 486"/>
              <a:gd name="T59" fmla="*/ 179168 h 224"/>
              <a:gd name="T60" fmla="*/ 582181 w 486"/>
              <a:gd name="T61" fmla="*/ 187056 h 224"/>
              <a:gd name="T62" fmla="*/ 571990 w 486"/>
              <a:gd name="T63" fmla="*/ 196071 h 224"/>
              <a:gd name="T64" fmla="*/ 554155 w 486"/>
              <a:gd name="T65" fmla="*/ 203959 h 224"/>
              <a:gd name="T66" fmla="*/ 535046 w 486"/>
              <a:gd name="T67" fmla="*/ 211847 h 224"/>
              <a:gd name="T68" fmla="*/ 517211 w 486"/>
              <a:gd name="T69" fmla="*/ 219735 h 224"/>
              <a:gd name="T70" fmla="*/ 489185 w 486"/>
              <a:gd name="T71" fmla="*/ 228749 h 224"/>
              <a:gd name="T72" fmla="*/ 471350 w 486"/>
              <a:gd name="T73" fmla="*/ 228749 h 224"/>
              <a:gd name="T74" fmla="*/ 443324 w 486"/>
              <a:gd name="T75" fmla="*/ 236637 h 224"/>
              <a:gd name="T76" fmla="*/ 415298 w 486"/>
              <a:gd name="T77" fmla="*/ 244525 h 224"/>
              <a:gd name="T78" fmla="*/ 388546 w 486"/>
              <a:gd name="T79" fmla="*/ 252413 h 224"/>
              <a:gd name="T80" fmla="*/ 0 w 486"/>
              <a:gd name="T81" fmla="*/ 138602 h 224"/>
              <a:gd name="T82" fmla="*/ 0 w 486"/>
              <a:gd name="T83" fmla="*/ 0 h 224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486"/>
              <a:gd name="T127" fmla="*/ 0 h 224"/>
              <a:gd name="T128" fmla="*/ 486 w 486"/>
              <a:gd name="T129" fmla="*/ 224 h 224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486" h="224">
                <a:moveTo>
                  <a:pt x="0" y="0"/>
                </a:moveTo>
                <a:lnTo>
                  <a:pt x="29" y="0"/>
                </a:lnTo>
                <a:lnTo>
                  <a:pt x="58" y="0"/>
                </a:lnTo>
                <a:lnTo>
                  <a:pt x="95" y="0"/>
                </a:lnTo>
                <a:lnTo>
                  <a:pt x="116" y="0"/>
                </a:lnTo>
                <a:lnTo>
                  <a:pt x="145" y="7"/>
                </a:lnTo>
                <a:lnTo>
                  <a:pt x="181" y="7"/>
                </a:lnTo>
                <a:lnTo>
                  <a:pt x="203" y="7"/>
                </a:lnTo>
                <a:lnTo>
                  <a:pt x="232" y="14"/>
                </a:lnTo>
                <a:lnTo>
                  <a:pt x="261" y="22"/>
                </a:lnTo>
                <a:lnTo>
                  <a:pt x="283" y="22"/>
                </a:lnTo>
                <a:lnTo>
                  <a:pt x="312" y="29"/>
                </a:lnTo>
                <a:lnTo>
                  <a:pt x="326" y="29"/>
                </a:lnTo>
                <a:lnTo>
                  <a:pt x="355" y="36"/>
                </a:lnTo>
                <a:lnTo>
                  <a:pt x="377" y="43"/>
                </a:lnTo>
                <a:lnTo>
                  <a:pt x="392" y="51"/>
                </a:lnTo>
                <a:lnTo>
                  <a:pt x="413" y="58"/>
                </a:lnTo>
                <a:lnTo>
                  <a:pt x="420" y="65"/>
                </a:lnTo>
                <a:lnTo>
                  <a:pt x="435" y="72"/>
                </a:lnTo>
                <a:lnTo>
                  <a:pt x="449" y="80"/>
                </a:lnTo>
                <a:lnTo>
                  <a:pt x="457" y="87"/>
                </a:lnTo>
                <a:lnTo>
                  <a:pt x="471" y="94"/>
                </a:lnTo>
                <a:lnTo>
                  <a:pt x="478" y="101"/>
                </a:lnTo>
                <a:lnTo>
                  <a:pt x="478" y="109"/>
                </a:lnTo>
                <a:lnTo>
                  <a:pt x="486" y="116"/>
                </a:lnTo>
                <a:lnTo>
                  <a:pt x="486" y="123"/>
                </a:lnTo>
                <a:lnTo>
                  <a:pt x="486" y="130"/>
                </a:lnTo>
                <a:lnTo>
                  <a:pt x="478" y="145"/>
                </a:lnTo>
                <a:lnTo>
                  <a:pt x="478" y="152"/>
                </a:lnTo>
                <a:lnTo>
                  <a:pt x="464" y="159"/>
                </a:lnTo>
                <a:lnTo>
                  <a:pt x="457" y="166"/>
                </a:lnTo>
                <a:lnTo>
                  <a:pt x="449" y="174"/>
                </a:lnTo>
                <a:lnTo>
                  <a:pt x="435" y="181"/>
                </a:lnTo>
                <a:lnTo>
                  <a:pt x="420" y="188"/>
                </a:lnTo>
                <a:lnTo>
                  <a:pt x="406" y="195"/>
                </a:lnTo>
                <a:lnTo>
                  <a:pt x="384" y="203"/>
                </a:lnTo>
                <a:lnTo>
                  <a:pt x="370" y="203"/>
                </a:lnTo>
                <a:lnTo>
                  <a:pt x="348" y="210"/>
                </a:lnTo>
                <a:lnTo>
                  <a:pt x="326" y="217"/>
                </a:lnTo>
                <a:lnTo>
                  <a:pt x="305" y="224"/>
                </a:lnTo>
                <a:lnTo>
                  <a:pt x="0" y="123"/>
                </a:lnTo>
                <a:lnTo>
                  <a:pt x="0" y="0"/>
                </a:lnTo>
                <a:close/>
              </a:path>
            </a:pathLst>
          </a:custGeom>
          <a:solidFill>
            <a:srgbClr val="00800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079" name="Freeform 42"/>
          <p:cNvSpPr>
            <a:spLocks/>
          </p:cNvSpPr>
          <p:nvPr/>
        </p:nvSpPr>
        <p:spPr bwMode="auto">
          <a:xfrm>
            <a:off x="3105150" y="5238750"/>
            <a:ext cx="109538" cy="122238"/>
          </a:xfrm>
          <a:custGeom>
            <a:avLst/>
            <a:gdLst>
              <a:gd name="T0" fmla="*/ 41760986 w 12"/>
              <a:gd name="T1" fmla="*/ 0 h 15"/>
              <a:gd name="T2" fmla="*/ 27858910 w 12"/>
              <a:gd name="T3" fmla="*/ 0 h 15"/>
              <a:gd name="T4" fmla="*/ 0 w 12"/>
              <a:gd name="T5" fmla="*/ 46898650 h 15"/>
              <a:gd name="T6" fmla="*/ 0 60000 65536"/>
              <a:gd name="T7" fmla="*/ 0 60000 65536"/>
              <a:gd name="T8" fmla="*/ 0 60000 65536"/>
              <a:gd name="T9" fmla="*/ 0 w 12"/>
              <a:gd name="T10" fmla="*/ 0 h 15"/>
              <a:gd name="T11" fmla="*/ 12 w 12"/>
              <a:gd name="T12" fmla="*/ 15 h 15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2" h="15">
                <a:moveTo>
                  <a:pt x="12" y="0"/>
                </a:moveTo>
                <a:lnTo>
                  <a:pt x="8" y="0"/>
                </a:lnTo>
                <a:lnTo>
                  <a:pt x="0" y="15"/>
                </a:lnTo>
              </a:path>
            </a:pathLst>
          </a:custGeom>
          <a:noFill/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080" name="Freeform 43"/>
          <p:cNvSpPr>
            <a:spLocks/>
          </p:cNvSpPr>
          <p:nvPr/>
        </p:nvSpPr>
        <p:spPr bwMode="auto">
          <a:xfrm>
            <a:off x="1849438" y="5408613"/>
            <a:ext cx="415925" cy="276225"/>
          </a:xfrm>
          <a:custGeom>
            <a:avLst/>
            <a:gdLst>
              <a:gd name="T0" fmla="*/ 415925 w 326"/>
              <a:gd name="T1" fmla="*/ 130252 h 246"/>
              <a:gd name="T2" fmla="*/ 387856 w 326"/>
              <a:gd name="T3" fmla="*/ 130252 h 246"/>
              <a:gd name="T4" fmla="*/ 341926 w 326"/>
              <a:gd name="T5" fmla="*/ 122392 h 246"/>
              <a:gd name="T6" fmla="*/ 313857 w 326"/>
              <a:gd name="T7" fmla="*/ 122392 h 246"/>
              <a:gd name="T8" fmla="*/ 276858 w 326"/>
              <a:gd name="T9" fmla="*/ 113409 h 246"/>
              <a:gd name="T10" fmla="*/ 248789 w 326"/>
              <a:gd name="T11" fmla="*/ 113409 h 246"/>
              <a:gd name="T12" fmla="*/ 230928 w 326"/>
              <a:gd name="T13" fmla="*/ 105549 h 246"/>
              <a:gd name="T14" fmla="*/ 193928 w 326"/>
              <a:gd name="T15" fmla="*/ 97689 h 246"/>
              <a:gd name="T16" fmla="*/ 174791 w 326"/>
              <a:gd name="T17" fmla="*/ 97689 h 246"/>
              <a:gd name="T18" fmla="*/ 147998 w 326"/>
              <a:gd name="T19" fmla="*/ 89829 h 246"/>
              <a:gd name="T20" fmla="*/ 119929 w 326"/>
              <a:gd name="T21" fmla="*/ 80846 h 246"/>
              <a:gd name="T22" fmla="*/ 100792 w 326"/>
              <a:gd name="T23" fmla="*/ 72986 h 246"/>
              <a:gd name="T24" fmla="*/ 82930 w 326"/>
              <a:gd name="T25" fmla="*/ 65126 h 246"/>
              <a:gd name="T26" fmla="*/ 63792 w 326"/>
              <a:gd name="T27" fmla="*/ 57266 h 246"/>
              <a:gd name="T28" fmla="*/ 54861 w 326"/>
              <a:gd name="T29" fmla="*/ 57266 h 246"/>
              <a:gd name="T30" fmla="*/ 36999 w 326"/>
              <a:gd name="T31" fmla="*/ 48283 h 246"/>
              <a:gd name="T32" fmla="*/ 28069 w 326"/>
              <a:gd name="T33" fmla="*/ 40423 h 246"/>
              <a:gd name="T34" fmla="*/ 17862 w 326"/>
              <a:gd name="T35" fmla="*/ 32563 h 246"/>
              <a:gd name="T36" fmla="*/ 8931 w 326"/>
              <a:gd name="T37" fmla="*/ 24703 h 246"/>
              <a:gd name="T38" fmla="*/ 0 w 326"/>
              <a:gd name="T39" fmla="*/ 15720 h 246"/>
              <a:gd name="T40" fmla="*/ 0 w 326"/>
              <a:gd name="T41" fmla="*/ 7860 h 246"/>
              <a:gd name="T42" fmla="*/ 0 w 326"/>
              <a:gd name="T43" fmla="*/ 0 h 246"/>
              <a:gd name="T44" fmla="*/ 0 w 326"/>
              <a:gd name="T45" fmla="*/ 145973 h 246"/>
              <a:gd name="T46" fmla="*/ 0 w 326"/>
              <a:gd name="T47" fmla="*/ 154956 h 246"/>
              <a:gd name="T48" fmla="*/ 0 w 326"/>
              <a:gd name="T49" fmla="*/ 162816 h 246"/>
              <a:gd name="T50" fmla="*/ 8931 w 326"/>
              <a:gd name="T51" fmla="*/ 170676 h 246"/>
              <a:gd name="T52" fmla="*/ 17862 w 326"/>
              <a:gd name="T53" fmla="*/ 178536 h 246"/>
              <a:gd name="T54" fmla="*/ 28069 w 326"/>
              <a:gd name="T55" fmla="*/ 187519 h 246"/>
              <a:gd name="T56" fmla="*/ 36999 w 326"/>
              <a:gd name="T57" fmla="*/ 195379 h 246"/>
              <a:gd name="T58" fmla="*/ 54861 w 326"/>
              <a:gd name="T59" fmla="*/ 203239 h 246"/>
              <a:gd name="T60" fmla="*/ 63792 w 326"/>
              <a:gd name="T61" fmla="*/ 203239 h 246"/>
              <a:gd name="T62" fmla="*/ 82930 w 326"/>
              <a:gd name="T63" fmla="*/ 211099 h 246"/>
              <a:gd name="T64" fmla="*/ 100792 w 326"/>
              <a:gd name="T65" fmla="*/ 220082 h 246"/>
              <a:gd name="T66" fmla="*/ 119929 w 326"/>
              <a:gd name="T67" fmla="*/ 227942 h 246"/>
              <a:gd name="T68" fmla="*/ 147998 w 326"/>
              <a:gd name="T69" fmla="*/ 235802 h 246"/>
              <a:gd name="T70" fmla="*/ 174791 w 326"/>
              <a:gd name="T71" fmla="*/ 243662 h 246"/>
              <a:gd name="T72" fmla="*/ 193928 w 326"/>
              <a:gd name="T73" fmla="*/ 243662 h 246"/>
              <a:gd name="T74" fmla="*/ 230928 w 326"/>
              <a:gd name="T75" fmla="*/ 252645 h 246"/>
              <a:gd name="T76" fmla="*/ 248789 w 326"/>
              <a:gd name="T77" fmla="*/ 260505 h 246"/>
              <a:gd name="T78" fmla="*/ 276858 w 326"/>
              <a:gd name="T79" fmla="*/ 260505 h 246"/>
              <a:gd name="T80" fmla="*/ 313857 w 326"/>
              <a:gd name="T81" fmla="*/ 268365 h 246"/>
              <a:gd name="T82" fmla="*/ 341926 w 326"/>
              <a:gd name="T83" fmla="*/ 268365 h 246"/>
              <a:gd name="T84" fmla="*/ 387856 w 326"/>
              <a:gd name="T85" fmla="*/ 276225 h 246"/>
              <a:gd name="T86" fmla="*/ 415925 w 326"/>
              <a:gd name="T87" fmla="*/ 276225 h 246"/>
              <a:gd name="T88" fmla="*/ 415925 w 326"/>
              <a:gd name="T89" fmla="*/ 130252 h 24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326"/>
              <a:gd name="T136" fmla="*/ 0 h 246"/>
              <a:gd name="T137" fmla="*/ 326 w 326"/>
              <a:gd name="T138" fmla="*/ 246 h 24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326" h="246">
                <a:moveTo>
                  <a:pt x="326" y="116"/>
                </a:moveTo>
                <a:lnTo>
                  <a:pt x="304" y="116"/>
                </a:lnTo>
                <a:lnTo>
                  <a:pt x="268" y="109"/>
                </a:lnTo>
                <a:lnTo>
                  <a:pt x="246" y="109"/>
                </a:lnTo>
                <a:lnTo>
                  <a:pt x="217" y="101"/>
                </a:lnTo>
                <a:lnTo>
                  <a:pt x="195" y="101"/>
                </a:lnTo>
                <a:lnTo>
                  <a:pt x="181" y="94"/>
                </a:lnTo>
                <a:lnTo>
                  <a:pt x="152" y="87"/>
                </a:lnTo>
                <a:lnTo>
                  <a:pt x="137" y="87"/>
                </a:lnTo>
                <a:lnTo>
                  <a:pt x="116" y="80"/>
                </a:lnTo>
                <a:lnTo>
                  <a:pt x="94" y="72"/>
                </a:lnTo>
                <a:lnTo>
                  <a:pt x="79" y="65"/>
                </a:lnTo>
                <a:lnTo>
                  <a:pt x="65" y="58"/>
                </a:lnTo>
                <a:lnTo>
                  <a:pt x="50" y="51"/>
                </a:lnTo>
                <a:lnTo>
                  <a:pt x="43" y="51"/>
                </a:lnTo>
                <a:lnTo>
                  <a:pt x="29" y="43"/>
                </a:lnTo>
                <a:lnTo>
                  <a:pt x="22" y="36"/>
                </a:lnTo>
                <a:lnTo>
                  <a:pt x="14" y="29"/>
                </a:lnTo>
                <a:lnTo>
                  <a:pt x="7" y="22"/>
                </a:lnTo>
                <a:lnTo>
                  <a:pt x="0" y="14"/>
                </a:lnTo>
                <a:lnTo>
                  <a:pt x="0" y="7"/>
                </a:lnTo>
                <a:lnTo>
                  <a:pt x="0" y="0"/>
                </a:lnTo>
                <a:lnTo>
                  <a:pt x="0" y="130"/>
                </a:lnTo>
                <a:lnTo>
                  <a:pt x="0" y="138"/>
                </a:lnTo>
                <a:lnTo>
                  <a:pt x="0" y="145"/>
                </a:lnTo>
                <a:lnTo>
                  <a:pt x="7" y="152"/>
                </a:lnTo>
                <a:lnTo>
                  <a:pt x="14" y="159"/>
                </a:lnTo>
                <a:lnTo>
                  <a:pt x="22" y="167"/>
                </a:lnTo>
                <a:lnTo>
                  <a:pt x="29" y="174"/>
                </a:lnTo>
                <a:lnTo>
                  <a:pt x="43" y="181"/>
                </a:lnTo>
                <a:lnTo>
                  <a:pt x="50" y="181"/>
                </a:lnTo>
                <a:lnTo>
                  <a:pt x="65" y="188"/>
                </a:lnTo>
                <a:lnTo>
                  <a:pt x="79" y="196"/>
                </a:lnTo>
                <a:lnTo>
                  <a:pt x="94" y="203"/>
                </a:lnTo>
                <a:lnTo>
                  <a:pt x="116" y="210"/>
                </a:lnTo>
                <a:lnTo>
                  <a:pt x="137" y="217"/>
                </a:lnTo>
                <a:lnTo>
                  <a:pt x="152" y="217"/>
                </a:lnTo>
                <a:lnTo>
                  <a:pt x="181" y="225"/>
                </a:lnTo>
                <a:lnTo>
                  <a:pt x="195" y="232"/>
                </a:lnTo>
                <a:lnTo>
                  <a:pt x="217" y="232"/>
                </a:lnTo>
                <a:lnTo>
                  <a:pt x="246" y="239"/>
                </a:lnTo>
                <a:lnTo>
                  <a:pt x="268" y="239"/>
                </a:lnTo>
                <a:lnTo>
                  <a:pt x="304" y="246"/>
                </a:lnTo>
                <a:lnTo>
                  <a:pt x="326" y="246"/>
                </a:lnTo>
                <a:lnTo>
                  <a:pt x="326" y="116"/>
                </a:lnTo>
                <a:close/>
              </a:path>
            </a:pathLst>
          </a:custGeom>
          <a:solidFill>
            <a:srgbClr val="80800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081" name="Freeform 44"/>
          <p:cNvSpPr>
            <a:spLocks/>
          </p:cNvSpPr>
          <p:nvPr/>
        </p:nvSpPr>
        <p:spPr bwMode="auto">
          <a:xfrm>
            <a:off x="2265363" y="5408613"/>
            <a:ext cx="201612" cy="276225"/>
          </a:xfrm>
          <a:custGeom>
            <a:avLst/>
            <a:gdLst>
              <a:gd name="T0" fmla="*/ 201613 w 159"/>
              <a:gd name="T1" fmla="*/ 0 h 246"/>
              <a:gd name="T2" fmla="*/ 0 w 159"/>
              <a:gd name="T3" fmla="*/ 130252 h 246"/>
              <a:gd name="T4" fmla="*/ 0 w 159"/>
              <a:gd name="T5" fmla="*/ 276225 h 246"/>
              <a:gd name="T6" fmla="*/ 201613 w 159"/>
              <a:gd name="T7" fmla="*/ 145973 h 246"/>
              <a:gd name="T8" fmla="*/ 201613 w 159"/>
              <a:gd name="T9" fmla="*/ 0 h 24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59"/>
              <a:gd name="T16" fmla="*/ 0 h 246"/>
              <a:gd name="T17" fmla="*/ 159 w 159"/>
              <a:gd name="T18" fmla="*/ 246 h 24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59" h="246">
                <a:moveTo>
                  <a:pt x="159" y="0"/>
                </a:moveTo>
                <a:lnTo>
                  <a:pt x="0" y="116"/>
                </a:lnTo>
                <a:lnTo>
                  <a:pt x="0" y="246"/>
                </a:lnTo>
                <a:lnTo>
                  <a:pt x="159" y="130"/>
                </a:lnTo>
                <a:lnTo>
                  <a:pt x="159" y="0"/>
                </a:lnTo>
                <a:close/>
              </a:path>
            </a:pathLst>
          </a:custGeom>
          <a:solidFill>
            <a:srgbClr val="80800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082" name="Freeform 45"/>
          <p:cNvSpPr>
            <a:spLocks/>
          </p:cNvSpPr>
          <p:nvPr/>
        </p:nvSpPr>
        <p:spPr bwMode="auto">
          <a:xfrm>
            <a:off x="1849438" y="5270500"/>
            <a:ext cx="617537" cy="276225"/>
          </a:xfrm>
          <a:custGeom>
            <a:avLst/>
            <a:gdLst>
              <a:gd name="T0" fmla="*/ 415087 w 485"/>
              <a:gd name="T1" fmla="*/ 276225 h 246"/>
              <a:gd name="T2" fmla="*/ 378163 w 485"/>
              <a:gd name="T3" fmla="*/ 268365 h 246"/>
              <a:gd name="T4" fmla="*/ 341238 w 485"/>
              <a:gd name="T5" fmla="*/ 268365 h 246"/>
              <a:gd name="T6" fmla="*/ 304313 w 485"/>
              <a:gd name="T7" fmla="*/ 260505 h 246"/>
              <a:gd name="T8" fmla="*/ 276301 w 485"/>
              <a:gd name="T9" fmla="*/ 260505 h 246"/>
              <a:gd name="T10" fmla="*/ 239376 w 485"/>
              <a:gd name="T11" fmla="*/ 251522 h 246"/>
              <a:gd name="T12" fmla="*/ 221550 w 485"/>
              <a:gd name="T13" fmla="*/ 251522 h 246"/>
              <a:gd name="T14" fmla="*/ 184625 w 485"/>
              <a:gd name="T15" fmla="*/ 243662 h 246"/>
              <a:gd name="T16" fmla="*/ 156613 w 485"/>
              <a:gd name="T17" fmla="*/ 235802 h 246"/>
              <a:gd name="T18" fmla="*/ 137514 w 485"/>
              <a:gd name="T19" fmla="*/ 227942 h 246"/>
              <a:gd name="T20" fmla="*/ 110775 w 485"/>
              <a:gd name="T21" fmla="*/ 218959 h 246"/>
              <a:gd name="T22" fmla="*/ 91676 w 485"/>
              <a:gd name="T23" fmla="*/ 218959 h 246"/>
              <a:gd name="T24" fmla="*/ 73850 w 485"/>
              <a:gd name="T25" fmla="*/ 203239 h 246"/>
              <a:gd name="T26" fmla="*/ 54751 w 485"/>
              <a:gd name="T27" fmla="*/ 195379 h 246"/>
              <a:gd name="T28" fmla="*/ 36925 w 485"/>
              <a:gd name="T29" fmla="*/ 195379 h 246"/>
              <a:gd name="T30" fmla="*/ 28012 w 485"/>
              <a:gd name="T31" fmla="*/ 178536 h 246"/>
              <a:gd name="T32" fmla="*/ 17826 w 485"/>
              <a:gd name="T33" fmla="*/ 170676 h 246"/>
              <a:gd name="T34" fmla="*/ 8913 w 485"/>
              <a:gd name="T35" fmla="*/ 162816 h 246"/>
              <a:gd name="T36" fmla="*/ 0 w 485"/>
              <a:gd name="T37" fmla="*/ 153833 h 246"/>
              <a:gd name="T38" fmla="*/ 0 w 485"/>
              <a:gd name="T39" fmla="*/ 145973 h 246"/>
              <a:gd name="T40" fmla="*/ 0 w 485"/>
              <a:gd name="T41" fmla="*/ 138113 h 246"/>
              <a:gd name="T42" fmla="*/ 0 w 485"/>
              <a:gd name="T43" fmla="*/ 130252 h 246"/>
              <a:gd name="T44" fmla="*/ 0 w 485"/>
              <a:gd name="T45" fmla="*/ 122392 h 246"/>
              <a:gd name="T46" fmla="*/ 8913 w 485"/>
              <a:gd name="T47" fmla="*/ 113409 h 246"/>
              <a:gd name="T48" fmla="*/ 17826 w 485"/>
              <a:gd name="T49" fmla="*/ 105549 h 246"/>
              <a:gd name="T50" fmla="*/ 28012 w 485"/>
              <a:gd name="T51" fmla="*/ 97689 h 246"/>
              <a:gd name="T52" fmla="*/ 45838 w 485"/>
              <a:gd name="T53" fmla="*/ 89829 h 246"/>
              <a:gd name="T54" fmla="*/ 63664 w 485"/>
              <a:gd name="T55" fmla="*/ 80846 h 246"/>
              <a:gd name="T56" fmla="*/ 73850 w 485"/>
              <a:gd name="T57" fmla="*/ 72986 h 246"/>
              <a:gd name="T58" fmla="*/ 100589 w 485"/>
              <a:gd name="T59" fmla="*/ 65126 h 246"/>
              <a:gd name="T60" fmla="*/ 119688 w 485"/>
              <a:gd name="T61" fmla="*/ 57266 h 246"/>
              <a:gd name="T62" fmla="*/ 137514 w 485"/>
              <a:gd name="T63" fmla="*/ 48283 h 246"/>
              <a:gd name="T64" fmla="*/ 165526 w 485"/>
              <a:gd name="T65" fmla="*/ 40423 h 246"/>
              <a:gd name="T66" fmla="*/ 193538 w 485"/>
              <a:gd name="T67" fmla="*/ 32563 h 246"/>
              <a:gd name="T68" fmla="*/ 230463 w 485"/>
              <a:gd name="T69" fmla="*/ 32563 h 246"/>
              <a:gd name="T70" fmla="*/ 248288 w 485"/>
              <a:gd name="T71" fmla="*/ 24703 h 246"/>
              <a:gd name="T72" fmla="*/ 285213 w 485"/>
              <a:gd name="T73" fmla="*/ 15720 h 246"/>
              <a:gd name="T74" fmla="*/ 313225 w 485"/>
              <a:gd name="T75" fmla="*/ 15720 h 246"/>
              <a:gd name="T76" fmla="*/ 350150 w 485"/>
              <a:gd name="T77" fmla="*/ 7860 h 246"/>
              <a:gd name="T78" fmla="*/ 395988 w 485"/>
              <a:gd name="T79" fmla="*/ 7860 h 246"/>
              <a:gd name="T80" fmla="*/ 424000 w 485"/>
              <a:gd name="T81" fmla="*/ 7860 h 246"/>
              <a:gd name="T82" fmla="*/ 469838 w 485"/>
              <a:gd name="T83" fmla="*/ 0 h 246"/>
              <a:gd name="T84" fmla="*/ 497850 w 485"/>
              <a:gd name="T85" fmla="*/ 0 h 246"/>
              <a:gd name="T86" fmla="*/ 543688 w 485"/>
              <a:gd name="T87" fmla="*/ 0 h 246"/>
              <a:gd name="T88" fmla="*/ 571700 w 485"/>
              <a:gd name="T89" fmla="*/ 0 h 246"/>
              <a:gd name="T90" fmla="*/ 617538 w 485"/>
              <a:gd name="T91" fmla="*/ 0 h 246"/>
              <a:gd name="T92" fmla="*/ 617538 w 485"/>
              <a:gd name="T93" fmla="*/ 138113 h 246"/>
              <a:gd name="T94" fmla="*/ 415087 w 485"/>
              <a:gd name="T95" fmla="*/ 276225 h 24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485"/>
              <a:gd name="T145" fmla="*/ 0 h 246"/>
              <a:gd name="T146" fmla="*/ 485 w 485"/>
              <a:gd name="T147" fmla="*/ 246 h 24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485" h="246">
                <a:moveTo>
                  <a:pt x="326" y="246"/>
                </a:moveTo>
                <a:lnTo>
                  <a:pt x="297" y="239"/>
                </a:lnTo>
                <a:lnTo>
                  <a:pt x="268" y="239"/>
                </a:lnTo>
                <a:lnTo>
                  <a:pt x="239" y="232"/>
                </a:lnTo>
                <a:lnTo>
                  <a:pt x="217" y="232"/>
                </a:lnTo>
                <a:lnTo>
                  <a:pt x="188" y="224"/>
                </a:lnTo>
                <a:lnTo>
                  <a:pt x="174" y="224"/>
                </a:lnTo>
                <a:lnTo>
                  <a:pt x="145" y="217"/>
                </a:lnTo>
                <a:lnTo>
                  <a:pt x="123" y="210"/>
                </a:lnTo>
                <a:lnTo>
                  <a:pt x="108" y="203"/>
                </a:lnTo>
                <a:lnTo>
                  <a:pt x="87" y="195"/>
                </a:lnTo>
                <a:lnTo>
                  <a:pt x="72" y="195"/>
                </a:lnTo>
                <a:lnTo>
                  <a:pt x="58" y="181"/>
                </a:lnTo>
                <a:lnTo>
                  <a:pt x="43" y="174"/>
                </a:lnTo>
                <a:lnTo>
                  <a:pt x="29" y="174"/>
                </a:lnTo>
                <a:lnTo>
                  <a:pt x="22" y="159"/>
                </a:lnTo>
                <a:lnTo>
                  <a:pt x="14" y="152"/>
                </a:lnTo>
                <a:lnTo>
                  <a:pt x="7" y="145"/>
                </a:lnTo>
                <a:lnTo>
                  <a:pt x="0" y="137"/>
                </a:lnTo>
                <a:lnTo>
                  <a:pt x="0" y="130"/>
                </a:lnTo>
                <a:lnTo>
                  <a:pt x="0" y="123"/>
                </a:lnTo>
                <a:lnTo>
                  <a:pt x="0" y="116"/>
                </a:lnTo>
                <a:lnTo>
                  <a:pt x="0" y="109"/>
                </a:lnTo>
                <a:lnTo>
                  <a:pt x="7" y="101"/>
                </a:lnTo>
                <a:lnTo>
                  <a:pt x="14" y="94"/>
                </a:lnTo>
                <a:lnTo>
                  <a:pt x="22" y="87"/>
                </a:lnTo>
                <a:lnTo>
                  <a:pt x="36" y="80"/>
                </a:lnTo>
                <a:lnTo>
                  <a:pt x="50" y="72"/>
                </a:lnTo>
                <a:lnTo>
                  <a:pt x="58" y="65"/>
                </a:lnTo>
                <a:lnTo>
                  <a:pt x="79" y="58"/>
                </a:lnTo>
                <a:lnTo>
                  <a:pt x="94" y="51"/>
                </a:lnTo>
                <a:lnTo>
                  <a:pt x="108" y="43"/>
                </a:lnTo>
                <a:lnTo>
                  <a:pt x="130" y="36"/>
                </a:lnTo>
                <a:lnTo>
                  <a:pt x="152" y="29"/>
                </a:lnTo>
                <a:lnTo>
                  <a:pt x="181" y="29"/>
                </a:lnTo>
                <a:lnTo>
                  <a:pt x="195" y="22"/>
                </a:lnTo>
                <a:lnTo>
                  <a:pt x="224" y="14"/>
                </a:lnTo>
                <a:lnTo>
                  <a:pt x="246" y="14"/>
                </a:lnTo>
                <a:lnTo>
                  <a:pt x="275" y="7"/>
                </a:lnTo>
                <a:lnTo>
                  <a:pt x="311" y="7"/>
                </a:lnTo>
                <a:lnTo>
                  <a:pt x="333" y="7"/>
                </a:lnTo>
                <a:lnTo>
                  <a:pt x="369" y="0"/>
                </a:lnTo>
                <a:lnTo>
                  <a:pt x="391" y="0"/>
                </a:lnTo>
                <a:lnTo>
                  <a:pt x="427" y="0"/>
                </a:lnTo>
                <a:lnTo>
                  <a:pt x="449" y="0"/>
                </a:lnTo>
                <a:lnTo>
                  <a:pt x="485" y="0"/>
                </a:lnTo>
                <a:lnTo>
                  <a:pt x="485" y="123"/>
                </a:lnTo>
                <a:lnTo>
                  <a:pt x="326" y="246"/>
                </a:lnTo>
                <a:close/>
              </a:path>
            </a:pathLst>
          </a:custGeom>
          <a:solidFill>
            <a:srgbClr val="FFFF0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083" name="Freeform 46"/>
          <p:cNvSpPr>
            <a:spLocks/>
          </p:cNvSpPr>
          <p:nvPr/>
        </p:nvSpPr>
        <p:spPr bwMode="auto">
          <a:xfrm>
            <a:off x="1776413" y="5286375"/>
            <a:ext cx="82550" cy="98425"/>
          </a:xfrm>
          <a:custGeom>
            <a:avLst/>
            <a:gdLst>
              <a:gd name="T0" fmla="*/ 0 w 9"/>
              <a:gd name="T1" fmla="*/ 0 h 12"/>
              <a:gd name="T2" fmla="*/ 13840882 w 9"/>
              <a:gd name="T3" fmla="*/ 0 h 12"/>
              <a:gd name="T4" fmla="*/ 31066312 w 9"/>
              <a:gd name="T5" fmla="*/ 37524535 h 12"/>
              <a:gd name="T6" fmla="*/ 0 60000 65536"/>
              <a:gd name="T7" fmla="*/ 0 60000 65536"/>
              <a:gd name="T8" fmla="*/ 0 60000 65536"/>
              <a:gd name="T9" fmla="*/ 0 w 9"/>
              <a:gd name="T10" fmla="*/ 0 h 12"/>
              <a:gd name="T11" fmla="*/ 9 w 9"/>
              <a:gd name="T12" fmla="*/ 12 h 12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9" h="12">
                <a:moveTo>
                  <a:pt x="0" y="0"/>
                </a:moveTo>
                <a:lnTo>
                  <a:pt x="4" y="0"/>
                </a:lnTo>
                <a:lnTo>
                  <a:pt x="9" y="12"/>
                </a:lnTo>
              </a:path>
            </a:pathLst>
          </a:custGeom>
          <a:noFill/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084" name="Freeform 47"/>
          <p:cNvSpPr>
            <a:spLocks/>
          </p:cNvSpPr>
          <p:nvPr/>
        </p:nvSpPr>
        <p:spPr bwMode="auto">
          <a:xfrm>
            <a:off x="2301875" y="5522913"/>
            <a:ext cx="590550" cy="179387"/>
          </a:xfrm>
          <a:custGeom>
            <a:avLst/>
            <a:gdLst>
              <a:gd name="T0" fmla="*/ 590550 w 463"/>
              <a:gd name="T1" fmla="*/ 0 h 160"/>
              <a:gd name="T2" fmla="*/ 562489 w 463"/>
              <a:gd name="T3" fmla="*/ 8969 h 160"/>
              <a:gd name="T4" fmla="*/ 535704 w 463"/>
              <a:gd name="T5" fmla="*/ 8969 h 160"/>
              <a:gd name="T6" fmla="*/ 498715 w 463"/>
              <a:gd name="T7" fmla="*/ 16818 h 160"/>
              <a:gd name="T8" fmla="*/ 470654 w 463"/>
              <a:gd name="T9" fmla="*/ 16818 h 160"/>
              <a:gd name="T10" fmla="*/ 442594 w 463"/>
              <a:gd name="T11" fmla="*/ 16818 h 160"/>
              <a:gd name="T12" fmla="*/ 415808 w 463"/>
              <a:gd name="T13" fmla="*/ 24666 h 160"/>
              <a:gd name="T14" fmla="*/ 368616 w 463"/>
              <a:gd name="T15" fmla="*/ 24666 h 160"/>
              <a:gd name="T16" fmla="*/ 341830 w 463"/>
              <a:gd name="T17" fmla="*/ 24666 h 160"/>
              <a:gd name="T18" fmla="*/ 304841 w 463"/>
              <a:gd name="T19" fmla="*/ 24666 h 160"/>
              <a:gd name="T20" fmla="*/ 276780 w 463"/>
              <a:gd name="T21" fmla="*/ 32514 h 160"/>
              <a:gd name="T22" fmla="*/ 239791 w 463"/>
              <a:gd name="T23" fmla="*/ 32514 h 160"/>
              <a:gd name="T24" fmla="*/ 202802 w 463"/>
              <a:gd name="T25" fmla="*/ 32514 h 160"/>
              <a:gd name="T26" fmla="*/ 165813 w 463"/>
              <a:gd name="T27" fmla="*/ 32514 h 160"/>
              <a:gd name="T28" fmla="*/ 137752 w 463"/>
              <a:gd name="T29" fmla="*/ 32514 h 160"/>
              <a:gd name="T30" fmla="*/ 100763 w 463"/>
              <a:gd name="T31" fmla="*/ 32514 h 160"/>
              <a:gd name="T32" fmla="*/ 63774 w 463"/>
              <a:gd name="T33" fmla="*/ 24666 h 160"/>
              <a:gd name="T34" fmla="*/ 26785 w 463"/>
              <a:gd name="T35" fmla="*/ 24666 h 160"/>
              <a:gd name="T36" fmla="*/ 0 w 463"/>
              <a:gd name="T37" fmla="*/ 24666 h 160"/>
              <a:gd name="T38" fmla="*/ 0 w 463"/>
              <a:gd name="T39" fmla="*/ 170418 h 160"/>
              <a:gd name="T40" fmla="*/ 26785 w 463"/>
              <a:gd name="T41" fmla="*/ 170418 h 160"/>
              <a:gd name="T42" fmla="*/ 63774 w 463"/>
              <a:gd name="T43" fmla="*/ 170418 h 160"/>
              <a:gd name="T44" fmla="*/ 100763 w 463"/>
              <a:gd name="T45" fmla="*/ 179387 h 160"/>
              <a:gd name="T46" fmla="*/ 137752 w 463"/>
              <a:gd name="T47" fmla="*/ 179387 h 160"/>
              <a:gd name="T48" fmla="*/ 165813 w 463"/>
              <a:gd name="T49" fmla="*/ 179387 h 160"/>
              <a:gd name="T50" fmla="*/ 202802 w 463"/>
              <a:gd name="T51" fmla="*/ 179387 h 160"/>
              <a:gd name="T52" fmla="*/ 239791 w 463"/>
              <a:gd name="T53" fmla="*/ 179387 h 160"/>
              <a:gd name="T54" fmla="*/ 276780 w 463"/>
              <a:gd name="T55" fmla="*/ 179387 h 160"/>
              <a:gd name="T56" fmla="*/ 304841 w 463"/>
              <a:gd name="T57" fmla="*/ 170418 h 160"/>
              <a:gd name="T58" fmla="*/ 341830 w 463"/>
              <a:gd name="T59" fmla="*/ 170418 h 160"/>
              <a:gd name="T60" fmla="*/ 368616 w 463"/>
              <a:gd name="T61" fmla="*/ 170418 h 160"/>
              <a:gd name="T62" fmla="*/ 415808 w 463"/>
              <a:gd name="T63" fmla="*/ 170418 h 160"/>
              <a:gd name="T64" fmla="*/ 442594 w 463"/>
              <a:gd name="T65" fmla="*/ 162569 h 160"/>
              <a:gd name="T66" fmla="*/ 470654 w 463"/>
              <a:gd name="T67" fmla="*/ 162569 h 160"/>
              <a:gd name="T68" fmla="*/ 498715 w 463"/>
              <a:gd name="T69" fmla="*/ 162569 h 160"/>
              <a:gd name="T70" fmla="*/ 535704 w 463"/>
              <a:gd name="T71" fmla="*/ 154721 h 160"/>
              <a:gd name="T72" fmla="*/ 562489 w 463"/>
              <a:gd name="T73" fmla="*/ 154721 h 160"/>
              <a:gd name="T74" fmla="*/ 590550 w 463"/>
              <a:gd name="T75" fmla="*/ 146873 h 160"/>
              <a:gd name="T76" fmla="*/ 590550 w 463"/>
              <a:gd name="T77" fmla="*/ 0 h 160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w 463"/>
              <a:gd name="T118" fmla="*/ 0 h 160"/>
              <a:gd name="T119" fmla="*/ 463 w 463"/>
              <a:gd name="T120" fmla="*/ 160 h 160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T117" t="T118" r="T119" b="T120"/>
            <a:pathLst>
              <a:path w="463" h="160">
                <a:moveTo>
                  <a:pt x="463" y="0"/>
                </a:moveTo>
                <a:lnTo>
                  <a:pt x="441" y="8"/>
                </a:lnTo>
                <a:lnTo>
                  <a:pt x="420" y="8"/>
                </a:lnTo>
                <a:lnTo>
                  <a:pt x="391" y="15"/>
                </a:lnTo>
                <a:lnTo>
                  <a:pt x="369" y="15"/>
                </a:lnTo>
                <a:lnTo>
                  <a:pt x="347" y="15"/>
                </a:lnTo>
                <a:lnTo>
                  <a:pt x="326" y="22"/>
                </a:lnTo>
                <a:lnTo>
                  <a:pt x="289" y="22"/>
                </a:lnTo>
                <a:lnTo>
                  <a:pt x="268" y="22"/>
                </a:lnTo>
                <a:lnTo>
                  <a:pt x="239" y="22"/>
                </a:lnTo>
                <a:lnTo>
                  <a:pt x="217" y="29"/>
                </a:lnTo>
                <a:lnTo>
                  <a:pt x="188" y="29"/>
                </a:lnTo>
                <a:lnTo>
                  <a:pt x="159" y="29"/>
                </a:lnTo>
                <a:lnTo>
                  <a:pt x="130" y="29"/>
                </a:lnTo>
                <a:lnTo>
                  <a:pt x="108" y="29"/>
                </a:lnTo>
                <a:lnTo>
                  <a:pt x="79" y="29"/>
                </a:lnTo>
                <a:lnTo>
                  <a:pt x="50" y="22"/>
                </a:lnTo>
                <a:lnTo>
                  <a:pt x="21" y="22"/>
                </a:lnTo>
                <a:lnTo>
                  <a:pt x="0" y="22"/>
                </a:lnTo>
                <a:lnTo>
                  <a:pt x="0" y="152"/>
                </a:lnTo>
                <a:lnTo>
                  <a:pt x="21" y="152"/>
                </a:lnTo>
                <a:lnTo>
                  <a:pt x="50" y="152"/>
                </a:lnTo>
                <a:lnTo>
                  <a:pt x="79" y="160"/>
                </a:lnTo>
                <a:lnTo>
                  <a:pt x="108" y="160"/>
                </a:lnTo>
                <a:lnTo>
                  <a:pt x="130" y="160"/>
                </a:lnTo>
                <a:lnTo>
                  <a:pt x="159" y="160"/>
                </a:lnTo>
                <a:lnTo>
                  <a:pt x="188" y="160"/>
                </a:lnTo>
                <a:lnTo>
                  <a:pt x="217" y="160"/>
                </a:lnTo>
                <a:lnTo>
                  <a:pt x="239" y="152"/>
                </a:lnTo>
                <a:lnTo>
                  <a:pt x="268" y="152"/>
                </a:lnTo>
                <a:lnTo>
                  <a:pt x="289" y="152"/>
                </a:lnTo>
                <a:lnTo>
                  <a:pt x="326" y="152"/>
                </a:lnTo>
                <a:lnTo>
                  <a:pt x="347" y="145"/>
                </a:lnTo>
                <a:lnTo>
                  <a:pt x="369" y="145"/>
                </a:lnTo>
                <a:lnTo>
                  <a:pt x="391" y="145"/>
                </a:lnTo>
                <a:lnTo>
                  <a:pt x="420" y="138"/>
                </a:lnTo>
                <a:lnTo>
                  <a:pt x="441" y="138"/>
                </a:lnTo>
                <a:lnTo>
                  <a:pt x="463" y="131"/>
                </a:lnTo>
                <a:lnTo>
                  <a:pt x="463" y="0"/>
                </a:lnTo>
                <a:close/>
              </a:path>
            </a:pathLst>
          </a:custGeom>
          <a:solidFill>
            <a:srgbClr val="80000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085" name="Freeform 48"/>
          <p:cNvSpPr>
            <a:spLocks/>
          </p:cNvSpPr>
          <p:nvPr/>
        </p:nvSpPr>
        <p:spPr bwMode="auto">
          <a:xfrm>
            <a:off x="2301875" y="5416550"/>
            <a:ext cx="590550" cy="147638"/>
          </a:xfrm>
          <a:custGeom>
            <a:avLst/>
            <a:gdLst>
              <a:gd name="T0" fmla="*/ 590550 w 463"/>
              <a:gd name="T1" fmla="*/ 114955 h 131"/>
              <a:gd name="T2" fmla="*/ 562489 w 463"/>
              <a:gd name="T3" fmla="*/ 114955 h 131"/>
              <a:gd name="T4" fmla="*/ 535704 w 463"/>
              <a:gd name="T5" fmla="*/ 122844 h 131"/>
              <a:gd name="T6" fmla="*/ 498715 w 463"/>
              <a:gd name="T7" fmla="*/ 130733 h 131"/>
              <a:gd name="T8" fmla="*/ 470654 w 463"/>
              <a:gd name="T9" fmla="*/ 130733 h 131"/>
              <a:gd name="T10" fmla="*/ 442594 w 463"/>
              <a:gd name="T11" fmla="*/ 130733 h 131"/>
              <a:gd name="T12" fmla="*/ 415808 w 463"/>
              <a:gd name="T13" fmla="*/ 138622 h 131"/>
              <a:gd name="T14" fmla="*/ 368616 w 463"/>
              <a:gd name="T15" fmla="*/ 138622 h 131"/>
              <a:gd name="T16" fmla="*/ 341830 w 463"/>
              <a:gd name="T17" fmla="*/ 138622 h 131"/>
              <a:gd name="T18" fmla="*/ 304841 w 463"/>
              <a:gd name="T19" fmla="*/ 138622 h 131"/>
              <a:gd name="T20" fmla="*/ 276780 w 463"/>
              <a:gd name="T21" fmla="*/ 147638 h 131"/>
              <a:gd name="T22" fmla="*/ 239791 w 463"/>
              <a:gd name="T23" fmla="*/ 147638 h 131"/>
              <a:gd name="T24" fmla="*/ 202802 w 463"/>
              <a:gd name="T25" fmla="*/ 147638 h 131"/>
              <a:gd name="T26" fmla="*/ 165813 w 463"/>
              <a:gd name="T27" fmla="*/ 147638 h 131"/>
              <a:gd name="T28" fmla="*/ 137752 w 463"/>
              <a:gd name="T29" fmla="*/ 147638 h 131"/>
              <a:gd name="T30" fmla="*/ 100763 w 463"/>
              <a:gd name="T31" fmla="*/ 147638 h 131"/>
              <a:gd name="T32" fmla="*/ 63774 w 463"/>
              <a:gd name="T33" fmla="*/ 138622 h 131"/>
              <a:gd name="T34" fmla="*/ 26785 w 463"/>
              <a:gd name="T35" fmla="*/ 138622 h 131"/>
              <a:gd name="T36" fmla="*/ 0 w 463"/>
              <a:gd name="T37" fmla="*/ 138622 h 131"/>
              <a:gd name="T38" fmla="*/ 202802 w 463"/>
              <a:gd name="T39" fmla="*/ 0 h 131"/>
              <a:gd name="T40" fmla="*/ 590550 w 463"/>
              <a:gd name="T41" fmla="*/ 114955 h 131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w 463"/>
              <a:gd name="T64" fmla="*/ 0 h 131"/>
              <a:gd name="T65" fmla="*/ 463 w 463"/>
              <a:gd name="T66" fmla="*/ 131 h 131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T63" t="T64" r="T65" b="T66"/>
            <a:pathLst>
              <a:path w="463" h="131">
                <a:moveTo>
                  <a:pt x="463" y="102"/>
                </a:moveTo>
                <a:lnTo>
                  <a:pt x="441" y="102"/>
                </a:lnTo>
                <a:lnTo>
                  <a:pt x="420" y="109"/>
                </a:lnTo>
                <a:lnTo>
                  <a:pt x="391" y="116"/>
                </a:lnTo>
                <a:lnTo>
                  <a:pt x="369" y="116"/>
                </a:lnTo>
                <a:lnTo>
                  <a:pt x="347" y="116"/>
                </a:lnTo>
                <a:lnTo>
                  <a:pt x="326" y="123"/>
                </a:lnTo>
                <a:lnTo>
                  <a:pt x="289" y="123"/>
                </a:lnTo>
                <a:lnTo>
                  <a:pt x="268" y="123"/>
                </a:lnTo>
                <a:lnTo>
                  <a:pt x="239" y="123"/>
                </a:lnTo>
                <a:lnTo>
                  <a:pt x="217" y="131"/>
                </a:lnTo>
                <a:lnTo>
                  <a:pt x="188" y="131"/>
                </a:lnTo>
                <a:lnTo>
                  <a:pt x="159" y="131"/>
                </a:lnTo>
                <a:lnTo>
                  <a:pt x="130" y="131"/>
                </a:lnTo>
                <a:lnTo>
                  <a:pt x="108" y="131"/>
                </a:lnTo>
                <a:lnTo>
                  <a:pt x="79" y="131"/>
                </a:lnTo>
                <a:lnTo>
                  <a:pt x="50" y="123"/>
                </a:lnTo>
                <a:lnTo>
                  <a:pt x="21" y="123"/>
                </a:lnTo>
                <a:lnTo>
                  <a:pt x="0" y="123"/>
                </a:lnTo>
                <a:lnTo>
                  <a:pt x="159" y="0"/>
                </a:lnTo>
                <a:lnTo>
                  <a:pt x="463" y="102"/>
                </a:lnTo>
                <a:close/>
              </a:path>
            </a:pathLst>
          </a:custGeom>
          <a:solidFill>
            <a:srgbClr val="FF000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086" name="Freeform 49"/>
          <p:cNvSpPr>
            <a:spLocks/>
          </p:cNvSpPr>
          <p:nvPr/>
        </p:nvSpPr>
        <p:spPr bwMode="auto">
          <a:xfrm>
            <a:off x="2616200" y="5702300"/>
            <a:ext cx="73025" cy="244475"/>
          </a:xfrm>
          <a:custGeom>
            <a:avLst/>
            <a:gdLst>
              <a:gd name="T0" fmla="*/ 27859033 w 8"/>
              <a:gd name="T1" fmla="*/ 92541945 h 30"/>
              <a:gd name="T2" fmla="*/ 13902132 w 8"/>
              <a:gd name="T3" fmla="*/ 92541945 h 30"/>
              <a:gd name="T4" fmla="*/ 0 w 8"/>
              <a:gd name="T5" fmla="*/ 0 h 30"/>
              <a:gd name="T6" fmla="*/ 0 60000 65536"/>
              <a:gd name="T7" fmla="*/ 0 60000 65536"/>
              <a:gd name="T8" fmla="*/ 0 60000 65536"/>
              <a:gd name="T9" fmla="*/ 0 w 8"/>
              <a:gd name="T10" fmla="*/ 0 h 30"/>
              <a:gd name="T11" fmla="*/ 8 w 8"/>
              <a:gd name="T12" fmla="*/ 30 h 3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8" h="30">
                <a:moveTo>
                  <a:pt x="8" y="30"/>
                </a:moveTo>
                <a:lnTo>
                  <a:pt x="4" y="30"/>
                </a:lnTo>
                <a:lnTo>
                  <a:pt x="0" y="0"/>
                </a:lnTo>
              </a:path>
            </a:pathLst>
          </a:custGeom>
          <a:noFill/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087" name="Rectangle 50"/>
          <p:cNvSpPr>
            <a:spLocks noChangeArrowheads="1"/>
          </p:cNvSpPr>
          <p:nvPr/>
        </p:nvSpPr>
        <p:spPr bwMode="auto">
          <a:xfrm>
            <a:off x="1268413" y="5091113"/>
            <a:ext cx="479298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altLang="ru-RU" sz="1400" dirty="0" smtClean="0">
                <a:solidFill>
                  <a:srgbClr val="000080"/>
                </a:solidFill>
                <a:latin typeface="Calibri" pitchFamily="34" charset="0"/>
                <a:cs typeface="Arial" charset="0"/>
              </a:rPr>
              <a:t>Export</a:t>
            </a:r>
            <a:endParaRPr lang="ru-RU" altLang="ru-RU" sz="1400" dirty="0">
              <a:cs typeface="Arial" charset="0"/>
            </a:endParaRPr>
          </a:p>
        </p:txBody>
      </p:sp>
      <p:sp>
        <p:nvSpPr>
          <p:cNvPr id="1088" name="Rectangle 51"/>
          <p:cNvSpPr>
            <a:spLocks noChangeArrowheads="1"/>
          </p:cNvSpPr>
          <p:nvPr/>
        </p:nvSpPr>
        <p:spPr bwMode="auto">
          <a:xfrm>
            <a:off x="1116013" y="5294313"/>
            <a:ext cx="588303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ru-RU" altLang="ru-RU" sz="1400" dirty="0" smtClean="0">
                <a:solidFill>
                  <a:srgbClr val="000080"/>
                </a:solidFill>
                <a:latin typeface="Calibri" pitchFamily="34" charset="0"/>
                <a:cs typeface="Arial" charset="0"/>
              </a:rPr>
              <a:t>198 673</a:t>
            </a:r>
            <a:endParaRPr lang="ru-RU" altLang="ru-RU" sz="1400" dirty="0">
              <a:solidFill>
                <a:srgbClr val="000080"/>
              </a:solidFill>
              <a:latin typeface="Calibri" pitchFamily="34" charset="0"/>
              <a:cs typeface="Arial" charset="0"/>
            </a:endParaRPr>
          </a:p>
        </p:txBody>
      </p:sp>
      <p:sp>
        <p:nvSpPr>
          <p:cNvPr id="1089" name="Rectangle 52"/>
          <p:cNvSpPr>
            <a:spLocks noChangeArrowheads="1"/>
          </p:cNvSpPr>
          <p:nvPr/>
        </p:nvSpPr>
        <p:spPr bwMode="auto">
          <a:xfrm>
            <a:off x="2717800" y="5748338"/>
            <a:ext cx="490134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altLang="ru-RU" sz="1400" dirty="0" smtClean="0">
                <a:solidFill>
                  <a:srgbClr val="000080"/>
                </a:solidFill>
                <a:latin typeface="Calibri" pitchFamily="34" charset="0"/>
                <a:cs typeface="Arial" charset="0"/>
              </a:rPr>
              <a:t>Transit</a:t>
            </a:r>
            <a:endParaRPr lang="ru-RU" altLang="ru-RU" sz="1400" dirty="0">
              <a:cs typeface="Arial" charset="0"/>
            </a:endParaRPr>
          </a:p>
        </p:txBody>
      </p:sp>
      <p:sp>
        <p:nvSpPr>
          <p:cNvPr id="1090" name="Rectangle 53"/>
          <p:cNvSpPr>
            <a:spLocks noChangeArrowheads="1"/>
          </p:cNvSpPr>
          <p:nvPr/>
        </p:nvSpPr>
        <p:spPr bwMode="auto">
          <a:xfrm>
            <a:off x="2725738" y="5951538"/>
            <a:ext cx="49693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ru-RU" altLang="ru-RU" sz="1400" dirty="0" smtClean="0">
                <a:solidFill>
                  <a:srgbClr val="000080"/>
                </a:solidFill>
                <a:latin typeface="Calibri" pitchFamily="34" charset="0"/>
                <a:cs typeface="Arial" charset="0"/>
              </a:rPr>
              <a:t>86 958</a:t>
            </a:r>
            <a:endParaRPr lang="ru-RU" altLang="ru-RU" sz="1400" dirty="0">
              <a:solidFill>
                <a:srgbClr val="000080"/>
              </a:solidFill>
              <a:latin typeface="Calibri" pitchFamily="34" charset="0"/>
              <a:cs typeface="Arial" charset="0"/>
            </a:endParaRPr>
          </a:p>
        </p:txBody>
      </p:sp>
      <p:sp>
        <p:nvSpPr>
          <p:cNvPr id="1091" name="Rectangle 54"/>
          <p:cNvSpPr>
            <a:spLocks noChangeArrowheads="1"/>
          </p:cNvSpPr>
          <p:nvPr/>
        </p:nvSpPr>
        <p:spPr bwMode="auto">
          <a:xfrm>
            <a:off x="3241675" y="5041900"/>
            <a:ext cx="50013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altLang="ru-RU" sz="1400" dirty="0" smtClean="0">
                <a:solidFill>
                  <a:srgbClr val="000080"/>
                </a:solidFill>
                <a:latin typeface="Calibri" pitchFamily="34" charset="0"/>
                <a:cs typeface="Arial" charset="0"/>
              </a:rPr>
              <a:t>Import</a:t>
            </a:r>
            <a:endParaRPr lang="ru-RU" altLang="ru-RU" sz="1400" dirty="0">
              <a:cs typeface="Arial" charset="0"/>
            </a:endParaRPr>
          </a:p>
        </p:txBody>
      </p:sp>
      <p:sp>
        <p:nvSpPr>
          <p:cNvPr id="1092" name="Rectangle 55"/>
          <p:cNvSpPr>
            <a:spLocks noChangeArrowheads="1"/>
          </p:cNvSpPr>
          <p:nvPr/>
        </p:nvSpPr>
        <p:spPr bwMode="auto">
          <a:xfrm>
            <a:off x="3241675" y="5245100"/>
            <a:ext cx="588303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ru-RU" altLang="ru-RU" sz="1400" dirty="0" smtClean="0">
                <a:solidFill>
                  <a:srgbClr val="000080"/>
                </a:solidFill>
                <a:latin typeface="Calibri" pitchFamily="34" charset="0"/>
                <a:cs typeface="Arial" charset="0"/>
              </a:rPr>
              <a:t>240 029</a:t>
            </a:r>
            <a:endParaRPr lang="ru-RU" altLang="ru-RU" sz="1400" dirty="0">
              <a:solidFill>
                <a:srgbClr val="000080"/>
              </a:solidFill>
              <a:latin typeface="Calibri" pitchFamily="34" charset="0"/>
              <a:cs typeface="Arial" charset="0"/>
            </a:endParaRPr>
          </a:p>
        </p:txBody>
      </p:sp>
      <p:sp>
        <p:nvSpPr>
          <p:cNvPr id="82" name="Text Box 5"/>
          <p:cNvSpPr txBox="1">
            <a:spLocks noChangeArrowheads="1"/>
          </p:cNvSpPr>
          <p:nvPr/>
        </p:nvSpPr>
        <p:spPr bwMode="auto">
          <a:xfrm>
            <a:off x="30163" y="980728"/>
            <a:ext cx="4546600" cy="60939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/>
          <a:p>
            <a:pPr algn="ctr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</a:rPr>
              <a:t>Transit container transportation dynamics on TSM</a:t>
            </a:r>
            <a:r>
              <a:rPr lang="ru-RU" alt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</a:rPr>
              <a:t>,</a:t>
            </a:r>
          </a:p>
          <a:p>
            <a:pPr algn="ctr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</a:rPr>
              <a:t>1999-2013, </a:t>
            </a:r>
            <a:r>
              <a:rPr lang="en-US" alt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</a:rPr>
              <a:t>TEU</a:t>
            </a:r>
            <a:endParaRPr lang="ru-RU" altLang="ru-RU" sz="1400" dirty="0">
              <a:solidFill>
                <a:schemeClr val="tx1">
                  <a:lumMod val="75000"/>
                  <a:lumOff val="25000"/>
                </a:schemeClr>
              </a:solidFill>
              <a:latin typeface="Calibri" panose="020F0502020204030204" pitchFamily="34" charset="0"/>
            </a:endParaRPr>
          </a:p>
          <a:p>
            <a:pPr algn="ctr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ru-RU" altLang="ru-RU" sz="1400" dirty="0">
              <a:solidFill>
                <a:schemeClr val="tx1">
                  <a:lumMod val="75000"/>
                  <a:lumOff val="25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47" name="Text Box 13"/>
          <p:cNvSpPr txBox="1">
            <a:spLocks noChangeArrowheads="1"/>
          </p:cNvSpPr>
          <p:nvPr/>
        </p:nvSpPr>
        <p:spPr bwMode="auto">
          <a:xfrm>
            <a:off x="395288" y="152544"/>
            <a:ext cx="8353176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altLang="ru-RU" sz="1600" dirty="0">
                <a:solidFill>
                  <a:schemeClr val="bg1"/>
                </a:solidFill>
                <a:latin typeface="Calibri" pitchFamily="34" charset="0"/>
              </a:rPr>
              <a:t>The Trans-Siberian Route: ways to increase competitiveness of railway freight transportation</a:t>
            </a:r>
            <a:endParaRPr lang="en-US" altLang="ru-RU" sz="1600" dirty="0">
              <a:solidFill>
                <a:schemeClr val="bg1"/>
              </a:solidFill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5"/>
          <p:cNvSpPr txBox="1">
            <a:spLocks noChangeArrowheads="1"/>
          </p:cNvSpPr>
          <p:nvPr/>
        </p:nvSpPr>
        <p:spPr bwMode="auto">
          <a:xfrm>
            <a:off x="384175" y="980728"/>
            <a:ext cx="8435975" cy="56015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/>
          <a:p>
            <a:pPr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ru-RU" sz="1900" b="1" dirty="0">
                <a:solidFill>
                  <a:srgbClr val="FF0000"/>
                </a:solidFill>
                <a:latin typeface="Calibri" panose="020F0502020204030204" pitchFamily="34" charset="0"/>
              </a:rPr>
              <a:t>Container turnover of Russian sea ports in </a:t>
            </a:r>
            <a:r>
              <a:rPr lang="en-US" altLang="ru-RU" sz="1900" b="1" dirty="0" smtClean="0">
                <a:solidFill>
                  <a:srgbClr val="FF0000"/>
                </a:solidFill>
                <a:latin typeface="Calibri" panose="020F0502020204030204" pitchFamily="34" charset="0"/>
              </a:rPr>
              <a:t>January-September </a:t>
            </a:r>
            <a:r>
              <a:rPr lang="en-US" altLang="ru-RU" sz="1900" b="1" dirty="0">
                <a:solidFill>
                  <a:srgbClr val="FF0000"/>
                </a:solidFill>
                <a:latin typeface="Calibri" panose="020F0502020204030204" pitchFamily="34" charset="0"/>
              </a:rPr>
              <a:t>2013 and 2014</a:t>
            </a:r>
            <a:r>
              <a:rPr lang="ru-RU" altLang="ru-RU" sz="1900" b="1" dirty="0">
                <a:solidFill>
                  <a:srgbClr val="FF0000"/>
                </a:solidFill>
                <a:latin typeface="Calibri" panose="020F0502020204030204" pitchFamily="34" charset="0"/>
              </a:rPr>
              <a:t> </a:t>
            </a:r>
            <a:r>
              <a:rPr lang="ru-RU" altLang="ru-RU" sz="19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rPr>
              <a:t>Контейнерооборот морских портов России за </a:t>
            </a:r>
            <a:r>
              <a:rPr lang="ru-RU" altLang="ru-RU" sz="19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rPr>
              <a:t>январь-сентябрь </a:t>
            </a:r>
            <a:r>
              <a:rPr lang="ru-RU" altLang="ru-RU" sz="19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rPr>
              <a:t>2013 и 2014 гг.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3669505" y="6453336"/>
            <a:ext cx="1865313" cy="30797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Source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: </a:t>
            </a:r>
            <a:r>
              <a:rPr 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Morcenter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-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TFC</a:t>
            </a:r>
            <a:endParaRPr lang="ru-RU" sz="14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</a:endParaRPr>
          </a:p>
        </p:txBody>
      </p:sp>
      <p:graphicFrame>
        <p:nvGraphicFramePr>
          <p:cNvPr id="7" name="Диаграмма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24177276"/>
              </p:ext>
            </p:extLst>
          </p:nvPr>
        </p:nvGraphicFramePr>
        <p:xfrm>
          <a:off x="467544" y="1844824"/>
          <a:ext cx="7632848" cy="43210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Text Box 13"/>
          <p:cNvSpPr txBox="1">
            <a:spLocks noChangeArrowheads="1"/>
          </p:cNvSpPr>
          <p:nvPr/>
        </p:nvSpPr>
        <p:spPr bwMode="auto">
          <a:xfrm>
            <a:off x="395288" y="152544"/>
            <a:ext cx="8353176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altLang="ru-RU" sz="1600" dirty="0">
                <a:solidFill>
                  <a:schemeClr val="bg1"/>
                </a:solidFill>
                <a:latin typeface="Calibri" pitchFamily="34" charset="0"/>
              </a:rPr>
              <a:t>The Trans-Siberian Route: ways to increase competitiveness of railway freight transportation</a:t>
            </a:r>
            <a:endParaRPr lang="en-US" altLang="ru-RU" sz="1600" dirty="0">
              <a:solidFill>
                <a:schemeClr val="bg1"/>
              </a:solidFill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82" name="Picture 149" descr="Untitled-4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23850" y="1628775"/>
            <a:ext cx="4089400" cy="2522538"/>
          </a:xfrm>
          <a:prstGeom prst="rect">
            <a:avLst/>
          </a:prstGeom>
          <a:noFill/>
          <a:ln w="19050">
            <a:solidFill>
              <a:schemeClr val="bg2"/>
            </a:solidFill>
            <a:miter lim="800000"/>
            <a:headEnd/>
            <a:tailEnd/>
          </a:ln>
        </p:spPr>
      </p:pic>
      <p:pic>
        <p:nvPicPr>
          <p:cNvPr id="20483" name="Picture 147" descr="Untitled-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591050" y="1628775"/>
            <a:ext cx="3629025" cy="2593975"/>
          </a:xfrm>
          <a:prstGeom prst="rect">
            <a:avLst/>
          </a:prstGeom>
          <a:noFill/>
          <a:ln w="19050">
            <a:solidFill>
              <a:schemeClr val="bg2"/>
            </a:solidFill>
            <a:miter lim="800000"/>
            <a:headEnd/>
            <a:tailEnd/>
          </a:ln>
        </p:spPr>
      </p:pic>
      <p:sp>
        <p:nvSpPr>
          <p:cNvPr id="8" name="Text Box 11"/>
          <p:cNvSpPr txBox="1">
            <a:spLocks noChangeArrowheads="1"/>
          </p:cNvSpPr>
          <p:nvPr/>
        </p:nvSpPr>
        <p:spPr bwMode="auto">
          <a:xfrm>
            <a:off x="260350" y="893763"/>
            <a:ext cx="8056563" cy="5905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/>
          <a:p>
            <a:pPr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ru-RU" sz="2000" b="1" dirty="0">
                <a:solidFill>
                  <a:srgbClr val="FF0000"/>
                </a:solidFill>
                <a:latin typeface="+mn-lt"/>
              </a:rPr>
              <a:t>Transport products on </a:t>
            </a:r>
            <a:r>
              <a:rPr lang="en-US" altLang="ru-RU" sz="2000" b="1" dirty="0" smtClean="0">
                <a:solidFill>
                  <a:srgbClr val="FF0000"/>
                </a:solidFill>
                <a:latin typeface="+mn-lt"/>
              </a:rPr>
              <a:t>TSR</a:t>
            </a:r>
          </a:p>
          <a:p>
            <a:pPr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2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Транспортные </a:t>
            </a:r>
            <a:r>
              <a:rPr lang="ru-RU" altLang="ru-RU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продукты на </a:t>
            </a:r>
            <a:r>
              <a:rPr lang="ru-RU" altLang="ru-RU" sz="2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ТСМ</a:t>
            </a:r>
            <a:endParaRPr lang="ru-RU" altLang="ru-RU" sz="2000" b="1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</a:endParaRPr>
          </a:p>
        </p:txBody>
      </p:sp>
      <p:grpSp>
        <p:nvGrpSpPr>
          <p:cNvPr id="2" name="Группа 1"/>
          <p:cNvGrpSpPr/>
          <p:nvPr/>
        </p:nvGrpSpPr>
        <p:grpSpPr>
          <a:xfrm>
            <a:off x="4591050" y="4318950"/>
            <a:ext cx="4032448" cy="2201950"/>
            <a:chOff x="4932040" y="4319795"/>
            <a:chExt cx="4032448" cy="2201950"/>
          </a:xfrm>
        </p:grpSpPr>
        <p:pic>
          <p:nvPicPr>
            <p:cNvPr id="11" name="Рисунок 2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32040" y="4346522"/>
              <a:ext cx="3840682" cy="2175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2" name="Полилиния 11"/>
            <p:cNvSpPr/>
            <p:nvPr/>
          </p:nvSpPr>
          <p:spPr bwMode="auto">
            <a:xfrm>
              <a:off x="5507516" y="4541288"/>
              <a:ext cx="156922" cy="458469"/>
            </a:xfrm>
            <a:custGeom>
              <a:avLst/>
              <a:gdLst>
                <a:gd name="connsiteX0" fmla="*/ 287998 w 287998"/>
                <a:gd name="connsiteY0" fmla="*/ 904875 h 904875"/>
                <a:gd name="connsiteX1" fmla="*/ 226086 w 287998"/>
                <a:gd name="connsiteY1" fmla="*/ 700088 h 904875"/>
                <a:gd name="connsiteX2" fmla="*/ 73686 w 287998"/>
                <a:gd name="connsiteY2" fmla="*/ 514350 h 904875"/>
                <a:gd name="connsiteX3" fmla="*/ 2248 w 287998"/>
                <a:gd name="connsiteY3" fmla="*/ 352425 h 904875"/>
                <a:gd name="connsiteX4" fmla="*/ 16536 w 287998"/>
                <a:gd name="connsiteY4" fmla="*/ 0 h 904875"/>
                <a:gd name="connsiteX5" fmla="*/ 16536 w 287998"/>
                <a:gd name="connsiteY5" fmla="*/ 0 h 904875"/>
                <a:gd name="connsiteX0" fmla="*/ 371949 w 371949"/>
                <a:gd name="connsiteY0" fmla="*/ 1195020 h 1195020"/>
                <a:gd name="connsiteX1" fmla="*/ 226086 w 371949"/>
                <a:gd name="connsiteY1" fmla="*/ 700088 h 1195020"/>
                <a:gd name="connsiteX2" fmla="*/ 73686 w 371949"/>
                <a:gd name="connsiteY2" fmla="*/ 514350 h 1195020"/>
                <a:gd name="connsiteX3" fmla="*/ 2248 w 371949"/>
                <a:gd name="connsiteY3" fmla="*/ 352425 h 1195020"/>
                <a:gd name="connsiteX4" fmla="*/ 16536 w 371949"/>
                <a:gd name="connsiteY4" fmla="*/ 0 h 1195020"/>
                <a:gd name="connsiteX5" fmla="*/ 16536 w 371949"/>
                <a:gd name="connsiteY5" fmla="*/ 0 h 11950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71949" h="1195020">
                  <a:moveTo>
                    <a:pt x="371949" y="1195020"/>
                  </a:moveTo>
                  <a:cubicBezTo>
                    <a:pt x="358852" y="1125170"/>
                    <a:pt x="275797" y="813533"/>
                    <a:pt x="226086" y="700088"/>
                  </a:cubicBezTo>
                  <a:cubicBezTo>
                    <a:pt x="176375" y="586643"/>
                    <a:pt x="110992" y="572294"/>
                    <a:pt x="73686" y="514350"/>
                  </a:cubicBezTo>
                  <a:cubicBezTo>
                    <a:pt x="36380" y="456406"/>
                    <a:pt x="11773" y="438150"/>
                    <a:pt x="2248" y="352425"/>
                  </a:cubicBezTo>
                  <a:cubicBezTo>
                    <a:pt x="-7277" y="266700"/>
                    <a:pt x="16536" y="0"/>
                    <a:pt x="16536" y="0"/>
                  </a:cubicBezTo>
                  <a:lnTo>
                    <a:pt x="16536" y="0"/>
                  </a:lnTo>
                </a:path>
              </a:pathLst>
            </a:custGeom>
            <a:noFill/>
            <a:ln w="38100">
              <a:solidFill>
                <a:srgbClr val="C0000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3" name="Овал 12"/>
            <p:cNvSpPr/>
            <p:nvPr/>
          </p:nvSpPr>
          <p:spPr bwMode="auto">
            <a:xfrm>
              <a:off x="5513404" y="4733092"/>
              <a:ext cx="60483" cy="5526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14" name="Полилиния 13"/>
            <p:cNvSpPr/>
            <p:nvPr/>
          </p:nvSpPr>
          <p:spPr bwMode="auto">
            <a:xfrm>
              <a:off x="7819434" y="5588761"/>
              <a:ext cx="293079" cy="441287"/>
            </a:xfrm>
            <a:custGeom>
              <a:avLst/>
              <a:gdLst>
                <a:gd name="connsiteX0" fmla="*/ 0 w 583659"/>
                <a:gd name="connsiteY0" fmla="*/ 1128408 h 1157591"/>
                <a:gd name="connsiteX1" fmla="*/ 126459 w 583659"/>
                <a:gd name="connsiteY1" fmla="*/ 1157591 h 1157591"/>
                <a:gd name="connsiteX2" fmla="*/ 282102 w 583659"/>
                <a:gd name="connsiteY2" fmla="*/ 1138136 h 1157591"/>
                <a:gd name="connsiteX3" fmla="*/ 311285 w 583659"/>
                <a:gd name="connsiteY3" fmla="*/ 1128408 h 1157591"/>
                <a:gd name="connsiteX4" fmla="*/ 369651 w 583659"/>
                <a:gd name="connsiteY4" fmla="*/ 1089498 h 1157591"/>
                <a:gd name="connsiteX5" fmla="*/ 418289 w 583659"/>
                <a:gd name="connsiteY5" fmla="*/ 1050587 h 1157591"/>
                <a:gd name="connsiteX6" fmla="*/ 505838 w 583659"/>
                <a:gd name="connsiteY6" fmla="*/ 1001949 h 1157591"/>
                <a:gd name="connsiteX7" fmla="*/ 544749 w 583659"/>
                <a:gd name="connsiteY7" fmla="*/ 963038 h 1157591"/>
                <a:gd name="connsiteX8" fmla="*/ 573932 w 583659"/>
                <a:gd name="connsiteY8" fmla="*/ 875489 h 1157591"/>
                <a:gd name="connsiteX9" fmla="*/ 583659 w 583659"/>
                <a:gd name="connsiteY9" fmla="*/ 846306 h 1157591"/>
                <a:gd name="connsiteX10" fmla="*/ 544749 w 583659"/>
                <a:gd name="connsiteY10" fmla="*/ 768485 h 1157591"/>
                <a:gd name="connsiteX11" fmla="*/ 496110 w 583659"/>
                <a:gd name="connsiteY11" fmla="*/ 719846 h 1157591"/>
                <a:gd name="connsiteX12" fmla="*/ 466927 w 583659"/>
                <a:gd name="connsiteY12" fmla="*/ 671208 h 1157591"/>
                <a:gd name="connsiteX13" fmla="*/ 418289 w 583659"/>
                <a:gd name="connsiteY13" fmla="*/ 612842 h 1157591"/>
                <a:gd name="connsiteX14" fmla="*/ 389106 w 583659"/>
                <a:gd name="connsiteY14" fmla="*/ 603115 h 1157591"/>
                <a:gd name="connsiteX15" fmla="*/ 350195 w 583659"/>
                <a:gd name="connsiteY15" fmla="*/ 564204 h 1157591"/>
                <a:gd name="connsiteX16" fmla="*/ 301557 w 583659"/>
                <a:gd name="connsiteY16" fmla="*/ 525293 h 1157591"/>
                <a:gd name="connsiteX17" fmla="*/ 282102 w 583659"/>
                <a:gd name="connsiteY17" fmla="*/ 496110 h 1157591"/>
                <a:gd name="connsiteX18" fmla="*/ 223736 w 583659"/>
                <a:gd name="connsiteY18" fmla="*/ 437744 h 1157591"/>
                <a:gd name="connsiteX19" fmla="*/ 165370 w 583659"/>
                <a:gd name="connsiteY19" fmla="*/ 389106 h 1157591"/>
                <a:gd name="connsiteX20" fmla="*/ 145915 w 583659"/>
                <a:gd name="connsiteY20" fmla="*/ 359923 h 1157591"/>
                <a:gd name="connsiteX21" fmla="*/ 126459 w 583659"/>
                <a:gd name="connsiteY21" fmla="*/ 340468 h 1157591"/>
                <a:gd name="connsiteX22" fmla="*/ 145915 w 583659"/>
                <a:gd name="connsiteY22" fmla="*/ 311285 h 1157591"/>
                <a:gd name="connsiteX23" fmla="*/ 204281 w 583659"/>
                <a:gd name="connsiteY23" fmla="*/ 291829 h 1157591"/>
                <a:gd name="connsiteX24" fmla="*/ 243191 w 583659"/>
                <a:gd name="connsiteY24" fmla="*/ 233463 h 1157591"/>
                <a:gd name="connsiteX25" fmla="*/ 262647 w 583659"/>
                <a:gd name="connsiteY25" fmla="*/ 214008 h 1157591"/>
                <a:gd name="connsiteX26" fmla="*/ 321013 w 583659"/>
                <a:gd name="connsiteY26" fmla="*/ 194553 h 1157591"/>
                <a:gd name="connsiteX27" fmla="*/ 379378 w 583659"/>
                <a:gd name="connsiteY27" fmla="*/ 184825 h 1157591"/>
                <a:gd name="connsiteX28" fmla="*/ 437744 w 583659"/>
                <a:gd name="connsiteY28" fmla="*/ 165370 h 1157591"/>
                <a:gd name="connsiteX29" fmla="*/ 457200 w 583659"/>
                <a:gd name="connsiteY29" fmla="*/ 145915 h 1157591"/>
                <a:gd name="connsiteX30" fmla="*/ 466927 w 583659"/>
                <a:gd name="connsiteY30" fmla="*/ 0 h 1157591"/>
                <a:gd name="connsiteX0" fmla="*/ 0 w 583659"/>
                <a:gd name="connsiteY0" fmla="*/ 1128408 h 1157591"/>
                <a:gd name="connsiteX1" fmla="*/ 126459 w 583659"/>
                <a:gd name="connsiteY1" fmla="*/ 1157591 h 1157591"/>
                <a:gd name="connsiteX2" fmla="*/ 282102 w 583659"/>
                <a:gd name="connsiteY2" fmla="*/ 1138136 h 1157591"/>
                <a:gd name="connsiteX3" fmla="*/ 311285 w 583659"/>
                <a:gd name="connsiteY3" fmla="*/ 1128408 h 1157591"/>
                <a:gd name="connsiteX4" fmla="*/ 418289 w 583659"/>
                <a:gd name="connsiteY4" fmla="*/ 1050587 h 1157591"/>
                <a:gd name="connsiteX5" fmla="*/ 505838 w 583659"/>
                <a:gd name="connsiteY5" fmla="*/ 1001949 h 1157591"/>
                <a:gd name="connsiteX6" fmla="*/ 544749 w 583659"/>
                <a:gd name="connsiteY6" fmla="*/ 963038 h 1157591"/>
                <a:gd name="connsiteX7" fmla="*/ 573932 w 583659"/>
                <a:gd name="connsiteY7" fmla="*/ 875489 h 1157591"/>
                <a:gd name="connsiteX8" fmla="*/ 583659 w 583659"/>
                <a:gd name="connsiteY8" fmla="*/ 846306 h 1157591"/>
                <a:gd name="connsiteX9" fmla="*/ 544749 w 583659"/>
                <a:gd name="connsiteY9" fmla="*/ 768485 h 1157591"/>
                <a:gd name="connsiteX10" fmla="*/ 496110 w 583659"/>
                <a:gd name="connsiteY10" fmla="*/ 719846 h 1157591"/>
                <a:gd name="connsiteX11" fmla="*/ 466927 w 583659"/>
                <a:gd name="connsiteY11" fmla="*/ 671208 h 1157591"/>
                <a:gd name="connsiteX12" fmla="*/ 418289 w 583659"/>
                <a:gd name="connsiteY12" fmla="*/ 612842 h 1157591"/>
                <a:gd name="connsiteX13" fmla="*/ 389106 w 583659"/>
                <a:gd name="connsiteY13" fmla="*/ 603115 h 1157591"/>
                <a:gd name="connsiteX14" fmla="*/ 350195 w 583659"/>
                <a:gd name="connsiteY14" fmla="*/ 564204 h 1157591"/>
                <a:gd name="connsiteX15" fmla="*/ 301557 w 583659"/>
                <a:gd name="connsiteY15" fmla="*/ 525293 h 1157591"/>
                <a:gd name="connsiteX16" fmla="*/ 282102 w 583659"/>
                <a:gd name="connsiteY16" fmla="*/ 496110 h 1157591"/>
                <a:gd name="connsiteX17" fmla="*/ 223736 w 583659"/>
                <a:gd name="connsiteY17" fmla="*/ 437744 h 1157591"/>
                <a:gd name="connsiteX18" fmla="*/ 165370 w 583659"/>
                <a:gd name="connsiteY18" fmla="*/ 389106 h 1157591"/>
                <a:gd name="connsiteX19" fmla="*/ 145915 w 583659"/>
                <a:gd name="connsiteY19" fmla="*/ 359923 h 1157591"/>
                <a:gd name="connsiteX20" fmla="*/ 126459 w 583659"/>
                <a:gd name="connsiteY20" fmla="*/ 340468 h 1157591"/>
                <a:gd name="connsiteX21" fmla="*/ 145915 w 583659"/>
                <a:gd name="connsiteY21" fmla="*/ 311285 h 1157591"/>
                <a:gd name="connsiteX22" fmla="*/ 204281 w 583659"/>
                <a:gd name="connsiteY22" fmla="*/ 291829 h 1157591"/>
                <a:gd name="connsiteX23" fmla="*/ 243191 w 583659"/>
                <a:gd name="connsiteY23" fmla="*/ 233463 h 1157591"/>
                <a:gd name="connsiteX24" fmla="*/ 262647 w 583659"/>
                <a:gd name="connsiteY24" fmla="*/ 214008 h 1157591"/>
                <a:gd name="connsiteX25" fmla="*/ 321013 w 583659"/>
                <a:gd name="connsiteY25" fmla="*/ 194553 h 1157591"/>
                <a:gd name="connsiteX26" fmla="*/ 379378 w 583659"/>
                <a:gd name="connsiteY26" fmla="*/ 184825 h 1157591"/>
                <a:gd name="connsiteX27" fmla="*/ 437744 w 583659"/>
                <a:gd name="connsiteY27" fmla="*/ 165370 h 1157591"/>
                <a:gd name="connsiteX28" fmla="*/ 457200 w 583659"/>
                <a:gd name="connsiteY28" fmla="*/ 145915 h 1157591"/>
                <a:gd name="connsiteX29" fmla="*/ 466927 w 583659"/>
                <a:gd name="connsiteY29" fmla="*/ 0 h 1157591"/>
                <a:gd name="connsiteX0" fmla="*/ 0 w 583659"/>
                <a:gd name="connsiteY0" fmla="*/ 1128408 h 1157591"/>
                <a:gd name="connsiteX1" fmla="*/ 126459 w 583659"/>
                <a:gd name="connsiteY1" fmla="*/ 1157591 h 1157591"/>
                <a:gd name="connsiteX2" fmla="*/ 282102 w 583659"/>
                <a:gd name="connsiteY2" fmla="*/ 1138136 h 1157591"/>
                <a:gd name="connsiteX3" fmla="*/ 311285 w 583659"/>
                <a:gd name="connsiteY3" fmla="*/ 1128408 h 1157591"/>
                <a:gd name="connsiteX4" fmla="*/ 418289 w 583659"/>
                <a:gd name="connsiteY4" fmla="*/ 1050587 h 1157591"/>
                <a:gd name="connsiteX5" fmla="*/ 544749 w 583659"/>
                <a:gd name="connsiteY5" fmla="*/ 963038 h 1157591"/>
                <a:gd name="connsiteX6" fmla="*/ 573932 w 583659"/>
                <a:gd name="connsiteY6" fmla="*/ 875489 h 1157591"/>
                <a:gd name="connsiteX7" fmla="*/ 583659 w 583659"/>
                <a:gd name="connsiteY7" fmla="*/ 846306 h 1157591"/>
                <a:gd name="connsiteX8" fmla="*/ 544749 w 583659"/>
                <a:gd name="connsiteY8" fmla="*/ 768485 h 1157591"/>
                <a:gd name="connsiteX9" fmla="*/ 496110 w 583659"/>
                <a:gd name="connsiteY9" fmla="*/ 719846 h 1157591"/>
                <a:gd name="connsiteX10" fmla="*/ 466927 w 583659"/>
                <a:gd name="connsiteY10" fmla="*/ 671208 h 1157591"/>
                <a:gd name="connsiteX11" fmla="*/ 418289 w 583659"/>
                <a:gd name="connsiteY11" fmla="*/ 612842 h 1157591"/>
                <a:gd name="connsiteX12" fmla="*/ 389106 w 583659"/>
                <a:gd name="connsiteY12" fmla="*/ 603115 h 1157591"/>
                <a:gd name="connsiteX13" fmla="*/ 350195 w 583659"/>
                <a:gd name="connsiteY13" fmla="*/ 564204 h 1157591"/>
                <a:gd name="connsiteX14" fmla="*/ 301557 w 583659"/>
                <a:gd name="connsiteY14" fmla="*/ 525293 h 1157591"/>
                <a:gd name="connsiteX15" fmla="*/ 282102 w 583659"/>
                <a:gd name="connsiteY15" fmla="*/ 496110 h 1157591"/>
                <a:gd name="connsiteX16" fmla="*/ 223736 w 583659"/>
                <a:gd name="connsiteY16" fmla="*/ 437744 h 1157591"/>
                <a:gd name="connsiteX17" fmla="*/ 165370 w 583659"/>
                <a:gd name="connsiteY17" fmla="*/ 389106 h 1157591"/>
                <a:gd name="connsiteX18" fmla="*/ 145915 w 583659"/>
                <a:gd name="connsiteY18" fmla="*/ 359923 h 1157591"/>
                <a:gd name="connsiteX19" fmla="*/ 126459 w 583659"/>
                <a:gd name="connsiteY19" fmla="*/ 340468 h 1157591"/>
                <a:gd name="connsiteX20" fmla="*/ 145915 w 583659"/>
                <a:gd name="connsiteY20" fmla="*/ 311285 h 1157591"/>
                <a:gd name="connsiteX21" fmla="*/ 204281 w 583659"/>
                <a:gd name="connsiteY21" fmla="*/ 291829 h 1157591"/>
                <a:gd name="connsiteX22" fmla="*/ 243191 w 583659"/>
                <a:gd name="connsiteY22" fmla="*/ 233463 h 1157591"/>
                <a:gd name="connsiteX23" fmla="*/ 262647 w 583659"/>
                <a:gd name="connsiteY23" fmla="*/ 214008 h 1157591"/>
                <a:gd name="connsiteX24" fmla="*/ 321013 w 583659"/>
                <a:gd name="connsiteY24" fmla="*/ 194553 h 1157591"/>
                <a:gd name="connsiteX25" fmla="*/ 379378 w 583659"/>
                <a:gd name="connsiteY25" fmla="*/ 184825 h 1157591"/>
                <a:gd name="connsiteX26" fmla="*/ 437744 w 583659"/>
                <a:gd name="connsiteY26" fmla="*/ 165370 h 1157591"/>
                <a:gd name="connsiteX27" fmla="*/ 457200 w 583659"/>
                <a:gd name="connsiteY27" fmla="*/ 145915 h 1157591"/>
                <a:gd name="connsiteX28" fmla="*/ 466927 w 583659"/>
                <a:gd name="connsiteY28" fmla="*/ 0 h 1157591"/>
                <a:gd name="connsiteX0" fmla="*/ 0 w 573932"/>
                <a:gd name="connsiteY0" fmla="*/ 1128408 h 1157591"/>
                <a:gd name="connsiteX1" fmla="*/ 126459 w 573932"/>
                <a:gd name="connsiteY1" fmla="*/ 1157591 h 1157591"/>
                <a:gd name="connsiteX2" fmla="*/ 282102 w 573932"/>
                <a:gd name="connsiteY2" fmla="*/ 1138136 h 1157591"/>
                <a:gd name="connsiteX3" fmla="*/ 311285 w 573932"/>
                <a:gd name="connsiteY3" fmla="*/ 1128408 h 1157591"/>
                <a:gd name="connsiteX4" fmla="*/ 418289 w 573932"/>
                <a:gd name="connsiteY4" fmla="*/ 1050587 h 1157591"/>
                <a:gd name="connsiteX5" fmla="*/ 544749 w 573932"/>
                <a:gd name="connsiteY5" fmla="*/ 963038 h 1157591"/>
                <a:gd name="connsiteX6" fmla="*/ 573932 w 573932"/>
                <a:gd name="connsiteY6" fmla="*/ 875489 h 1157591"/>
                <a:gd name="connsiteX7" fmla="*/ 544749 w 573932"/>
                <a:gd name="connsiteY7" fmla="*/ 768485 h 1157591"/>
                <a:gd name="connsiteX8" fmla="*/ 496110 w 573932"/>
                <a:gd name="connsiteY8" fmla="*/ 719846 h 1157591"/>
                <a:gd name="connsiteX9" fmla="*/ 466927 w 573932"/>
                <a:gd name="connsiteY9" fmla="*/ 671208 h 1157591"/>
                <a:gd name="connsiteX10" fmla="*/ 418289 w 573932"/>
                <a:gd name="connsiteY10" fmla="*/ 612842 h 1157591"/>
                <a:gd name="connsiteX11" fmla="*/ 389106 w 573932"/>
                <a:gd name="connsiteY11" fmla="*/ 603115 h 1157591"/>
                <a:gd name="connsiteX12" fmla="*/ 350195 w 573932"/>
                <a:gd name="connsiteY12" fmla="*/ 564204 h 1157591"/>
                <a:gd name="connsiteX13" fmla="*/ 301557 w 573932"/>
                <a:gd name="connsiteY13" fmla="*/ 525293 h 1157591"/>
                <a:gd name="connsiteX14" fmla="*/ 282102 w 573932"/>
                <a:gd name="connsiteY14" fmla="*/ 496110 h 1157591"/>
                <a:gd name="connsiteX15" fmla="*/ 223736 w 573932"/>
                <a:gd name="connsiteY15" fmla="*/ 437744 h 1157591"/>
                <a:gd name="connsiteX16" fmla="*/ 165370 w 573932"/>
                <a:gd name="connsiteY16" fmla="*/ 389106 h 1157591"/>
                <a:gd name="connsiteX17" fmla="*/ 145915 w 573932"/>
                <a:gd name="connsiteY17" fmla="*/ 359923 h 1157591"/>
                <a:gd name="connsiteX18" fmla="*/ 126459 w 573932"/>
                <a:gd name="connsiteY18" fmla="*/ 340468 h 1157591"/>
                <a:gd name="connsiteX19" fmla="*/ 145915 w 573932"/>
                <a:gd name="connsiteY19" fmla="*/ 311285 h 1157591"/>
                <a:gd name="connsiteX20" fmla="*/ 204281 w 573932"/>
                <a:gd name="connsiteY20" fmla="*/ 291829 h 1157591"/>
                <a:gd name="connsiteX21" fmla="*/ 243191 w 573932"/>
                <a:gd name="connsiteY21" fmla="*/ 233463 h 1157591"/>
                <a:gd name="connsiteX22" fmla="*/ 262647 w 573932"/>
                <a:gd name="connsiteY22" fmla="*/ 214008 h 1157591"/>
                <a:gd name="connsiteX23" fmla="*/ 321013 w 573932"/>
                <a:gd name="connsiteY23" fmla="*/ 194553 h 1157591"/>
                <a:gd name="connsiteX24" fmla="*/ 379378 w 573932"/>
                <a:gd name="connsiteY24" fmla="*/ 184825 h 1157591"/>
                <a:gd name="connsiteX25" fmla="*/ 437744 w 573932"/>
                <a:gd name="connsiteY25" fmla="*/ 165370 h 1157591"/>
                <a:gd name="connsiteX26" fmla="*/ 457200 w 573932"/>
                <a:gd name="connsiteY26" fmla="*/ 145915 h 1157591"/>
                <a:gd name="connsiteX27" fmla="*/ 466927 w 573932"/>
                <a:gd name="connsiteY27" fmla="*/ 0 h 1157591"/>
                <a:gd name="connsiteX0" fmla="*/ 0 w 549960"/>
                <a:gd name="connsiteY0" fmla="*/ 1128408 h 1157591"/>
                <a:gd name="connsiteX1" fmla="*/ 126459 w 549960"/>
                <a:gd name="connsiteY1" fmla="*/ 1157591 h 1157591"/>
                <a:gd name="connsiteX2" fmla="*/ 282102 w 549960"/>
                <a:gd name="connsiteY2" fmla="*/ 1138136 h 1157591"/>
                <a:gd name="connsiteX3" fmla="*/ 311285 w 549960"/>
                <a:gd name="connsiteY3" fmla="*/ 1128408 h 1157591"/>
                <a:gd name="connsiteX4" fmla="*/ 418289 w 549960"/>
                <a:gd name="connsiteY4" fmla="*/ 1050587 h 1157591"/>
                <a:gd name="connsiteX5" fmla="*/ 544749 w 549960"/>
                <a:gd name="connsiteY5" fmla="*/ 963038 h 1157591"/>
                <a:gd name="connsiteX6" fmla="*/ 533141 w 549960"/>
                <a:gd name="connsiteY6" fmla="*/ 841497 h 1157591"/>
                <a:gd name="connsiteX7" fmla="*/ 544749 w 549960"/>
                <a:gd name="connsiteY7" fmla="*/ 768485 h 1157591"/>
                <a:gd name="connsiteX8" fmla="*/ 496110 w 549960"/>
                <a:gd name="connsiteY8" fmla="*/ 719846 h 1157591"/>
                <a:gd name="connsiteX9" fmla="*/ 466927 w 549960"/>
                <a:gd name="connsiteY9" fmla="*/ 671208 h 1157591"/>
                <a:gd name="connsiteX10" fmla="*/ 418289 w 549960"/>
                <a:gd name="connsiteY10" fmla="*/ 612842 h 1157591"/>
                <a:gd name="connsiteX11" fmla="*/ 389106 w 549960"/>
                <a:gd name="connsiteY11" fmla="*/ 603115 h 1157591"/>
                <a:gd name="connsiteX12" fmla="*/ 350195 w 549960"/>
                <a:gd name="connsiteY12" fmla="*/ 564204 h 1157591"/>
                <a:gd name="connsiteX13" fmla="*/ 301557 w 549960"/>
                <a:gd name="connsiteY13" fmla="*/ 525293 h 1157591"/>
                <a:gd name="connsiteX14" fmla="*/ 282102 w 549960"/>
                <a:gd name="connsiteY14" fmla="*/ 496110 h 1157591"/>
                <a:gd name="connsiteX15" fmla="*/ 223736 w 549960"/>
                <a:gd name="connsiteY15" fmla="*/ 437744 h 1157591"/>
                <a:gd name="connsiteX16" fmla="*/ 165370 w 549960"/>
                <a:gd name="connsiteY16" fmla="*/ 389106 h 1157591"/>
                <a:gd name="connsiteX17" fmla="*/ 145915 w 549960"/>
                <a:gd name="connsiteY17" fmla="*/ 359923 h 1157591"/>
                <a:gd name="connsiteX18" fmla="*/ 126459 w 549960"/>
                <a:gd name="connsiteY18" fmla="*/ 340468 h 1157591"/>
                <a:gd name="connsiteX19" fmla="*/ 145915 w 549960"/>
                <a:gd name="connsiteY19" fmla="*/ 311285 h 1157591"/>
                <a:gd name="connsiteX20" fmla="*/ 204281 w 549960"/>
                <a:gd name="connsiteY20" fmla="*/ 291829 h 1157591"/>
                <a:gd name="connsiteX21" fmla="*/ 243191 w 549960"/>
                <a:gd name="connsiteY21" fmla="*/ 233463 h 1157591"/>
                <a:gd name="connsiteX22" fmla="*/ 262647 w 549960"/>
                <a:gd name="connsiteY22" fmla="*/ 214008 h 1157591"/>
                <a:gd name="connsiteX23" fmla="*/ 321013 w 549960"/>
                <a:gd name="connsiteY23" fmla="*/ 194553 h 1157591"/>
                <a:gd name="connsiteX24" fmla="*/ 379378 w 549960"/>
                <a:gd name="connsiteY24" fmla="*/ 184825 h 1157591"/>
                <a:gd name="connsiteX25" fmla="*/ 437744 w 549960"/>
                <a:gd name="connsiteY25" fmla="*/ 165370 h 1157591"/>
                <a:gd name="connsiteX26" fmla="*/ 457200 w 549960"/>
                <a:gd name="connsiteY26" fmla="*/ 145915 h 1157591"/>
                <a:gd name="connsiteX27" fmla="*/ 466927 w 549960"/>
                <a:gd name="connsiteY27" fmla="*/ 0 h 1157591"/>
                <a:gd name="connsiteX0" fmla="*/ 0 w 546270"/>
                <a:gd name="connsiteY0" fmla="*/ 1128408 h 1157591"/>
                <a:gd name="connsiteX1" fmla="*/ 126459 w 546270"/>
                <a:gd name="connsiteY1" fmla="*/ 1157591 h 1157591"/>
                <a:gd name="connsiteX2" fmla="*/ 282102 w 546270"/>
                <a:gd name="connsiteY2" fmla="*/ 1138136 h 1157591"/>
                <a:gd name="connsiteX3" fmla="*/ 311285 w 546270"/>
                <a:gd name="connsiteY3" fmla="*/ 1128408 h 1157591"/>
                <a:gd name="connsiteX4" fmla="*/ 418289 w 546270"/>
                <a:gd name="connsiteY4" fmla="*/ 1050587 h 1157591"/>
                <a:gd name="connsiteX5" fmla="*/ 524354 w 546270"/>
                <a:gd name="connsiteY5" fmla="*/ 905250 h 1157591"/>
                <a:gd name="connsiteX6" fmla="*/ 533141 w 546270"/>
                <a:gd name="connsiteY6" fmla="*/ 841497 h 1157591"/>
                <a:gd name="connsiteX7" fmla="*/ 544749 w 546270"/>
                <a:gd name="connsiteY7" fmla="*/ 768485 h 1157591"/>
                <a:gd name="connsiteX8" fmla="*/ 496110 w 546270"/>
                <a:gd name="connsiteY8" fmla="*/ 719846 h 1157591"/>
                <a:gd name="connsiteX9" fmla="*/ 466927 w 546270"/>
                <a:gd name="connsiteY9" fmla="*/ 671208 h 1157591"/>
                <a:gd name="connsiteX10" fmla="*/ 418289 w 546270"/>
                <a:gd name="connsiteY10" fmla="*/ 612842 h 1157591"/>
                <a:gd name="connsiteX11" fmla="*/ 389106 w 546270"/>
                <a:gd name="connsiteY11" fmla="*/ 603115 h 1157591"/>
                <a:gd name="connsiteX12" fmla="*/ 350195 w 546270"/>
                <a:gd name="connsiteY12" fmla="*/ 564204 h 1157591"/>
                <a:gd name="connsiteX13" fmla="*/ 301557 w 546270"/>
                <a:gd name="connsiteY13" fmla="*/ 525293 h 1157591"/>
                <a:gd name="connsiteX14" fmla="*/ 282102 w 546270"/>
                <a:gd name="connsiteY14" fmla="*/ 496110 h 1157591"/>
                <a:gd name="connsiteX15" fmla="*/ 223736 w 546270"/>
                <a:gd name="connsiteY15" fmla="*/ 437744 h 1157591"/>
                <a:gd name="connsiteX16" fmla="*/ 165370 w 546270"/>
                <a:gd name="connsiteY16" fmla="*/ 389106 h 1157591"/>
                <a:gd name="connsiteX17" fmla="*/ 145915 w 546270"/>
                <a:gd name="connsiteY17" fmla="*/ 359923 h 1157591"/>
                <a:gd name="connsiteX18" fmla="*/ 126459 w 546270"/>
                <a:gd name="connsiteY18" fmla="*/ 340468 h 1157591"/>
                <a:gd name="connsiteX19" fmla="*/ 145915 w 546270"/>
                <a:gd name="connsiteY19" fmla="*/ 311285 h 1157591"/>
                <a:gd name="connsiteX20" fmla="*/ 204281 w 546270"/>
                <a:gd name="connsiteY20" fmla="*/ 291829 h 1157591"/>
                <a:gd name="connsiteX21" fmla="*/ 243191 w 546270"/>
                <a:gd name="connsiteY21" fmla="*/ 233463 h 1157591"/>
                <a:gd name="connsiteX22" fmla="*/ 262647 w 546270"/>
                <a:gd name="connsiteY22" fmla="*/ 214008 h 1157591"/>
                <a:gd name="connsiteX23" fmla="*/ 321013 w 546270"/>
                <a:gd name="connsiteY23" fmla="*/ 194553 h 1157591"/>
                <a:gd name="connsiteX24" fmla="*/ 379378 w 546270"/>
                <a:gd name="connsiteY24" fmla="*/ 184825 h 1157591"/>
                <a:gd name="connsiteX25" fmla="*/ 437744 w 546270"/>
                <a:gd name="connsiteY25" fmla="*/ 165370 h 1157591"/>
                <a:gd name="connsiteX26" fmla="*/ 457200 w 546270"/>
                <a:gd name="connsiteY26" fmla="*/ 145915 h 1157591"/>
                <a:gd name="connsiteX27" fmla="*/ 466927 w 546270"/>
                <a:gd name="connsiteY27" fmla="*/ 0 h 1157591"/>
                <a:gd name="connsiteX0" fmla="*/ 0 w 546270"/>
                <a:gd name="connsiteY0" fmla="*/ 1128408 h 1157591"/>
                <a:gd name="connsiteX1" fmla="*/ 126459 w 546270"/>
                <a:gd name="connsiteY1" fmla="*/ 1157591 h 1157591"/>
                <a:gd name="connsiteX2" fmla="*/ 282102 w 546270"/>
                <a:gd name="connsiteY2" fmla="*/ 1138136 h 1157591"/>
                <a:gd name="connsiteX3" fmla="*/ 311285 w 546270"/>
                <a:gd name="connsiteY3" fmla="*/ 1128408 h 1157591"/>
                <a:gd name="connsiteX4" fmla="*/ 387696 w 546270"/>
                <a:gd name="connsiteY4" fmla="*/ 1016594 h 1157591"/>
                <a:gd name="connsiteX5" fmla="*/ 524354 w 546270"/>
                <a:gd name="connsiteY5" fmla="*/ 905250 h 1157591"/>
                <a:gd name="connsiteX6" fmla="*/ 533141 w 546270"/>
                <a:gd name="connsiteY6" fmla="*/ 841497 h 1157591"/>
                <a:gd name="connsiteX7" fmla="*/ 544749 w 546270"/>
                <a:gd name="connsiteY7" fmla="*/ 768485 h 1157591"/>
                <a:gd name="connsiteX8" fmla="*/ 496110 w 546270"/>
                <a:gd name="connsiteY8" fmla="*/ 719846 h 1157591"/>
                <a:gd name="connsiteX9" fmla="*/ 466927 w 546270"/>
                <a:gd name="connsiteY9" fmla="*/ 671208 h 1157591"/>
                <a:gd name="connsiteX10" fmla="*/ 418289 w 546270"/>
                <a:gd name="connsiteY10" fmla="*/ 612842 h 1157591"/>
                <a:gd name="connsiteX11" fmla="*/ 389106 w 546270"/>
                <a:gd name="connsiteY11" fmla="*/ 603115 h 1157591"/>
                <a:gd name="connsiteX12" fmla="*/ 350195 w 546270"/>
                <a:gd name="connsiteY12" fmla="*/ 564204 h 1157591"/>
                <a:gd name="connsiteX13" fmla="*/ 301557 w 546270"/>
                <a:gd name="connsiteY13" fmla="*/ 525293 h 1157591"/>
                <a:gd name="connsiteX14" fmla="*/ 282102 w 546270"/>
                <a:gd name="connsiteY14" fmla="*/ 496110 h 1157591"/>
                <a:gd name="connsiteX15" fmla="*/ 223736 w 546270"/>
                <a:gd name="connsiteY15" fmla="*/ 437744 h 1157591"/>
                <a:gd name="connsiteX16" fmla="*/ 165370 w 546270"/>
                <a:gd name="connsiteY16" fmla="*/ 389106 h 1157591"/>
                <a:gd name="connsiteX17" fmla="*/ 145915 w 546270"/>
                <a:gd name="connsiteY17" fmla="*/ 359923 h 1157591"/>
                <a:gd name="connsiteX18" fmla="*/ 126459 w 546270"/>
                <a:gd name="connsiteY18" fmla="*/ 340468 h 1157591"/>
                <a:gd name="connsiteX19" fmla="*/ 145915 w 546270"/>
                <a:gd name="connsiteY19" fmla="*/ 311285 h 1157591"/>
                <a:gd name="connsiteX20" fmla="*/ 204281 w 546270"/>
                <a:gd name="connsiteY20" fmla="*/ 291829 h 1157591"/>
                <a:gd name="connsiteX21" fmla="*/ 243191 w 546270"/>
                <a:gd name="connsiteY21" fmla="*/ 233463 h 1157591"/>
                <a:gd name="connsiteX22" fmla="*/ 262647 w 546270"/>
                <a:gd name="connsiteY22" fmla="*/ 214008 h 1157591"/>
                <a:gd name="connsiteX23" fmla="*/ 321013 w 546270"/>
                <a:gd name="connsiteY23" fmla="*/ 194553 h 1157591"/>
                <a:gd name="connsiteX24" fmla="*/ 379378 w 546270"/>
                <a:gd name="connsiteY24" fmla="*/ 184825 h 1157591"/>
                <a:gd name="connsiteX25" fmla="*/ 437744 w 546270"/>
                <a:gd name="connsiteY25" fmla="*/ 165370 h 1157591"/>
                <a:gd name="connsiteX26" fmla="*/ 457200 w 546270"/>
                <a:gd name="connsiteY26" fmla="*/ 145915 h 1157591"/>
                <a:gd name="connsiteX27" fmla="*/ 466927 w 546270"/>
                <a:gd name="connsiteY27" fmla="*/ 0 h 1157591"/>
                <a:gd name="connsiteX0" fmla="*/ 0 w 546270"/>
                <a:gd name="connsiteY0" fmla="*/ 1128408 h 1157591"/>
                <a:gd name="connsiteX1" fmla="*/ 126459 w 546270"/>
                <a:gd name="connsiteY1" fmla="*/ 1157591 h 1157591"/>
                <a:gd name="connsiteX2" fmla="*/ 282102 w 546270"/>
                <a:gd name="connsiteY2" fmla="*/ 1138136 h 1157591"/>
                <a:gd name="connsiteX3" fmla="*/ 287490 w 546270"/>
                <a:gd name="connsiteY3" fmla="*/ 1091016 h 1157591"/>
                <a:gd name="connsiteX4" fmla="*/ 387696 w 546270"/>
                <a:gd name="connsiteY4" fmla="*/ 1016594 h 1157591"/>
                <a:gd name="connsiteX5" fmla="*/ 524354 w 546270"/>
                <a:gd name="connsiteY5" fmla="*/ 905250 h 1157591"/>
                <a:gd name="connsiteX6" fmla="*/ 533141 w 546270"/>
                <a:gd name="connsiteY6" fmla="*/ 841497 h 1157591"/>
                <a:gd name="connsiteX7" fmla="*/ 544749 w 546270"/>
                <a:gd name="connsiteY7" fmla="*/ 768485 h 1157591"/>
                <a:gd name="connsiteX8" fmla="*/ 496110 w 546270"/>
                <a:gd name="connsiteY8" fmla="*/ 719846 h 1157591"/>
                <a:gd name="connsiteX9" fmla="*/ 466927 w 546270"/>
                <a:gd name="connsiteY9" fmla="*/ 671208 h 1157591"/>
                <a:gd name="connsiteX10" fmla="*/ 418289 w 546270"/>
                <a:gd name="connsiteY10" fmla="*/ 612842 h 1157591"/>
                <a:gd name="connsiteX11" fmla="*/ 389106 w 546270"/>
                <a:gd name="connsiteY11" fmla="*/ 603115 h 1157591"/>
                <a:gd name="connsiteX12" fmla="*/ 350195 w 546270"/>
                <a:gd name="connsiteY12" fmla="*/ 564204 h 1157591"/>
                <a:gd name="connsiteX13" fmla="*/ 301557 w 546270"/>
                <a:gd name="connsiteY13" fmla="*/ 525293 h 1157591"/>
                <a:gd name="connsiteX14" fmla="*/ 282102 w 546270"/>
                <a:gd name="connsiteY14" fmla="*/ 496110 h 1157591"/>
                <a:gd name="connsiteX15" fmla="*/ 223736 w 546270"/>
                <a:gd name="connsiteY15" fmla="*/ 437744 h 1157591"/>
                <a:gd name="connsiteX16" fmla="*/ 165370 w 546270"/>
                <a:gd name="connsiteY16" fmla="*/ 389106 h 1157591"/>
                <a:gd name="connsiteX17" fmla="*/ 145915 w 546270"/>
                <a:gd name="connsiteY17" fmla="*/ 359923 h 1157591"/>
                <a:gd name="connsiteX18" fmla="*/ 126459 w 546270"/>
                <a:gd name="connsiteY18" fmla="*/ 340468 h 1157591"/>
                <a:gd name="connsiteX19" fmla="*/ 145915 w 546270"/>
                <a:gd name="connsiteY19" fmla="*/ 311285 h 1157591"/>
                <a:gd name="connsiteX20" fmla="*/ 204281 w 546270"/>
                <a:gd name="connsiteY20" fmla="*/ 291829 h 1157591"/>
                <a:gd name="connsiteX21" fmla="*/ 243191 w 546270"/>
                <a:gd name="connsiteY21" fmla="*/ 233463 h 1157591"/>
                <a:gd name="connsiteX22" fmla="*/ 262647 w 546270"/>
                <a:gd name="connsiteY22" fmla="*/ 214008 h 1157591"/>
                <a:gd name="connsiteX23" fmla="*/ 321013 w 546270"/>
                <a:gd name="connsiteY23" fmla="*/ 194553 h 1157591"/>
                <a:gd name="connsiteX24" fmla="*/ 379378 w 546270"/>
                <a:gd name="connsiteY24" fmla="*/ 184825 h 1157591"/>
                <a:gd name="connsiteX25" fmla="*/ 437744 w 546270"/>
                <a:gd name="connsiteY25" fmla="*/ 165370 h 1157591"/>
                <a:gd name="connsiteX26" fmla="*/ 457200 w 546270"/>
                <a:gd name="connsiteY26" fmla="*/ 145915 h 1157591"/>
                <a:gd name="connsiteX27" fmla="*/ 466927 w 546270"/>
                <a:gd name="connsiteY27" fmla="*/ 0 h 1157591"/>
                <a:gd name="connsiteX0" fmla="*/ 0 w 546270"/>
                <a:gd name="connsiteY0" fmla="*/ 1128408 h 1157591"/>
                <a:gd name="connsiteX1" fmla="*/ 126459 w 546270"/>
                <a:gd name="connsiteY1" fmla="*/ 1157591 h 1157591"/>
                <a:gd name="connsiteX2" fmla="*/ 237912 w 546270"/>
                <a:gd name="connsiteY2" fmla="*/ 1117740 h 1157591"/>
                <a:gd name="connsiteX3" fmla="*/ 287490 w 546270"/>
                <a:gd name="connsiteY3" fmla="*/ 1091016 h 1157591"/>
                <a:gd name="connsiteX4" fmla="*/ 387696 w 546270"/>
                <a:gd name="connsiteY4" fmla="*/ 1016594 h 1157591"/>
                <a:gd name="connsiteX5" fmla="*/ 524354 w 546270"/>
                <a:gd name="connsiteY5" fmla="*/ 905250 h 1157591"/>
                <a:gd name="connsiteX6" fmla="*/ 533141 w 546270"/>
                <a:gd name="connsiteY6" fmla="*/ 841497 h 1157591"/>
                <a:gd name="connsiteX7" fmla="*/ 544749 w 546270"/>
                <a:gd name="connsiteY7" fmla="*/ 768485 h 1157591"/>
                <a:gd name="connsiteX8" fmla="*/ 496110 w 546270"/>
                <a:gd name="connsiteY8" fmla="*/ 719846 h 1157591"/>
                <a:gd name="connsiteX9" fmla="*/ 466927 w 546270"/>
                <a:gd name="connsiteY9" fmla="*/ 671208 h 1157591"/>
                <a:gd name="connsiteX10" fmla="*/ 418289 w 546270"/>
                <a:gd name="connsiteY10" fmla="*/ 612842 h 1157591"/>
                <a:gd name="connsiteX11" fmla="*/ 389106 w 546270"/>
                <a:gd name="connsiteY11" fmla="*/ 603115 h 1157591"/>
                <a:gd name="connsiteX12" fmla="*/ 350195 w 546270"/>
                <a:gd name="connsiteY12" fmla="*/ 564204 h 1157591"/>
                <a:gd name="connsiteX13" fmla="*/ 301557 w 546270"/>
                <a:gd name="connsiteY13" fmla="*/ 525293 h 1157591"/>
                <a:gd name="connsiteX14" fmla="*/ 282102 w 546270"/>
                <a:gd name="connsiteY14" fmla="*/ 496110 h 1157591"/>
                <a:gd name="connsiteX15" fmla="*/ 223736 w 546270"/>
                <a:gd name="connsiteY15" fmla="*/ 437744 h 1157591"/>
                <a:gd name="connsiteX16" fmla="*/ 165370 w 546270"/>
                <a:gd name="connsiteY16" fmla="*/ 389106 h 1157591"/>
                <a:gd name="connsiteX17" fmla="*/ 145915 w 546270"/>
                <a:gd name="connsiteY17" fmla="*/ 359923 h 1157591"/>
                <a:gd name="connsiteX18" fmla="*/ 126459 w 546270"/>
                <a:gd name="connsiteY18" fmla="*/ 340468 h 1157591"/>
                <a:gd name="connsiteX19" fmla="*/ 145915 w 546270"/>
                <a:gd name="connsiteY19" fmla="*/ 311285 h 1157591"/>
                <a:gd name="connsiteX20" fmla="*/ 204281 w 546270"/>
                <a:gd name="connsiteY20" fmla="*/ 291829 h 1157591"/>
                <a:gd name="connsiteX21" fmla="*/ 243191 w 546270"/>
                <a:gd name="connsiteY21" fmla="*/ 233463 h 1157591"/>
                <a:gd name="connsiteX22" fmla="*/ 262647 w 546270"/>
                <a:gd name="connsiteY22" fmla="*/ 214008 h 1157591"/>
                <a:gd name="connsiteX23" fmla="*/ 321013 w 546270"/>
                <a:gd name="connsiteY23" fmla="*/ 194553 h 1157591"/>
                <a:gd name="connsiteX24" fmla="*/ 379378 w 546270"/>
                <a:gd name="connsiteY24" fmla="*/ 184825 h 1157591"/>
                <a:gd name="connsiteX25" fmla="*/ 437744 w 546270"/>
                <a:gd name="connsiteY25" fmla="*/ 165370 h 1157591"/>
                <a:gd name="connsiteX26" fmla="*/ 457200 w 546270"/>
                <a:gd name="connsiteY26" fmla="*/ 145915 h 1157591"/>
                <a:gd name="connsiteX27" fmla="*/ 466927 w 546270"/>
                <a:gd name="connsiteY27" fmla="*/ 0 h 1157591"/>
                <a:gd name="connsiteX0" fmla="*/ 0 w 546270"/>
                <a:gd name="connsiteY0" fmla="*/ 1128408 h 1157591"/>
                <a:gd name="connsiteX1" fmla="*/ 126459 w 546270"/>
                <a:gd name="connsiteY1" fmla="*/ 1157591 h 1157591"/>
                <a:gd name="connsiteX2" fmla="*/ 287490 w 546270"/>
                <a:gd name="connsiteY2" fmla="*/ 1091016 h 1157591"/>
                <a:gd name="connsiteX3" fmla="*/ 387696 w 546270"/>
                <a:gd name="connsiteY3" fmla="*/ 1016594 h 1157591"/>
                <a:gd name="connsiteX4" fmla="*/ 524354 w 546270"/>
                <a:gd name="connsiteY4" fmla="*/ 905250 h 1157591"/>
                <a:gd name="connsiteX5" fmla="*/ 533141 w 546270"/>
                <a:gd name="connsiteY5" fmla="*/ 841497 h 1157591"/>
                <a:gd name="connsiteX6" fmla="*/ 544749 w 546270"/>
                <a:gd name="connsiteY6" fmla="*/ 768485 h 1157591"/>
                <a:gd name="connsiteX7" fmla="*/ 496110 w 546270"/>
                <a:gd name="connsiteY7" fmla="*/ 719846 h 1157591"/>
                <a:gd name="connsiteX8" fmla="*/ 466927 w 546270"/>
                <a:gd name="connsiteY8" fmla="*/ 671208 h 1157591"/>
                <a:gd name="connsiteX9" fmla="*/ 418289 w 546270"/>
                <a:gd name="connsiteY9" fmla="*/ 612842 h 1157591"/>
                <a:gd name="connsiteX10" fmla="*/ 389106 w 546270"/>
                <a:gd name="connsiteY10" fmla="*/ 603115 h 1157591"/>
                <a:gd name="connsiteX11" fmla="*/ 350195 w 546270"/>
                <a:gd name="connsiteY11" fmla="*/ 564204 h 1157591"/>
                <a:gd name="connsiteX12" fmla="*/ 301557 w 546270"/>
                <a:gd name="connsiteY12" fmla="*/ 525293 h 1157591"/>
                <a:gd name="connsiteX13" fmla="*/ 282102 w 546270"/>
                <a:gd name="connsiteY13" fmla="*/ 496110 h 1157591"/>
                <a:gd name="connsiteX14" fmla="*/ 223736 w 546270"/>
                <a:gd name="connsiteY14" fmla="*/ 437744 h 1157591"/>
                <a:gd name="connsiteX15" fmla="*/ 165370 w 546270"/>
                <a:gd name="connsiteY15" fmla="*/ 389106 h 1157591"/>
                <a:gd name="connsiteX16" fmla="*/ 145915 w 546270"/>
                <a:gd name="connsiteY16" fmla="*/ 359923 h 1157591"/>
                <a:gd name="connsiteX17" fmla="*/ 126459 w 546270"/>
                <a:gd name="connsiteY17" fmla="*/ 340468 h 1157591"/>
                <a:gd name="connsiteX18" fmla="*/ 145915 w 546270"/>
                <a:gd name="connsiteY18" fmla="*/ 311285 h 1157591"/>
                <a:gd name="connsiteX19" fmla="*/ 204281 w 546270"/>
                <a:gd name="connsiteY19" fmla="*/ 291829 h 1157591"/>
                <a:gd name="connsiteX20" fmla="*/ 243191 w 546270"/>
                <a:gd name="connsiteY20" fmla="*/ 233463 h 1157591"/>
                <a:gd name="connsiteX21" fmla="*/ 262647 w 546270"/>
                <a:gd name="connsiteY21" fmla="*/ 214008 h 1157591"/>
                <a:gd name="connsiteX22" fmla="*/ 321013 w 546270"/>
                <a:gd name="connsiteY22" fmla="*/ 194553 h 1157591"/>
                <a:gd name="connsiteX23" fmla="*/ 379378 w 546270"/>
                <a:gd name="connsiteY23" fmla="*/ 184825 h 1157591"/>
                <a:gd name="connsiteX24" fmla="*/ 437744 w 546270"/>
                <a:gd name="connsiteY24" fmla="*/ 165370 h 1157591"/>
                <a:gd name="connsiteX25" fmla="*/ 457200 w 546270"/>
                <a:gd name="connsiteY25" fmla="*/ 145915 h 1157591"/>
                <a:gd name="connsiteX26" fmla="*/ 466927 w 546270"/>
                <a:gd name="connsiteY26" fmla="*/ 0 h 1157591"/>
                <a:gd name="connsiteX0" fmla="*/ 0 w 546270"/>
                <a:gd name="connsiteY0" fmla="*/ 1128408 h 1160990"/>
                <a:gd name="connsiteX1" fmla="*/ 146854 w 546270"/>
                <a:gd name="connsiteY1" fmla="*/ 1160990 h 1160990"/>
                <a:gd name="connsiteX2" fmla="*/ 287490 w 546270"/>
                <a:gd name="connsiteY2" fmla="*/ 1091016 h 1160990"/>
                <a:gd name="connsiteX3" fmla="*/ 387696 w 546270"/>
                <a:gd name="connsiteY3" fmla="*/ 1016594 h 1160990"/>
                <a:gd name="connsiteX4" fmla="*/ 524354 w 546270"/>
                <a:gd name="connsiteY4" fmla="*/ 905250 h 1160990"/>
                <a:gd name="connsiteX5" fmla="*/ 533141 w 546270"/>
                <a:gd name="connsiteY5" fmla="*/ 841497 h 1160990"/>
                <a:gd name="connsiteX6" fmla="*/ 544749 w 546270"/>
                <a:gd name="connsiteY6" fmla="*/ 768485 h 1160990"/>
                <a:gd name="connsiteX7" fmla="*/ 496110 w 546270"/>
                <a:gd name="connsiteY7" fmla="*/ 719846 h 1160990"/>
                <a:gd name="connsiteX8" fmla="*/ 466927 w 546270"/>
                <a:gd name="connsiteY8" fmla="*/ 671208 h 1160990"/>
                <a:gd name="connsiteX9" fmla="*/ 418289 w 546270"/>
                <a:gd name="connsiteY9" fmla="*/ 612842 h 1160990"/>
                <a:gd name="connsiteX10" fmla="*/ 389106 w 546270"/>
                <a:gd name="connsiteY10" fmla="*/ 603115 h 1160990"/>
                <a:gd name="connsiteX11" fmla="*/ 350195 w 546270"/>
                <a:gd name="connsiteY11" fmla="*/ 564204 h 1160990"/>
                <a:gd name="connsiteX12" fmla="*/ 301557 w 546270"/>
                <a:gd name="connsiteY12" fmla="*/ 525293 h 1160990"/>
                <a:gd name="connsiteX13" fmla="*/ 282102 w 546270"/>
                <a:gd name="connsiteY13" fmla="*/ 496110 h 1160990"/>
                <a:gd name="connsiteX14" fmla="*/ 223736 w 546270"/>
                <a:gd name="connsiteY14" fmla="*/ 437744 h 1160990"/>
                <a:gd name="connsiteX15" fmla="*/ 165370 w 546270"/>
                <a:gd name="connsiteY15" fmla="*/ 389106 h 1160990"/>
                <a:gd name="connsiteX16" fmla="*/ 145915 w 546270"/>
                <a:gd name="connsiteY16" fmla="*/ 359923 h 1160990"/>
                <a:gd name="connsiteX17" fmla="*/ 126459 w 546270"/>
                <a:gd name="connsiteY17" fmla="*/ 340468 h 1160990"/>
                <a:gd name="connsiteX18" fmla="*/ 145915 w 546270"/>
                <a:gd name="connsiteY18" fmla="*/ 311285 h 1160990"/>
                <a:gd name="connsiteX19" fmla="*/ 204281 w 546270"/>
                <a:gd name="connsiteY19" fmla="*/ 291829 h 1160990"/>
                <a:gd name="connsiteX20" fmla="*/ 243191 w 546270"/>
                <a:gd name="connsiteY20" fmla="*/ 233463 h 1160990"/>
                <a:gd name="connsiteX21" fmla="*/ 262647 w 546270"/>
                <a:gd name="connsiteY21" fmla="*/ 214008 h 1160990"/>
                <a:gd name="connsiteX22" fmla="*/ 321013 w 546270"/>
                <a:gd name="connsiteY22" fmla="*/ 194553 h 1160990"/>
                <a:gd name="connsiteX23" fmla="*/ 379378 w 546270"/>
                <a:gd name="connsiteY23" fmla="*/ 184825 h 1160990"/>
                <a:gd name="connsiteX24" fmla="*/ 437744 w 546270"/>
                <a:gd name="connsiteY24" fmla="*/ 165370 h 1160990"/>
                <a:gd name="connsiteX25" fmla="*/ 457200 w 546270"/>
                <a:gd name="connsiteY25" fmla="*/ 145915 h 1160990"/>
                <a:gd name="connsiteX26" fmla="*/ 466927 w 546270"/>
                <a:gd name="connsiteY26" fmla="*/ 0 h 1160990"/>
                <a:gd name="connsiteX0" fmla="*/ 0 w 546270"/>
                <a:gd name="connsiteY0" fmla="*/ 1128408 h 1160990"/>
                <a:gd name="connsiteX1" fmla="*/ 146854 w 546270"/>
                <a:gd name="connsiteY1" fmla="*/ 1160990 h 1160990"/>
                <a:gd name="connsiteX2" fmla="*/ 287490 w 546270"/>
                <a:gd name="connsiteY2" fmla="*/ 1091016 h 1160990"/>
                <a:gd name="connsiteX3" fmla="*/ 387696 w 546270"/>
                <a:gd name="connsiteY3" fmla="*/ 1016594 h 1160990"/>
                <a:gd name="connsiteX4" fmla="*/ 524354 w 546270"/>
                <a:gd name="connsiteY4" fmla="*/ 905250 h 1160990"/>
                <a:gd name="connsiteX5" fmla="*/ 533141 w 546270"/>
                <a:gd name="connsiteY5" fmla="*/ 841497 h 1160990"/>
                <a:gd name="connsiteX6" fmla="*/ 544749 w 546270"/>
                <a:gd name="connsiteY6" fmla="*/ 768485 h 1160990"/>
                <a:gd name="connsiteX7" fmla="*/ 496110 w 546270"/>
                <a:gd name="connsiteY7" fmla="*/ 719846 h 1160990"/>
                <a:gd name="connsiteX8" fmla="*/ 466927 w 546270"/>
                <a:gd name="connsiteY8" fmla="*/ 671208 h 1160990"/>
                <a:gd name="connsiteX9" fmla="*/ 418289 w 546270"/>
                <a:gd name="connsiteY9" fmla="*/ 612842 h 1160990"/>
                <a:gd name="connsiteX10" fmla="*/ 389106 w 546270"/>
                <a:gd name="connsiteY10" fmla="*/ 603115 h 1160990"/>
                <a:gd name="connsiteX11" fmla="*/ 350195 w 546270"/>
                <a:gd name="connsiteY11" fmla="*/ 564204 h 1160990"/>
                <a:gd name="connsiteX12" fmla="*/ 301557 w 546270"/>
                <a:gd name="connsiteY12" fmla="*/ 525293 h 1160990"/>
                <a:gd name="connsiteX13" fmla="*/ 282102 w 546270"/>
                <a:gd name="connsiteY13" fmla="*/ 496110 h 1160990"/>
                <a:gd name="connsiteX14" fmla="*/ 223736 w 546270"/>
                <a:gd name="connsiteY14" fmla="*/ 437744 h 1160990"/>
                <a:gd name="connsiteX15" fmla="*/ 165370 w 546270"/>
                <a:gd name="connsiteY15" fmla="*/ 389106 h 1160990"/>
                <a:gd name="connsiteX16" fmla="*/ 145915 w 546270"/>
                <a:gd name="connsiteY16" fmla="*/ 359923 h 1160990"/>
                <a:gd name="connsiteX17" fmla="*/ 126459 w 546270"/>
                <a:gd name="connsiteY17" fmla="*/ 340468 h 1160990"/>
                <a:gd name="connsiteX18" fmla="*/ 145915 w 546270"/>
                <a:gd name="connsiteY18" fmla="*/ 311285 h 1160990"/>
                <a:gd name="connsiteX19" fmla="*/ 204281 w 546270"/>
                <a:gd name="connsiteY19" fmla="*/ 291829 h 1160990"/>
                <a:gd name="connsiteX20" fmla="*/ 243191 w 546270"/>
                <a:gd name="connsiteY20" fmla="*/ 233463 h 1160990"/>
                <a:gd name="connsiteX21" fmla="*/ 262647 w 546270"/>
                <a:gd name="connsiteY21" fmla="*/ 214008 h 1160990"/>
                <a:gd name="connsiteX22" fmla="*/ 321013 w 546270"/>
                <a:gd name="connsiteY22" fmla="*/ 194553 h 1160990"/>
                <a:gd name="connsiteX23" fmla="*/ 379378 w 546270"/>
                <a:gd name="connsiteY23" fmla="*/ 184825 h 1160990"/>
                <a:gd name="connsiteX24" fmla="*/ 437744 w 546270"/>
                <a:gd name="connsiteY24" fmla="*/ 165370 h 1160990"/>
                <a:gd name="connsiteX25" fmla="*/ 457200 w 546270"/>
                <a:gd name="connsiteY25" fmla="*/ 145915 h 1160990"/>
                <a:gd name="connsiteX26" fmla="*/ 466927 w 546270"/>
                <a:gd name="connsiteY26" fmla="*/ 0 h 1160990"/>
                <a:gd name="connsiteX0" fmla="*/ 0 w 579349"/>
                <a:gd name="connsiteY0" fmla="*/ 1128408 h 1160990"/>
                <a:gd name="connsiteX1" fmla="*/ 146854 w 579349"/>
                <a:gd name="connsiteY1" fmla="*/ 1160990 h 1160990"/>
                <a:gd name="connsiteX2" fmla="*/ 287490 w 579349"/>
                <a:gd name="connsiteY2" fmla="*/ 1091016 h 1160990"/>
                <a:gd name="connsiteX3" fmla="*/ 387696 w 579349"/>
                <a:gd name="connsiteY3" fmla="*/ 1016594 h 1160990"/>
                <a:gd name="connsiteX4" fmla="*/ 524354 w 579349"/>
                <a:gd name="connsiteY4" fmla="*/ 905250 h 1160990"/>
                <a:gd name="connsiteX5" fmla="*/ 533141 w 579349"/>
                <a:gd name="connsiteY5" fmla="*/ 841497 h 1160990"/>
                <a:gd name="connsiteX6" fmla="*/ 578742 w 579349"/>
                <a:gd name="connsiteY6" fmla="*/ 785481 h 1160990"/>
                <a:gd name="connsiteX7" fmla="*/ 496110 w 579349"/>
                <a:gd name="connsiteY7" fmla="*/ 719846 h 1160990"/>
                <a:gd name="connsiteX8" fmla="*/ 466927 w 579349"/>
                <a:gd name="connsiteY8" fmla="*/ 671208 h 1160990"/>
                <a:gd name="connsiteX9" fmla="*/ 418289 w 579349"/>
                <a:gd name="connsiteY9" fmla="*/ 612842 h 1160990"/>
                <a:gd name="connsiteX10" fmla="*/ 389106 w 579349"/>
                <a:gd name="connsiteY10" fmla="*/ 603115 h 1160990"/>
                <a:gd name="connsiteX11" fmla="*/ 350195 w 579349"/>
                <a:gd name="connsiteY11" fmla="*/ 564204 h 1160990"/>
                <a:gd name="connsiteX12" fmla="*/ 301557 w 579349"/>
                <a:gd name="connsiteY12" fmla="*/ 525293 h 1160990"/>
                <a:gd name="connsiteX13" fmla="*/ 282102 w 579349"/>
                <a:gd name="connsiteY13" fmla="*/ 496110 h 1160990"/>
                <a:gd name="connsiteX14" fmla="*/ 223736 w 579349"/>
                <a:gd name="connsiteY14" fmla="*/ 437744 h 1160990"/>
                <a:gd name="connsiteX15" fmla="*/ 165370 w 579349"/>
                <a:gd name="connsiteY15" fmla="*/ 389106 h 1160990"/>
                <a:gd name="connsiteX16" fmla="*/ 145915 w 579349"/>
                <a:gd name="connsiteY16" fmla="*/ 359923 h 1160990"/>
                <a:gd name="connsiteX17" fmla="*/ 126459 w 579349"/>
                <a:gd name="connsiteY17" fmla="*/ 340468 h 1160990"/>
                <a:gd name="connsiteX18" fmla="*/ 145915 w 579349"/>
                <a:gd name="connsiteY18" fmla="*/ 311285 h 1160990"/>
                <a:gd name="connsiteX19" fmla="*/ 204281 w 579349"/>
                <a:gd name="connsiteY19" fmla="*/ 291829 h 1160990"/>
                <a:gd name="connsiteX20" fmla="*/ 243191 w 579349"/>
                <a:gd name="connsiteY20" fmla="*/ 233463 h 1160990"/>
                <a:gd name="connsiteX21" fmla="*/ 262647 w 579349"/>
                <a:gd name="connsiteY21" fmla="*/ 214008 h 1160990"/>
                <a:gd name="connsiteX22" fmla="*/ 321013 w 579349"/>
                <a:gd name="connsiteY22" fmla="*/ 194553 h 1160990"/>
                <a:gd name="connsiteX23" fmla="*/ 379378 w 579349"/>
                <a:gd name="connsiteY23" fmla="*/ 184825 h 1160990"/>
                <a:gd name="connsiteX24" fmla="*/ 437744 w 579349"/>
                <a:gd name="connsiteY24" fmla="*/ 165370 h 1160990"/>
                <a:gd name="connsiteX25" fmla="*/ 457200 w 579349"/>
                <a:gd name="connsiteY25" fmla="*/ 145915 h 1160990"/>
                <a:gd name="connsiteX26" fmla="*/ 466927 w 579349"/>
                <a:gd name="connsiteY26" fmla="*/ 0 h 1160990"/>
                <a:gd name="connsiteX0" fmla="*/ 0 w 688126"/>
                <a:gd name="connsiteY0" fmla="*/ 1087617 h 1160990"/>
                <a:gd name="connsiteX1" fmla="*/ 255631 w 688126"/>
                <a:gd name="connsiteY1" fmla="*/ 1160990 h 1160990"/>
                <a:gd name="connsiteX2" fmla="*/ 396267 w 688126"/>
                <a:gd name="connsiteY2" fmla="*/ 1091016 h 1160990"/>
                <a:gd name="connsiteX3" fmla="*/ 496473 w 688126"/>
                <a:gd name="connsiteY3" fmla="*/ 1016594 h 1160990"/>
                <a:gd name="connsiteX4" fmla="*/ 633131 w 688126"/>
                <a:gd name="connsiteY4" fmla="*/ 905250 h 1160990"/>
                <a:gd name="connsiteX5" fmla="*/ 641918 w 688126"/>
                <a:gd name="connsiteY5" fmla="*/ 841497 h 1160990"/>
                <a:gd name="connsiteX6" fmla="*/ 687519 w 688126"/>
                <a:gd name="connsiteY6" fmla="*/ 785481 h 1160990"/>
                <a:gd name="connsiteX7" fmla="*/ 604887 w 688126"/>
                <a:gd name="connsiteY7" fmla="*/ 719846 h 1160990"/>
                <a:gd name="connsiteX8" fmla="*/ 575704 w 688126"/>
                <a:gd name="connsiteY8" fmla="*/ 671208 h 1160990"/>
                <a:gd name="connsiteX9" fmla="*/ 527066 w 688126"/>
                <a:gd name="connsiteY9" fmla="*/ 612842 h 1160990"/>
                <a:gd name="connsiteX10" fmla="*/ 497883 w 688126"/>
                <a:gd name="connsiteY10" fmla="*/ 603115 h 1160990"/>
                <a:gd name="connsiteX11" fmla="*/ 458972 w 688126"/>
                <a:gd name="connsiteY11" fmla="*/ 564204 h 1160990"/>
                <a:gd name="connsiteX12" fmla="*/ 410334 w 688126"/>
                <a:gd name="connsiteY12" fmla="*/ 525293 h 1160990"/>
                <a:gd name="connsiteX13" fmla="*/ 390879 w 688126"/>
                <a:gd name="connsiteY13" fmla="*/ 496110 h 1160990"/>
                <a:gd name="connsiteX14" fmla="*/ 332513 w 688126"/>
                <a:gd name="connsiteY14" fmla="*/ 437744 h 1160990"/>
                <a:gd name="connsiteX15" fmla="*/ 274147 w 688126"/>
                <a:gd name="connsiteY15" fmla="*/ 389106 h 1160990"/>
                <a:gd name="connsiteX16" fmla="*/ 254692 w 688126"/>
                <a:gd name="connsiteY16" fmla="*/ 359923 h 1160990"/>
                <a:gd name="connsiteX17" fmla="*/ 235236 w 688126"/>
                <a:gd name="connsiteY17" fmla="*/ 340468 h 1160990"/>
                <a:gd name="connsiteX18" fmla="*/ 254692 w 688126"/>
                <a:gd name="connsiteY18" fmla="*/ 311285 h 1160990"/>
                <a:gd name="connsiteX19" fmla="*/ 313058 w 688126"/>
                <a:gd name="connsiteY19" fmla="*/ 291829 h 1160990"/>
                <a:gd name="connsiteX20" fmla="*/ 351968 w 688126"/>
                <a:gd name="connsiteY20" fmla="*/ 233463 h 1160990"/>
                <a:gd name="connsiteX21" fmla="*/ 371424 w 688126"/>
                <a:gd name="connsiteY21" fmla="*/ 214008 h 1160990"/>
                <a:gd name="connsiteX22" fmla="*/ 429790 w 688126"/>
                <a:gd name="connsiteY22" fmla="*/ 194553 h 1160990"/>
                <a:gd name="connsiteX23" fmla="*/ 488155 w 688126"/>
                <a:gd name="connsiteY23" fmla="*/ 184825 h 1160990"/>
                <a:gd name="connsiteX24" fmla="*/ 546521 w 688126"/>
                <a:gd name="connsiteY24" fmla="*/ 165370 h 1160990"/>
                <a:gd name="connsiteX25" fmla="*/ 565977 w 688126"/>
                <a:gd name="connsiteY25" fmla="*/ 145915 h 1160990"/>
                <a:gd name="connsiteX26" fmla="*/ 575704 w 688126"/>
                <a:gd name="connsiteY26" fmla="*/ 0 h 1160990"/>
                <a:gd name="connsiteX0" fmla="*/ 7195 w 695321"/>
                <a:gd name="connsiteY0" fmla="*/ 1087617 h 1093148"/>
                <a:gd name="connsiteX1" fmla="*/ 18080 w 695321"/>
                <a:gd name="connsiteY1" fmla="*/ 933240 h 1093148"/>
                <a:gd name="connsiteX2" fmla="*/ 403462 w 695321"/>
                <a:gd name="connsiteY2" fmla="*/ 1091016 h 1093148"/>
                <a:gd name="connsiteX3" fmla="*/ 503668 w 695321"/>
                <a:gd name="connsiteY3" fmla="*/ 1016594 h 1093148"/>
                <a:gd name="connsiteX4" fmla="*/ 640326 w 695321"/>
                <a:gd name="connsiteY4" fmla="*/ 905250 h 1093148"/>
                <a:gd name="connsiteX5" fmla="*/ 649113 w 695321"/>
                <a:gd name="connsiteY5" fmla="*/ 841497 h 1093148"/>
                <a:gd name="connsiteX6" fmla="*/ 694714 w 695321"/>
                <a:gd name="connsiteY6" fmla="*/ 785481 h 1093148"/>
                <a:gd name="connsiteX7" fmla="*/ 612082 w 695321"/>
                <a:gd name="connsiteY7" fmla="*/ 719846 h 1093148"/>
                <a:gd name="connsiteX8" fmla="*/ 582899 w 695321"/>
                <a:gd name="connsiteY8" fmla="*/ 671208 h 1093148"/>
                <a:gd name="connsiteX9" fmla="*/ 534261 w 695321"/>
                <a:gd name="connsiteY9" fmla="*/ 612842 h 1093148"/>
                <a:gd name="connsiteX10" fmla="*/ 505078 w 695321"/>
                <a:gd name="connsiteY10" fmla="*/ 603115 h 1093148"/>
                <a:gd name="connsiteX11" fmla="*/ 466167 w 695321"/>
                <a:gd name="connsiteY11" fmla="*/ 564204 h 1093148"/>
                <a:gd name="connsiteX12" fmla="*/ 417529 w 695321"/>
                <a:gd name="connsiteY12" fmla="*/ 525293 h 1093148"/>
                <a:gd name="connsiteX13" fmla="*/ 398074 w 695321"/>
                <a:gd name="connsiteY13" fmla="*/ 496110 h 1093148"/>
                <a:gd name="connsiteX14" fmla="*/ 339708 w 695321"/>
                <a:gd name="connsiteY14" fmla="*/ 437744 h 1093148"/>
                <a:gd name="connsiteX15" fmla="*/ 281342 w 695321"/>
                <a:gd name="connsiteY15" fmla="*/ 389106 h 1093148"/>
                <a:gd name="connsiteX16" fmla="*/ 261887 w 695321"/>
                <a:gd name="connsiteY16" fmla="*/ 359923 h 1093148"/>
                <a:gd name="connsiteX17" fmla="*/ 242431 w 695321"/>
                <a:gd name="connsiteY17" fmla="*/ 340468 h 1093148"/>
                <a:gd name="connsiteX18" fmla="*/ 261887 w 695321"/>
                <a:gd name="connsiteY18" fmla="*/ 311285 h 1093148"/>
                <a:gd name="connsiteX19" fmla="*/ 320253 w 695321"/>
                <a:gd name="connsiteY19" fmla="*/ 291829 h 1093148"/>
                <a:gd name="connsiteX20" fmla="*/ 359163 w 695321"/>
                <a:gd name="connsiteY20" fmla="*/ 233463 h 1093148"/>
                <a:gd name="connsiteX21" fmla="*/ 378619 w 695321"/>
                <a:gd name="connsiteY21" fmla="*/ 214008 h 1093148"/>
                <a:gd name="connsiteX22" fmla="*/ 436985 w 695321"/>
                <a:gd name="connsiteY22" fmla="*/ 194553 h 1093148"/>
                <a:gd name="connsiteX23" fmla="*/ 495350 w 695321"/>
                <a:gd name="connsiteY23" fmla="*/ 184825 h 1093148"/>
                <a:gd name="connsiteX24" fmla="*/ 553716 w 695321"/>
                <a:gd name="connsiteY24" fmla="*/ 165370 h 1093148"/>
                <a:gd name="connsiteX25" fmla="*/ 573172 w 695321"/>
                <a:gd name="connsiteY25" fmla="*/ 145915 h 1093148"/>
                <a:gd name="connsiteX26" fmla="*/ 582899 w 695321"/>
                <a:gd name="connsiteY26" fmla="*/ 0 h 1093148"/>
                <a:gd name="connsiteX0" fmla="*/ 26866 w 714992"/>
                <a:gd name="connsiteY0" fmla="*/ 1087617 h 1093148"/>
                <a:gd name="connsiteX1" fmla="*/ 37751 w 714992"/>
                <a:gd name="connsiteY1" fmla="*/ 933240 h 1093148"/>
                <a:gd name="connsiteX2" fmla="*/ 423133 w 714992"/>
                <a:gd name="connsiteY2" fmla="*/ 1091016 h 1093148"/>
                <a:gd name="connsiteX3" fmla="*/ 523339 w 714992"/>
                <a:gd name="connsiteY3" fmla="*/ 1016594 h 1093148"/>
                <a:gd name="connsiteX4" fmla="*/ 659997 w 714992"/>
                <a:gd name="connsiteY4" fmla="*/ 905250 h 1093148"/>
                <a:gd name="connsiteX5" fmla="*/ 668784 w 714992"/>
                <a:gd name="connsiteY5" fmla="*/ 841497 h 1093148"/>
                <a:gd name="connsiteX6" fmla="*/ 714385 w 714992"/>
                <a:gd name="connsiteY6" fmla="*/ 785481 h 1093148"/>
                <a:gd name="connsiteX7" fmla="*/ 631753 w 714992"/>
                <a:gd name="connsiteY7" fmla="*/ 719846 h 1093148"/>
                <a:gd name="connsiteX8" fmla="*/ 602570 w 714992"/>
                <a:gd name="connsiteY8" fmla="*/ 671208 h 1093148"/>
                <a:gd name="connsiteX9" fmla="*/ 553932 w 714992"/>
                <a:gd name="connsiteY9" fmla="*/ 612842 h 1093148"/>
                <a:gd name="connsiteX10" fmla="*/ 524749 w 714992"/>
                <a:gd name="connsiteY10" fmla="*/ 603115 h 1093148"/>
                <a:gd name="connsiteX11" fmla="*/ 485838 w 714992"/>
                <a:gd name="connsiteY11" fmla="*/ 564204 h 1093148"/>
                <a:gd name="connsiteX12" fmla="*/ 437200 w 714992"/>
                <a:gd name="connsiteY12" fmla="*/ 525293 h 1093148"/>
                <a:gd name="connsiteX13" fmla="*/ 417745 w 714992"/>
                <a:gd name="connsiteY13" fmla="*/ 496110 h 1093148"/>
                <a:gd name="connsiteX14" fmla="*/ 359379 w 714992"/>
                <a:gd name="connsiteY14" fmla="*/ 437744 h 1093148"/>
                <a:gd name="connsiteX15" fmla="*/ 301013 w 714992"/>
                <a:gd name="connsiteY15" fmla="*/ 389106 h 1093148"/>
                <a:gd name="connsiteX16" fmla="*/ 281558 w 714992"/>
                <a:gd name="connsiteY16" fmla="*/ 359923 h 1093148"/>
                <a:gd name="connsiteX17" fmla="*/ 262102 w 714992"/>
                <a:gd name="connsiteY17" fmla="*/ 340468 h 1093148"/>
                <a:gd name="connsiteX18" fmla="*/ 281558 w 714992"/>
                <a:gd name="connsiteY18" fmla="*/ 311285 h 1093148"/>
                <a:gd name="connsiteX19" fmla="*/ 339924 w 714992"/>
                <a:gd name="connsiteY19" fmla="*/ 291829 h 1093148"/>
                <a:gd name="connsiteX20" fmla="*/ 378834 w 714992"/>
                <a:gd name="connsiteY20" fmla="*/ 233463 h 1093148"/>
                <a:gd name="connsiteX21" fmla="*/ 398290 w 714992"/>
                <a:gd name="connsiteY21" fmla="*/ 214008 h 1093148"/>
                <a:gd name="connsiteX22" fmla="*/ 456656 w 714992"/>
                <a:gd name="connsiteY22" fmla="*/ 194553 h 1093148"/>
                <a:gd name="connsiteX23" fmla="*/ 515021 w 714992"/>
                <a:gd name="connsiteY23" fmla="*/ 184825 h 1093148"/>
                <a:gd name="connsiteX24" fmla="*/ 573387 w 714992"/>
                <a:gd name="connsiteY24" fmla="*/ 165370 h 1093148"/>
                <a:gd name="connsiteX25" fmla="*/ 592843 w 714992"/>
                <a:gd name="connsiteY25" fmla="*/ 145915 h 1093148"/>
                <a:gd name="connsiteX26" fmla="*/ 602570 w 714992"/>
                <a:gd name="connsiteY26" fmla="*/ 0 h 1093148"/>
                <a:gd name="connsiteX0" fmla="*/ 26866 w 714992"/>
                <a:gd name="connsiteY0" fmla="*/ 1087617 h 1087617"/>
                <a:gd name="connsiteX1" fmla="*/ 37751 w 714992"/>
                <a:gd name="connsiteY1" fmla="*/ 933240 h 1087617"/>
                <a:gd name="connsiteX2" fmla="*/ 69611 w 714992"/>
                <a:gd name="connsiteY2" fmla="*/ 768086 h 1087617"/>
                <a:gd name="connsiteX3" fmla="*/ 523339 w 714992"/>
                <a:gd name="connsiteY3" fmla="*/ 1016594 h 1087617"/>
                <a:gd name="connsiteX4" fmla="*/ 659997 w 714992"/>
                <a:gd name="connsiteY4" fmla="*/ 905250 h 1087617"/>
                <a:gd name="connsiteX5" fmla="*/ 668784 w 714992"/>
                <a:gd name="connsiteY5" fmla="*/ 841497 h 1087617"/>
                <a:gd name="connsiteX6" fmla="*/ 714385 w 714992"/>
                <a:gd name="connsiteY6" fmla="*/ 785481 h 1087617"/>
                <a:gd name="connsiteX7" fmla="*/ 631753 w 714992"/>
                <a:gd name="connsiteY7" fmla="*/ 719846 h 1087617"/>
                <a:gd name="connsiteX8" fmla="*/ 602570 w 714992"/>
                <a:gd name="connsiteY8" fmla="*/ 671208 h 1087617"/>
                <a:gd name="connsiteX9" fmla="*/ 553932 w 714992"/>
                <a:gd name="connsiteY9" fmla="*/ 612842 h 1087617"/>
                <a:gd name="connsiteX10" fmla="*/ 524749 w 714992"/>
                <a:gd name="connsiteY10" fmla="*/ 603115 h 1087617"/>
                <a:gd name="connsiteX11" fmla="*/ 485838 w 714992"/>
                <a:gd name="connsiteY11" fmla="*/ 564204 h 1087617"/>
                <a:gd name="connsiteX12" fmla="*/ 437200 w 714992"/>
                <a:gd name="connsiteY12" fmla="*/ 525293 h 1087617"/>
                <a:gd name="connsiteX13" fmla="*/ 417745 w 714992"/>
                <a:gd name="connsiteY13" fmla="*/ 496110 h 1087617"/>
                <a:gd name="connsiteX14" fmla="*/ 359379 w 714992"/>
                <a:gd name="connsiteY14" fmla="*/ 437744 h 1087617"/>
                <a:gd name="connsiteX15" fmla="*/ 301013 w 714992"/>
                <a:gd name="connsiteY15" fmla="*/ 389106 h 1087617"/>
                <a:gd name="connsiteX16" fmla="*/ 281558 w 714992"/>
                <a:gd name="connsiteY16" fmla="*/ 359923 h 1087617"/>
                <a:gd name="connsiteX17" fmla="*/ 262102 w 714992"/>
                <a:gd name="connsiteY17" fmla="*/ 340468 h 1087617"/>
                <a:gd name="connsiteX18" fmla="*/ 281558 w 714992"/>
                <a:gd name="connsiteY18" fmla="*/ 311285 h 1087617"/>
                <a:gd name="connsiteX19" fmla="*/ 339924 w 714992"/>
                <a:gd name="connsiteY19" fmla="*/ 291829 h 1087617"/>
                <a:gd name="connsiteX20" fmla="*/ 378834 w 714992"/>
                <a:gd name="connsiteY20" fmla="*/ 233463 h 1087617"/>
                <a:gd name="connsiteX21" fmla="*/ 398290 w 714992"/>
                <a:gd name="connsiteY21" fmla="*/ 214008 h 1087617"/>
                <a:gd name="connsiteX22" fmla="*/ 456656 w 714992"/>
                <a:gd name="connsiteY22" fmla="*/ 194553 h 1087617"/>
                <a:gd name="connsiteX23" fmla="*/ 515021 w 714992"/>
                <a:gd name="connsiteY23" fmla="*/ 184825 h 1087617"/>
                <a:gd name="connsiteX24" fmla="*/ 573387 w 714992"/>
                <a:gd name="connsiteY24" fmla="*/ 165370 h 1087617"/>
                <a:gd name="connsiteX25" fmla="*/ 592843 w 714992"/>
                <a:gd name="connsiteY25" fmla="*/ 145915 h 1087617"/>
                <a:gd name="connsiteX26" fmla="*/ 602570 w 714992"/>
                <a:gd name="connsiteY26" fmla="*/ 0 h 1087617"/>
                <a:gd name="connsiteX0" fmla="*/ 26866 w 714992"/>
                <a:gd name="connsiteY0" fmla="*/ 1087617 h 1087617"/>
                <a:gd name="connsiteX1" fmla="*/ 37751 w 714992"/>
                <a:gd name="connsiteY1" fmla="*/ 933240 h 1087617"/>
                <a:gd name="connsiteX2" fmla="*/ 69611 w 714992"/>
                <a:gd name="connsiteY2" fmla="*/ 768086 h 1087617"/>
                <a:gd name="connsiteX3" fmla="*/ 169816 w 714992"/>
                <a:gd name="connsiteY3" fmla="*/ 758251 h 1087617"/>
                <a:gd name="connsiteX4" fmla="*/ 659997 w 714992"/>
                <a:gd name="connsiteY4" fmla="*/ 905250 h 1087617"/>
                <a:gd name="connsiteX5" fmla="*/ 668784 w 714992"/>
                <a:gd name="connsiteY5" fmla="*/ 841497 h 1087617"/>
                <a:gd name="connsiteX6" fmla="*/ 714385 w 714992"/>
                <a:gd name="connsiteY6" fmla="*/ 785481 h 1087617"/>
                <a:gd name="connsiteX7" fmla="*/ 631753 w 714992"/>
                <a:gd name="connsiteY7" fmla="*/ 719846 h 1087617"/>
                <a:gd name="connsiteX8" fmla="*/ 602570 w 714992"/>
                <a:gd name="connsiteY8" fmla="*/ 671208 h 1087617"/>
                <a:gd name="connsiteX9" fmla="*/ 553932 w 714992"/>
                <a:gd name="connsiteY9" fmla="*/ 612842 h 1087617"/>
                <a:gd name="connsiteX10" fmla="*/ 524749 w 714992"/>
                <a:gd name="connsiteY10" fmla="*/ 603115 h 1087617"/>
                <a:gd name="connsiteX11" fmla="*/ 485838 w 714992"/>
                <a:gd name="connsiteY11" fmla="*/ 564204 h 1087617"/>
                <a:gd name="connsiteX12" fmla="*/ 437200 w 714992"/>
                <a:gd name="connsiteY12" fmla="*/ 525293 h 1087617"/>
                <a:gd name="connsiteX13" fmla="*/ 417745 w 714992"/>
                <a:gd name="connsiteY13" fmla="*/ 496110 h 1087617"/>
                <a:gd name="connsiteX14" fmla="*/ 359379 w 714992"/>
                <a:gd name="connsiteY14" fmla="*/ 437744 h 1087617"/>
                <a:gd name="connsiteX15" fmla="*/ 301013 w 714992"/>
                <a:gd name="connsiteY15" fmla="*/ 389106 h 1087617"/>
                <a:gd name="connsiteX16" fmla="*/ 281558 w 714992"/>
                <a:gd name="connsiteY16" fmla="*/ 359923 h 1087617"/>
                <a:gd name="connsiteX17" fmla="*/ 262102 w 714992"/>
                <a:gd name="connsiteY17" fmla="*/ 340468 h 1087617"/>
                <a:gd name="connsiteX18" fmla="*/ 281558 w 714992"/>
                <a:gd name="connsiteY18" fmla="*/ 311285 h 1087617"/>
                <a:gd name="connsiteX19" fmla="*/ 339924 w 714992"/>
                <a:gd name="connsiteY19" fmla="*/ 291829 h 1087617"/>
                <a:gd name="connsiteX20" fmla="*/ 378834 w 714992"/>
                <a:gd name="connsiteY20" fmla="*/ 233463 h 1087617"/>
                <a:gd name="connsiteX21" fmla="*/ 398290 w 714992"/>
                <a:gd name="connsiteY21" fmla="*/ 214008 h 1087617"/>
                <a:gd name="connsiteX22" fmla="*/ 456656 w 714992"/>
                <a:gd name="connsiteY22" fmla="*/ 194553 h 1087617"/>
                <a:gd name="connsiteX23" fmla="*/ 515021 w 714992"/>
                <a:gd name="connsiteY23" fmla="*/ 184825 h 1087617"/>
                <a:gd name="connsiteX24" fmla="*/ 573387 w 714992"/>
                <a:gd name="connsiteY24" fmla="*/ 165370 h 1087617"/>
                <a:gd name="connsiteX25" fmla="*/ 592843 w 714992"/>
                <a:gd name="connsiteY25" fmla="*/ 145915 h 1087617"/>
                <a:gd name="connsiteX26" fmla="*/ 602570 w 714992"/>
                <a:gd name="connsiteY26" fmla="*/ 0 h 1087617"/>
                <a:gd name="connsiteX0" fmla="*/ 26866 w 722406"/>
                <a:gd name="connsiteY0" fmla="*/ 1087617 h 1087617"/>
                <a:gd name="connsiteX1" fmla="*/ 37751 w 722406"/>
                <a:gd name="connsiteY1" fmla="*/ 933240 h 1087617"/>
                <a:gd name="connsiteX2" fmla="*/ 69611 w 722406"/>
                <a:gd name="connsiteY2" fmla="*/ 768086 h 1087617"/>
                <a:gd name="connsiteX3" fmla="*/ 169816 w 722406"/>
                <a:gd name="connsiteY3" fmla="*/ 758251 h 1087617"/>
                <a:gd name="connsiteX4" fmla="*/ 269082 w 722406"/>
                <a:gd name="connsiteY4" fmla="*/ 735287 h 1087617"/>
                <a:gd name="connsiteX5" fmla="*/ 668784 w 722406"/>
                <a:gd name="connsiteY5" fmla="*/ 841497 h 1087617"/>
                <a:gd name="connsiteX6" fmla="*/ 714385 w 722406"/>
                <a:gd name="connsiteY6" fmla="*/ 785481 h 1087617"/>
                <a:gd name="connsiteX7" fmla="*/ 631753 w 722406"/>
                <a:gd name="connsiteY7" fmla="*/ 719846 h 1087617"/>
                <a:gd name="connsiteX8" fmla="*/ 602570 w 722406"/>
                <a:gd name="connsiteY8" fmla="*/ 671208 h 1087617"/>
                <a:gd name="connsiteX9" fmla="*/ 553932 w 722406"/>
                <a:gd name="connsiteY9" fmla="*/ 612842 h 1087617"/>
                <a:gd name="connsiteX10" fmla="*/ 524749 w 722406"/>
                <a:gd name="connsiteY10" fmla="*/ 603115 h 1087617"/>
                <a:gd name="connsiteX11" fmla="*/ 485838 w 722406"/>
                <a:gd name="connsiteY11" fmla="*/ 564204 h 1087617"/>
                <a:gd name="connsiteX12" fmla="*/ 437200 w 722406"/>
                <a:gd name="connsiteY12" fmla="*/ 525293 h 1087617"/>
                <a:gd name="connsiteX13" fmla="*/ 417745 w 722406"/>
                <a:gd name="connsiteY13" fmla="*/ 496110 h 1087617"/>
                <a:gd name="connsiteX14" fmla="*/ 359379 w 722406"/>
                <a:gd name="connsiteY14" fmla="*/ 437744 h 1087617"/>
                <a:gd name="connsiteX15" fmla="*/ 301013 w 722406"/>
                <a:gd name="connsiteY15" fmla="*/ 389106 h 1087617"/>
                <a:gd name="connsiteX16" fmla="*/ 281558 w 722406"/>
                <a:gd name="connsiteY16" fmla="*/ 359923 h 1087617"/>
                <a:gd name="connsiteX17" fmla="*/ 262102 w 722406"/>
                <a:gd name="connsiteY17" fmla="*/ 340468 h 1087617"/>
                <a:gd name="connsiteX18" fmla="*/ 281558 w 722406"/>
                <a:gd name="connsiteY18" fmla="*/ 311285 h 1087617"/>
                <a:gd name="connsiteX19" fmla="*/ 339924 w 722406"/>
                <a:gd name="connsiteY19" fmla="*/ 291829 h 1087617"/>
                <a:gd name="connsiteX20" fmla="*/ 378834 w 722406"/>
                <a:gd name="connsiteY20" fmla="*/ 233463 h 1087617"/>
                <a:gd name="connsiteX21" fmla="*/ 398290 w 722406"/>
                <a:gd name="connsiteY21" fmla="*/ 214008 h 1087617"/>
                <a:gd name="connsiteX22" fmla="*/ 456656 w 722406"/>
                <a:gd name="connsiteY22" fmla="*/ 194553 h 1087617"/>
                <a:gd name="connsiteX23" fmla="*/ 515021 w 722406"/>
                <a:gd name="connsiteY23" fmla="*/ 184825 h 1087617"/>
                <a:gd name="connsiteX24" fmla="*/ 573387 w 722406"/>
                <a:gd name="connsiteY24" fmla="*/ 165370 h 1087617"/>
                <a:gd name="connsiteX25" fmla="*/ 592843 w 722406"/>
                <a:gd name="connsiteY25" fmla="*/ 145915 h 1087617"/>
                <a:gd name="connsiteX26" fmla="*/ 602570 w 722406"/>
                <a:gd name="connsiteY26" fmla="*/ 0 h 1087617"/>
                <a:gd name="connsiteX0" fmla="*/ 26866 w 730812"/>
                <a:gd name="connsiteY0" fmla="*/ 1087617 h 1087617"/>
                <a:gd name="connsiteX1" fmla="*/ 37751 w 730812"/>
                <a:gd name="connsiteY1" fmla="*/ 933240 h 1087617"/>
                <a:gd name="connsiteX2" fmla="*/ 69611 w 730812"/>
                <a:gd name="connsiteY2" fmla="*/ 768086 h 1087617"/>
                <a:gd name="connsiteX3" fmla="*/ 169816 w 730812"/>
                <a:gd name="connsiteY3" fmla="*/ 758251 h 1087617"/>
                <a:gd name="connsiteX4" fmla="*/ 269082 w 730812"/>
                <a:gd name="connsiteY4" fmla="*/ 735287 h 1087617"/>
                <a:gd name="connsiteX5" fmla="*/ 714385 w 730812"/>
                <a:gd name="connsiteY5" fmla="*/ 785481 h 1087617"/>
                <a:gd name="connsiteX6" fmla="*/ 631753 w 730812"/>
                <a:gd name="connsiteY6" fmla="*/ 719846 h 1087617"/>
                <a:gd name="connsiteX7" fmla="*/ 602570 w 730812"/>
                <a:gd name="connsiteY7" fmla="*/ 671208 h 1087617"/>
                <a:gd name="connsiteX8" fmla="*/ 553932 w 730812"/>
                <a:gd name="connsiteY8" fmla="*/ 612842 h 1087617"/>
                <a:gd name="connsiteX9" fmla="*/ 524749 w 730812"/>
                <a:gd name="connsiteY9" fmla="*/ 603115 h 1087617"/>
                <a:gd name="connsiteX10" fmla="*/ 485838 w 730812"/>
                <a:gd name="connsiteY10" fmla="*/ 564204 h 1087617"/>
                <a:gd name="connsiteX11" fmla="*/ 437200 w 730812"/>
                <a:gd name="connsiteY11" fmla="*/ 525293 h 1087617"/>
                <a:gd name="connsiteX12" fmla="*/ 417745 w 730812"/>
                <a:gd name="connsiteY12" fmla="*/ 496110 h 1087617"/>
                <a:gd name="connsiteX13" fmla="*/ 359379 w 730812"/>
                <a:gd name="connsiteY13" fmla="*/ 437744 h 1087617"/>
                <a:gd name="connsiteX14" fmla="*/ 301013 w 730812"/>
                <a:gd name="connsiteY14" fmla="*/ 389106 h 1087617"/>
                <a:gd name="connsiteX15" fmla="*/ 281558 w 730812"/>
                <a:gd name="connsiteY15" fmla="*/ 359923 h 1087617"/>
                <a:gd name="connsiteX16" fmla="*/ 262102 w 730812"/>
                <a:gd name="connsiteY16" fmla="*/ 340468 h 1087617"/>
                <a:gd name="connsiteX17" fmla="*/ 281558 w 730812"/>
                <a:gd name="connsiteY17" fmla="*/ 311285 h 1087617"/>
                <a:gd name="connsiteX18" fmla="*/ 339924 w 730812"/>
                <a:gd name="connsiteY18" fmla="*/ 291829 h 1087617"/>
                <a:gd name="connsiteX19" fmla="*/ 378834 w 730812"/>
                <a:gd name="connsiteY19" fmla="*/ 233463 h 1087617"/>
                <a:gd name="connsiteX20" fmla="*/ 398290 w 730812"/>
                <a:gd name="connsiteY20" fmla="*/ 214008 h 1087617"/>
                <a:gd name="connsiteX21" fmla="*/ 456656 w 730812"/>
                <a:gd name="connsiteY21" fmla="*/ 194553 h 1087617"/>
                <a:gd name="connsiteX22" fmla="*/ 515021 w 730812"/>
                <a:gd name="connsiteY22" fmla="*/ 184825 h 1087617"/>
                <a:gd name="connsiteX23" fmla="*/ 573387 w 730812"/>
                <a:gd name="connsiteY23" fmla="*/ 165370 h 1087617"/>
                <a:gd name="connsiteX24" fmla="*/ 592843 w 730812"/>
                <a:gd name="connsiteY24" fmla="*/ 145915 h 1087617"/>
                <a:gd name="connsiteX25" fmla="*/ 602570 w 730812"/>
                <a:gd name="connsiteY25" fmla="*/ 0 h 1087617"/>
                <a:gd name="connsiteX0" fmla="*/ 26866 w 655591"/>
                <a:gd name="connsiteY0" fmla="*/ 1087617 h 1087617"/>
                <a:gd name="connsiteX1" fmla="*/ 37751 w 655591"/>
                <a:gd name="connsiteY1" fmla="*/ 933240 h 1087617"/>
                <a:gd name="connsiteX2" fmla="*/ 69611 w 655591"/>
                <a:gd name="connsiteY2" fmla="*/ 768086 h 1087617"/>
                <a:gd name="connsiteX3" fmla="*/ 169816 w 655591"/>
                <a:gd name="connsiteY3" fmla="*/ 758251 h 1087617"/>
                <a:gd name="connsiteX4" fmla="*/ 269082 w 655591"/>
                <a:gd name="connsiteY4" fmla="*/ 735287 h 1087617"/>
                <a:gd name="connsiteX5" fmla="*/ 631753 w 655591"/>
                <a:gd name="connsiteY5" fmla="*/ 719846 h 1087617"/>
                <a:gd name="connsiteX6" fmla="*/ 602570 w 655591"/>
                <a:gd name="connsiteY6" fmla="*/ 671208 h 1087617"/>
                <a:gd name="connsiteX7" fmla="*/ 553932 w 655591"/>
                <a:gd name="connsiteY7" fmla="*/ 612842 h 1087617"/>
                <a:gd name="connsiteX8" fmla="*/ 524749 w 655591"/>
                <a:gd name="connsiteY8" fmla="*/ 603115 h 1087617"/>
                <a:gd name="connsiteX9" fmla="*/ 485838 w 655591"/>
                <a:gd name="connsiteY9" fmla="*/ 564204 h 1087617"/>
                <a:gd name="connsiteX10" fmla="*/ 437200 w 655591"/>
                <a:gd name="connsiteY10" fmla="*/ 525293 h 1087617"/>
                <a:gd name="connsiteX11" fmla="*/ 417745 w 655591"/>
                <a:gd name="connsiteY11" fmla="*/ 496110 h 1087617"/>
                <a:gd name="connsiteX12" fmla="*/ 359379 w 655591"/>
                <a:gd name="connsiteY12" fmla="*/ 437744 h 1087617"/>
                <a:gd name="connsiteX13" fmla="*/ 301013 w 655591"/>
                <a:gd name="connsiteY13" fmla="*/ 389106 h 1087617"/>
                <a:gd name="connsiteX14" fmla="*/ 281558 w 655591"/>
                <a:gd name="connsiteY14" fmla="*/ 359923 h 1087617"/>
                <a:gd name="connsiteX15" fmla="*/ 262102 w 655591"/>
                <a:gd name="connsiteY15" fmla="*/ 340468 h 1087617"/>
                <a:gd name="connsiteX16" fmla="*/ 281558 w 655591"/>
                <a:gd name="connsiteY16" fmla="*/ 311285 h 1087617"/>
                <a:gd name="connsiteX17" fmla="*/ 339924 w 655591"/>
                <a:gd name="connsiteY17" fmla="*/ 291829 h 1087617"/>
                <a:gd name="connsiteX18" fmla="*/ 378834 w 655591"/>
                <a:gd name="connsiteY18" fmla="*/ 233463 h 1087617"/>
                <a:gd name="connsiteX19" fmla="*/ 398290 w 655591"/>
                <a:gd name="connsiteY19" fmla="*/ 214008 h 1087617"/>
                <a:gd name="connsiteX20" fmla="*/ 456656 w 655591"/>
                <a:gd name="connsiteY20" fmla="*/ 194553 h 1087617"/>
                <a:gd name="connsiteX21" fmla="*/ 515021 w 655591"/>
                <a:gd name="connsiteY21" fmla="*/ 184825 h 1087617"/>
                <a:gd name="connsiteX22" fmla="*/ 573387 w 655591"/>
                <a:gd name="connsiteY22" fmla="*/ 165370 h 1087617"/>
                <a:gd name="connsiteX23" fmla="*/ 592843 w 655591"/>
                <a:gd name="connsiteY23" fmla="*/ 145915 h 1087617"/>
                <a:gd name="connsiteX24" fmla="*/ 602570 w 655591"/>
                <a:gd name="connsiteY24" fmla="*/ 0 h 1087617"/>
                <a:gd name="connsiteX0" fmla="*/ 26866 w 617268"/>
                <a:gd name="connsiteY0" fmla="*/ 1087617 h 1087617"/>
                <a:gd name="connsiteX1" fmla="*/ 37751 w 617268"/>
                <a:gd name="connsiteY1" fmla="*/ 933240 h 1087617"/>
                <a:gd name="connsiteX2" fmla="*/ 69611 w 617268"/>
                <a:gd name="connsiteY2" fmla="*/ 768086 h 1087617"/>
                <a:gd name="connsiteX3" fmla="*/ 169816 w 617268"/>
                <a:gd name="connsiteY3" fmla="*/ 758251 h 1087617"/>
                <a:gd name="connsiteX4" fmla="*/ 269082 w 617268"/>
                <a:gd name="connsiteY4" fmla="*/ 735287 h 1087617"/>
                <a:gd name="connsiteX5" fmla="*/ 602570 w 617268"/>
                <a:gd name="connsiteY5" fmla="*/ 671208 h 1087617"/>
                <a:gd name="connsiteX6" fmla="*/ 553932 w 617268"/>
                <a:gd name="connsiteY6" fmla="*/ 612842 h 1087617"/>
                <a:gd name="connsiteX7" fmla="*/ 524749 w 617268"/>
                <a:gd name="connsiteY7" fmla="*/ 603115 h 1087617"/>
                <a:gd name="connsiteX8" fmla="*/ 485838 w 617268"/>
                <a:gd name="connsiteY8" fmla="*/ 564204 h 1087617"/>
                <a:gd name="connsiteX9" fmla="*/ 437200 w 617268"/>
                <a:gd name="connsiteY9" fmla="*/ 525293 h 1087617"/>
                <a:gd name="connsiteX10" fmla="*/ 417745 w 617268"/>
                <a:gd name="connsiteY10" fmla="*/ 496110 h 1087617"/>
                <a:gd name="connsiteX11" fmla="*/ 359379 w 617268"/>
                <a:gd name="connsiteY11" fmla="*/ 437744 h 1087617"/>
                <a:gd name="connsiteX12" fmla="*/ 301013 w 617268"/>
                <a:gd name="connsiteY12" fmla="*/ 389106 h 1087617"/>
                <a:gd name="connsiteX13" fmla="*/ 281558 w 617268"/>
                <a:gd name="connsiteY13" fmla="*/ 359923 h 1087617"/>
                <a:gd name="connsiteX14" fmla="*/ 262102 w 617268"/>
                <a:gd name="connsiteY14" fmla="*/ 340468 h 1087617"/>
                <a:gd name="connsiteX15" fmla="*/ 281558 w 617268"/>
                <a:gd name="connsiteY15" fmla="*/ 311285 h 1087617"/>
                <a:gd name="connsiteX16" fmla="*/ 339924 w 617268"/>
                <a:gd name="connsiteY16" fmla="*/ 291829 h 1087617"/>
                <a:gd name="connsiteX17" fmla="*/ 378834 w 617268"/>
                <a:gd name="connsiteY17" fmla="*/ 233463 h 1087617"/>
                <a:gd name="connsiteX18" fmla="*/ 398290 w 617268"/>
                <a:gd name="connsiteY18" fmla="*/ 214008 h 1087617"/>
                <a:gd name="connsiteX19" fmla="*/ 456656 w 617268"/>
                <a:gd name="connsiteY19" fmla="*/ 194553 h 1087617"/>
                <a:gd name="connsiteX20" fmla="*/ 515021 w 617268"/>
                <a:gd name="connsiteY20" fmla="*/ 184825 h 1087617"/>
                <a:gd name="connsiteX21" fmla="*/ 573387 w 617268"/>
                <a:gd name="connsiteY21" fmla="*/ 165370 h 1087617"/>
                <a:gd name="connsiteX22" fmla="*/ 592843 w 617268"/>
                <a:gd name="connsiteY22" fmla="*/ 145915 h 1087617"/>
                <a:gd name="connsiteX23" fmla="*/ 602570 w 617268"/>
                <a:gd name="connsiteY23" fmla="*/ 0 h 1087617"/>
                <a:gd name="connsiteX0" fmla="*/ 26866 w 602840"/>
                <a:gd name="connsiteY0" fmla="*/ 1087617 h 1087617"/>
                <a:gd name="connsiteX1" fmla="*/ 37751 w 602840"/>
                <a:gd name="connsiteY1" fmla="*/ 933240 h 1087617"/>
                <a:gd name="connsiteX2" fmla="*/ 69611 w 602840"/>
                <a:gd name="connsiteY2" fmla="*/ 768086 h 1087617"/>
                <a:gd name="connsiteX3" fmla="*/ 169816 w 602840"/>
                <a:gd name="connsiteY3" fmla="*/ 758251 h 1087617"/>
                <a:gd name="connsiteX4" fmla="*/ 269082 w 602840"/>
                <a:gd name="connsiteY4" fmla="*/ 735287 h 1087617"/>
                <a:gd name="connsiteX5" fmla="*/ 553932 w 602840"/>
                <a:gd name="connsiteY5" fmla="*/ 612842 h 1087617"/>
                <a:gd name="connsiteX6" fmla="*/ 524749 w 602840"/>
                <a:gd name="connsiteY6" fmla="*/ 603115 h 1087617"/>
                <a:gd name="connsiteX7" fmla="*/ 485838 w 602840"/>
                <a:gd name="connsiteY7" fmla="*/ 564204 h 1087617"/>
                <a:gd name="connsiteX8" fmla="*/ 437200 w 602840"/>
                <a:gd name="connsiteY8" fmla="*/ 525293 h 1087617"/>
                <a:gd name="connsiteX9" fmla="*/ 417745 w 602840"/>
                <a:gd name="connsiteY9" fmla="*/ 496110 h 1087617"/>
                <a:gd name="connsiteX10" fmla="*/ 359379 w 602840"/>
                <a:gd name="connsiteY10" fmla="*/ 437744 h 1087617"/>
                <a:gd name="connsiteX11" fmla="*/ 301013 w 602840"/>
                <a:gd name="connsiteY11" fmla="*/ 389106 h 1087617"/>
                <a:gd name="connsiteX12" fmla="*/ 281558 w 602840"/>
                <a:gd name="connsiteY12" fmla="*/ 359923 h 1087617"/>
                <a:gd name="connsiteX13" fmla="*/ 262102 w 602840"/>
                <a:gd name="connsiteY13" fmla="*/ 340468 h 1087617"/>
                <a:gd name="connsiteX14" fmla="*/ 281558 w 602840"/>
                <a:gd name="connsiteY14" fmla="*/ 311285 h 1087617"/>
                <a:gd name="connsiteX15" fmla="*/ 339924 w 602840"/>
                <a:gd name="connsiteY15" fmla="*/ 291829 h 1087617"/>
                <a:gd name="connsiteX16" fmla="*/ 378834 w 602840"/>
                <a:gd name="connsiteY16" fmla="*/ 233463 h 1087617"/>
                <a:gd name="connsiteX17" fmla="*/ 398290 w 602840"/>
                <a:gd name="connsiteY17" fmla="*/ 214008 h 1087617"/>
                <a:gd name="connsiteX18" fmla="*/ 456656 w 602840"/>
                <a:gd name="connsiteY18" fmla="*/ 194553 h 1087617"/>
                <a:gd name="connsiteX19" fmla="*/ 515021 w 602840"/>
                <a:gd name="connsiteY19" fmla="*/ 184825 h 1087617"/>
                <a:gd name="connsiteX20" fmla="*/ 573387 w 602840"/>
                <a:gd name="connsiteY20" fmla="*/ 165370 h 1087617"/>
                <a:gd name="connsiteX21" fmla="*/ 592843 w 602840"/>
                <a:gd name="connsiteY21" fmla="*/ 145915 h 1087617"/>
                <a:gd name="connsiteX22" fmla="*/ 602570 w 602840"/>
                <a:gd name="connsiteY22" fmla="*/ 0 h 1087617"/>
                <a:gd name="connsiteX0" fmla="*/ 26866 w 602840"/>
                <a:gd name="connsiteY0" fmla="*/ 1087617 h 1087617"/>
                <a:gd name="connsiteX1" fmla="*/ 37751 w 602840"/>
                <a:gd name="connsiteY1" fmla="*/ 933240 h 1087617"/>
                <a:gd name="connsiteX2" fmla="*/ 69611 w 602840"/>
                <a:gd name="connsiteY2" fmla="*/ 768086 h 1087617"/>
                <a:gd name="connsiteX3" fmla="*/ 169816 w 602840"/>
                <a:gd name="connsiteY3" fmla="*/ 758251 h 1087617"/>
                <a:gd name="connsiteX4" fmla="*/ 269082 w 602840"/>
                <a:gd name="connsiteY4" fmla="*/ 735287 h 1087617"/>
                <a:gd name="connsiteX5" fmla="*/ 524749 w 602840"/>
                <a:gd name="connsiteY5" fmla="*/ 603115 h 1087617"/>
                <a:gd name="connsiteX6" fmla="*/ 485838 w 602840"/>
                <a:gd name="connsiteY6" fmla="*/ 564204 h 1087617"/>
                <a:gd name="connsiteX7" fmla="*/ 437200 w 602840"/>
                <a:gd name="connsiteY7" fmla="*/ 525293 h 1087617"/>
                <a:gd name="connsiteX8" fmla="*/ 417745 w 602840"/>
                <a:gd name="connsiteY8" fmla="*/ 496110 h 1087617"/>
                <a:gd name="connsiteX9" fmla="*/ 359379 w 602840"/>
                <a:gd name="connsiteY9" fmla="*/ 437744 h 1087617"/>
                <a:gd name="connsiteX10" fmla="*/ 301013 w 602840"/>
                <a:gd name="connsiteY10" fmla="*/ 389106 h 1087617"/>
                <a:gd name="connsiteX11" fmla="*/ 281558 w 602840"/>
                <a:gd name="connsiteY11" fmla="*/ 359923 h 1087617"/>
                <a:gd name="connsiteX12" fmla="*/ 262102 w 602840"/>
                <a:gd name="connsiteY12" fmla="*/ 340468 h 1087617"/>
                <a:gd name="connsiteX13" fmla="*/ 281558 w 602840"/>
                <a:gd name="connsiteY13" fmla="*/ 311285 h 1087617"/>
                <a:gd name="connsiteX14" fmla="*/ 339924 w 602840"/>
                <a:gd name="connsiteY14" fmla="*/ 291829 h 1087617"/>
                <a:gd name="connsiteX15" fmla="*/ 378834 w 602840"/>
                <a:gd name="connsiteY15" fmla="*/ 233463 h 1087617"/>
                <a:gd name="connsiteX16" fmla="*/ 398290 w 602840"/>
                <a:gd name="connsiteY16" fmla="*/ 214008 h 1087617"/>
                <a:gd name="connsiteX17" fmla="*/ 456656 w 602840"/>
                <a:gd name="connsiteY17" fmla="*/ 194553 h 1087617"/>
                <a:gd name="connsiteX18" fmla="*/ 515021 w 602840"/>
                <a:gd name="connsiteY18" fmla="*/ 184825 h 1087617"/>
                <a:gd name="connsiteX19" fmla="*/ 573387 w 602840"/>
                <a:gd name="connsiteY19" fmla="*/ 165370 h 1087617"/>
                <a:gd name="connsiteX20" fmla="*/ 592843 w 602840"/>
                <a:gd name="connsiteY20" fmla="*/ 145915 h 1087617"/>
                <a:gd name="connsiteX21" fmla="*/ 602570 w 602840"/>
                <a:gd name="connsiteY21" fmla="*/ 0 h 1087617"/>
                <a:gd name="connsiteX0" fmla="*/ 26866 w 602840"/>
                <a:gd name="connsiteY0" fmla="*/ 1087617 h 1087617"/>
                <a:gd name="connsiteX1" fmla="*/ 37751 w 602840"/>
                <a:gd name="connsiteY1" fmla="*/ 933240 h 1087617"/>
                <a:gd name="connsiteX2" fmla="*/ 69611 w 602840"/>
                <a:gd name="connsiteY2" fmla="*/ 768086 h 1087617"/>
                <a:gd name="connsiteX3" fmla="*/ 169816 w 602840"/>
                <a:gd name="connsiteY3" fmla="*/ 758251 h 1087617"/>
                <a:gd name="connsiteX4" fmla="*/ 269082 w 602840"/>
                <a:gd name="connsiteY4" fmla="*/ 735287 h 1087617"/>
                <a:gd name="connsiteX5" fmla="*/ 485838 w 602840"/>
                <a:gd name="connsiteY5" fmla="*/ 564204 h 1087617"/>
                <a:gd name="connsiteX6" fmla="*/ 437200 w 602840"/>
                <a:gd name="connsiteY6" fmla="*/ 525293 h 1087617"/>
                <a:gd name="connsiteX7" fmla="*/ 417745 w 602840"/>
                <a:gd name="connsiteY7" fmla="*/ 496110 h 1087617"/>
                <a:gd name="connsiteX8" fmla="*/ 359379 w 602840"/>
                <a:gd name="connsiteY8" fmla="*/ 437744 h 1087617"/>
                <a:gd name="connsiteX9" fmla="*/ 301013 w 602840"/>
                <a:gd name="connsiteY9" fmla="*/ 389106 h 1087617"/>
                <a:gd name="connsiteX10" fmla="*/ 281558 w 602840"/>
                <a:gd name="connsiteY10" fmla="*/ 359923 h 1087617"/>
                <a:gd name="connsiteX11" fmla="*/ 262102 w 602840"/>
                <a:gd name="connsiteY11" fmla="*/ 340468 h 1087617"/>
                <a:gd name="connsiteX12" fmla="*/ 281558 w 602840"/>
                <a:gd name="connsiteY12" fmla="*/ 311285 h 1087617"/>
                <a:gd name="connsiteX13" fmla="*/ 339924 w 602840"/>
                <a:gd name="connsiteY13" fmla="*/ 291829 h 1087617"/>
                <a:gd name="connsiteX14" fmla="*/ 378834 w 602840"/>
                <a:gd name="connsiteY14" fmla="*/ 233463 h 1087617"/>
                <a:gd name="connsiteX15" fmla="*/ 398290 w 602840"/>
                <a:gd name="connsiteY15" fmla="*/ 214008 h 1087617"/>
                <a:gd name="connsiteX16" fmla="*/ 456656 w 602840"/>
                <a:gd name="connsiteY16" fmla="*/ 194553 h 1087617"/>
                <a:gd name="connsiteX17" fmla="*/ 515021 w 602840"/>
                <a:gd name="connsiteY17" fmla="*/ 184825 h 1087617"/>
                <a:gd name="connsiteX18" fmla="*/ 573387 w 602840"/>
                <a:gd name="connsiteY18" fmla="*/ 165370 h 1087617"/>
                <a:gd name="connsiteX19" fmla="*/ 592843 w 602840"/>
                <a:gd name="connsiteY19" fmla="*/ 145915 h 1087617"/>
                <a:gd name="connsiteX20" fmla="*/ 602570 w 602840"/>
                <a:gd name="connsiteY20" fmla="*/ 0 h 1087617"/>
                <a:gd name="connsiteX0" fmla="*/ 26866 w 602840"/>
                <a:gd name="connsiteY0" fmla="*/ 1087617 h 1087617"/>
                <a:gd name="connsiteX1" fmla="*/ 37751 w 602840"/>
                <a:gd name="connsiteY1" fmla="*/ 933240 h 1087617"/>
                <a:gd name="connsiteX2" fmla="*/ 69611 w 602840"/>
                <a:gd name="connsiteY2" fmla="*/ 768086 h 1087617"/>
                <a:gd name="connsiteX3" fmla="*/ 169816 w 602840"/>
                <a:gd name="connsiteY3" fmla="*/ 758251 h 1087617"/>
                <a:gd name="connsiteX4" fmla="*/ 269082 w 602840"/>
                <a:gd name="connsiteY4" fmla="*/ 735287 h 1087617"/>
                <a:gd name="connsiteX5" fmla="*/ 437200 w 602840"/>
                <a:gd name="connsiteY5" fmla="*/ 525293 h 1087617"/>
                <a:gd name="connsiteX6" fmla="*/ 417745 w 602840"/>
                <a:gd name="connsiteY6" fmla="*/ 496110 h 1087617"/>
                <a:gd name="connsiteX7" fmla="*/ 359379 w 602840"/>
                <a:gd name="connsiteY7" fmla="*/ 437744 h 1087617"/>
                <a:gd name="connsiteX8" fmla="*/ 301013 w 602840"/>
                <a:gd name="connsiteY8" fmla="*/ 389106 h 1087617"/>
                <a:gd name="connsiteX9" fmla="*/ 281558 w 602840"/>
                <a:gd name="connsiteY9" fmla="*/ 359923 h 1087617"/>
                <a:gd name="connsiteX10" fmla="*/ 262102 w 602840"/>
                <a:gd name="connsiteY10" fmla="*/ 340468 h 1087617"/>
                <a:gd name="connsiteX11" fmla="*/ 281558 w 602840"/>
                <a:gd name="connsiteY11" fmla="*/ 311285 h 1087617"/>
                <a:gd name="connsiteX12" fmla="*/ 339924 w 602840"/>
                <a:gd name="connsiteY12" fmla="*/ 291829 h 1087617"/>
                <a:gd name="connsiteX13" fmla="*/ 378834 w 602840"/>
                <a:gd name="connsiteY13" fmla="*/ 233463 h 1087617"/>
                <a:gd name="connsiteX14" fmla="*/ 398290 w 602840"/>
                <a:gd name="connsiteY14" fmla="*/ 214008 h 1087617"/>
                <a:gd name="connsiteX15" fmla="*/ 456656 w 602840"/>
                <a:gd name="connsiteY15" fmla="*/ 194553 h 1087617"/>
                <a:gd name="connsiteX16" fmla="*/ 515021 w 602840"/>
                <a:gd name="connsiteY16" fmla="*/ 184825 h 1087617"/>
                <a:gd name="connsiteX17" fmla="*/ 573387 w 602840"/>
                <a:gd name="connsiteY17" fmla="*/ 165370 h 1087617"/>
                <a:gd name="connsiteX18" fmla="*/ 592843 w 602840"/>
                <a:gd name="connsiteY18" fmla="*/ 145915 h 1087617"/>
                <a:gd name="connsiteX19" fmla="*/ 602570 w 602840"/>
                <a:gd name="connsiteY19" fmla="*/ 0 h 1087617"/>
                <a:gd name="connsiteX0" fmla="*/ 26866 w 602840"/>
                <a:gd name="connsiteY0" fmla="*/ 1087617 h 1087617"/>
                <a:gd name="connsiteX1" fmla="*/ 37751 w 602840"/>
                <a:gd name="connsiteY1" fmla="*/ 933240 h 1087617"/>
                <a:gd name="connsiteX2" fmla="*/ 69611 w 602840"/>
                <a:gd name="connsiteY2" fmla="*/ 768086 h 1087617"/>
                <a:gd name="connsiteX3" fmla="*/ 169816 w 602840"/>
                <a:gd name="connsiteY3" fmla="*/ 758251 h 1087617"/>
                <a:gd name="connsiteX4" fmla="*/ 269082 w 602840"/>
                <a:gd name="connsiteY4" fmla="*/ 735287 h 1087617"/>
                <a:gd name="connsiteX5" fmla="*/ 321626 w 602840"/>
                <a:gd name="connsiteY5" fmla="*/ 552487 h 1087617"/>
                <a:gd name="connsiteX6" fmla="*/ 417745 w 602840"/>
                <a:gd name="connsiteY6" fmla="*/ 496110 h 1087617"/>
                <a:gd name="connsiteX7" fmla="*/ 359379 w 602840"/>
                <a:gd name="connsiteY7" fmla="*/ 437744 h 1087617"/>
                <a:gd name="connsiteX8" fmla="*/ 301013 w 602840"/>
                <a:gd name="connsiteY8" fmla="*/ 389106 h 1087617"/>
                <a:gd name="connsiteX9" fmla="*/ 281558 w 602840"/>
                <a:gd name="connsiteY9" fmla="*/ 359923 h 1087617"/>
                <a:gd name="connsiteX10" fmla="*/ 262102 w 602840"/>
                <a:gd name="connsiteY10" fmla="*/ 340468 h 1087617"/>
                <a:gd name="connsiteX11" fmla="*/ 281558 w 602840"/>
                <a:gd name="connsiteY11" fmla="*/ 311285 h 1087617"/>
                <a:gd name="connsiteX12" fmla="*/ 339924 w 602840"/>
                <a:gd name="connsiteY12" fmla="*/ 291829 h 1087617"/>
                <a:gd name="connsiteX13" fmla="*/ 378834 w 602840"/>
                <a:gd name="connsiteY13" fmla="*/ 233463 h 1087617"/>
                <a:gd name="connsiteX14" fmla="*/ 398290 w 602840"/>
                <a:gd name="connsiteY14" fmla="*/ 214008 h 1087617"/>
                <a:gd name="connsiteX15" fmla="*/ 456656 w 602840"/>
                <a:gd name="connsiteY15" fmla="*/ 194553 h 1087617"/>
                <a:gd name="connsiteX16" fmla="*/ 515021 w 602840"/>
                <a:gd name="connsiteY16" fmla="*/ 184825 h 1087617"/>
                <a:gd name="connsiteX17" fmla="*/ 573387 w 602840"/>
                <a:gd name="connsiteY17" fmla="*/ 165370 h 1087617"/>
                <a:gd name="connsiteX18" fmla="*/ 592843 w 602840"/>
                <a:gd name="connsiteY18" fmla="*/ 145915 h 1087617"/>
                <a:gd name="connsiteX19" fmla="*/ 602570 w 602840"/>
                <a:gd name="connsiteY19" fmla="*/ 0 h 1087617"/>
                <a:gd name="connsiteX0" fmla="*/ 26866 w 602840"/>
                <a:gd name="connsiteY0" fmla="*/ 1087617 h 1087617"/>
                <a:gd name="connsiteX1" fmla="*/ 37751 w 602840"/>
                <a:gd name="connsiteY1" fmla="*/ 933240 h 1087617"/>
                <a:gd name="connsiteX2" fmla="*/ 69611 w 602840"/>
                <a:gd name="connsiteY2" fmla="*/ 768086 h 1087617"/>
                <a:gd name="connsiteX3" fmla="*/ 169816 w 602840"/>
                <a:gd name="connsiteY3" fmla="*/ 758251 h 1087617"/>
                <a:gd name="connsiteX4" fmla="*/ 269082 w 602840"/>
                <a:gd name="connsiteY4" fmla="*/ 735287 h 1087617"/>
                <a:gd name="connsiteX5" fmla="*/ 321626 w 602840"/>
                <a:gd name="connsiteY5" fmla="*/ 552487 h 1087617"/>
                <a:gd name="connsiteX6" fmla="*/ 285174 w 602840"/>
                <a:gd name="connsiteY6" fmla="*/ 479113 h 1087617"/>
                <a:gd name="connsiteX7" fmla="*/ 359379 w 602840"/>
                <a:gd name="connsiteY7" fmla="*/ 437744 h 1087617"/>
                <a:gd name="connsiteX8" fmla="*/ 301013 w 602840"/>
                <a:gd name="connsiteY8" fmla="*/ 389106 h 1087617"/>
                <a:gd name="connsiteX9" fmla="*/ 281558 w 602840"/>
                <a:gd name="connsiteY9" fmla="*/ 359923 h 1087617"/>
                <a:gd name="connsiteX10" fmla="*/ 262102 w 602840"/>
                <a:gd name="connsiteY10" fmla="*/ 340468 h 1087617"/>
                <a:gd name="connsiteX11" fmla="*/ 281558 w 602840"/>
                <a:gd name="connsiteY11" fmla="*/ 311285 h 1087617"/>
                <a:gd name="connsiteX12" fmla="*/ 339924 w 602840"/>
                <a:gd name="connsiteY12" fmla="*/ 291829 h 1087617"/>
                <a:gd name="connsiteX13" fmla="*/ 378834 w 602840"/>
                <a:gd name="connsiteY13" fmla="*/ 233463 h 1087617"/>
                <a:gd name="connsiteX14" fmla="*/ 398290 w 602840"/>
                <a:gd name="connsiteY14" fmla="*/ 214008 h 1087617"/>
                <a:gd name="connsiteX15" fmla="*/ 456656 w 602840"/>
                <a:gd name="connsiteY15" fmla="*/ 194553 h 1087617"/>
                <a:gd name="connsiteX16" fmla="*/ 515021 w 602840"/>
                <a:gd name="connsiteY16" fmla="*/ 184825 h 1087617"/>
                <a:gd name="connsiteX17" fmla="*/ 573387 w 602840"/>
                <a:gd name="connsiteY17" fmla="*/ 165370 h 1087617"/>
                <a:gd name="connsiteX18" fmla="*/ 592843 w 602840"/>
                <a:gd name="connsiteY18" fmla="*/ 145915 h 1087617"/>
                <a:gd name="connsiteX19" fmla="*/ 602570 w 602840"/>
                <a:gd name="connsiteY19" fmla="*/ 0 h 1087617"/>
                <a:gd name="connsiteX0" fmla="*/ 26866 w 602840"/>
                <a:gd name="connsiteY0" fmla="*/ 1087617 h 1087617"/>
                <a:gd name="connsiteX1" fmla="*/ 37751 w 602840"/>
                <a:gd name="connsiteY1" fmla="*/ 933240 h 1087617"/>
                <a:gd name="connsiteX2" fmla="*/ 69611 w 602840"/>
                <a:gd name="connsiteY2" fmla="*/ 768086 h 1087617"/>
                <a:gd name="connsiteX3" fmla="*/ 169816 w 602840"/>
                <a:gd name="connsiteY3" fmla="*/ 758251 h 1087617"/>
                <a:gd name="connsiteX4" fmla="*/ 269082 w 602840"/>
                <a:gd name="connsiteY4" fmla="*/ 735287 h 1087617"/>
                <a:gd name="connsiteX5" fmla="*/ 321626 w 602840"/>
                <a:gd name="connsiteY5" fmla="*/ 552487 h 1087617"/>
                <a:gd name="connsiteX6" fmla="*/ 359379 w 602840"/>
                <a:gd name="connsiteY6" fmla="*/ 437744 h 1087617"/>
                <a:gd name="connsiteX7" fmla="*/ 301013 w 602840"/>
                <a:gd name="connsiteY7" fmla="*/ 389106 h 1087617"/>
                <a:gd name="connsiteX8" fmla="*/ 281558 w 602840"/>
                <a:gd name="connsiteY8" fmla="*/ 359923 h 1087617"/>
                <a:gd name="connsiteX9" fmla="*/ 262102 w 602840"/>
                <a:gd name="connsiteY9" fmla="*/ 340468 h 1087617"/>
                <a:gd name="connsiteX10" fmla="*/ 281558 w 602840"/>
                <a:gd name="connsiteY10" fmla="*/ 311285 h 1087617"/>
                <a:gd name="connsiteX11" fmla="*/ 339924 w 602840"/>
                <a:gd name="connsiteY11" fmla="*/ 291829 h 1087617"/>
                <a:gd name="connsiteX12" fmla="*/ 378834 w 602840"/>
                <a:gd name="connsiteY12" fmla="*/ 233463 h 1087617"/>
                <a:gd name="connsiteX13" fmla="*/ 398290 w 602840"/>
                <a:gd name="connsiteY13" fmla="*/ 214008 h 1087617"/>
                <a:gd name="connsiteX14" fmla="*/ 456656 w 602840"/>
                <a:gd name="connsiteY14" fmla="*/ 194553 h 1087617"/>
                <a:gd name="connsiteX15" fmla="*/ 515021 w 602840"/>
                <a:gd name="connsiteY15" fmla="*/ 184825 h 1087617"/>
                <a:gd name="connsiteX16" fmla="*/ 573387 w 602840"/>
                <a:gd name="connsiteY16" fmla="*/ 165370 h 1087617"/>
                <a:gd name="connsiteX17" fmla="*/ 592843 w 602840"/>
                <a:gd name="connsiteY17" fmla="*/ 145915 h 1087617"/>
                <a:gd name="connsiteX18" fmla="*/ 602570 w 602840"/>
                <a:gd name="connsiteY18" fmla="*/ 0 h 1087617"/>
                <a:gd name="connsiteX0" fmla="*/ 26866 w 602840"/>
                <a:gd name="connsiteY0" fmla="*/ 1087617 h 1087617"/>
                <a:gd name="connsiteX1" fmla="*/ 37751 w 602840"/>
                <a:gd name="connsiteY1" fmla="*/ 933240 h 1087617"/>
                <a:gd name="connsiteX2" fmla="*/ 69611 w 602840"/>
                <a:gd name="connsiteY2" fmla="*/ 768086 h 1087617"/>
                <a:gd name="connsiteX3" fmla="*/ 169816 w 602840"/>
                <a:gd name="connsiteY3" fmla="*/ 758251 h 1087617"/>
                <a:gd name="connsiteX4" fmla="*/ 269082 w 602840"/>
                <a:gd name="connsiteY4" fmla="*/ 735287 h 1087617"/>
                <a:gd name="connsiteX5" fmla="*/ 321626 w 602840"/>
                <a:gd name="connsiteY5" fmla="*/ 552487 h 1087617"/>
                <a:gd name="connsiteX6" fmla="*/ 274397 w 602840"/>
                <a:gd name="connsiteY6" fmla="*/ 441143 h 1087617"/>
                <a:gd name="connsiteX7" fmla="*/ 301013 w 602840"/>
                <a:gd name="connsiteY7" fmla="*/ 389106 h 1087617"/>
                <a:gd name="connsiteX8" fmla="*/ 281558 w 602840"/>
                <a:gd name="connsiteY8" fmla="*/ 359923 h 1087617"/>
                <a:gd name="connsiteX9" fmla="*/ 262102 w 602840"/>
                <a:gd name="connsiteY9" fmla="*/ 340468 h 1087617"/>
                <a:gd name="connsiteX10" fmla="*/ 281558 w 602840"/>
                <a:gd name="connsiteY10" fmla="*/ 311285 h 1087617"/>
                <a:gd name="connsiteX11" fmla="*/ 339924 w 602840"/>
                <a:gd name="connsiteY11" fmla="*/ 291829 h 1087617"/>
                <a:gd name="connsiteX12" fmla="*/ 378834 w 602840"/>
                <a:gd name="connsiteY12" fmla="*/ 233463 h 1087617"/>
                <a:gd name="connsiteX13" fmla="*/ 398290 w 602840"/>
                <a:gd name="connsiteY13" fmla="*/ 214008 h 1087617"/>
                <a:gd name="connsiteX14" fmla="*/ 456656 w 602840"/>
                <a:gd name="connsiteY14" fmla="*/ 194553 h 1087617"/>
                <a:gd name="connsiteX15" fmla="*/ 515021 w 602840"/>
                <a:gd name="connsiteY15" fmla="*/ 184825 h 1087617"/>
                <a:gd name="connsiteX16" fmla="*/ 573387 w 602840"/>
                <a:gd name="connsiteY16" fmla="*/ 165370 h 1087617"/>
                <a:gd name="connsiteX17" fmla="*/ 592843 w 602840"/>
                <a:gd name="connsiteY17" fmla="*/ 145915 h 1087617"/>
                <a:gd name="connsiteX18" fmla="*/ 602570 w 602840"/>
                <a:gd name="connsiteY18" fmla="*/ 0 h 1087617"/>
                <a:gd name="connsiteX0" fmla="*/ 26866 w 602840"/>
                <a:gd name="connsiteY0" fmla="*/ 1087617 h 1087617"/>
                <a:gd name="connsiteX1" fmla="*/ 37751 w 602840"/>
                <a:gd name="connsiteY1" fmla="*/ 933240 h 1087617"/>
                <a:gd name="connsiteX2" fmla="*/ 69611 w 602840"/>
                <a:gd name="connsiteY2" fmla="*/ 768086 h 1087617"/>
                <a:gd name="connsiteX3" fmla="*/ 169816 w 602840"/>
                <a:gd name="connsiteY3" fmla="*/ 758251 h 1087617"/>
                <a:gd name="connsiteX4" fmla="*/ 269082 w 602840"/>
                <a:gd name="connsiteY4" fmla="*/ 735287 h 1087617"/>
                <a:gd name="connsiteX5" fmla="*/ 321626 w 602840"/>
                <a:gd name="connsiteY5" fmla="*/ 552487 h 1087617"/>
                <a:gd name="connsiteX6" fmla="*/ 301013 w 602840"/>
                <a:gd name="connsiteY6" fmla="*/ 389106 h 1087617"/>
                <a:gd name="connsiteX7" fmla="*/ 281558 w 602840"/>
                <a:gd name="connsiteY7" fmla="*/ 359923 h 1087617"/>
                <a:gd name="connsiteX8" fmla="*/ 262102 w 602840"/>
                <a:gd name="connsiteY8" fmla="*/ 340468 h 1087617"/>
                <a:gd name="connsiteX9" fmla="*/ 281558 w 602840"/>
                <a:gd name="connsiteY9" fmla="*/ 311285 h 1087617"/>
                <a:gd name="connsiteX10" fmla="*/ 339924 w 602840"/>
                <a:gd name="connsiteY10" fmla="*/ 291829 h 1087617"/>
                <a:gd name="connsiteX11" fmla="*/ 378834 w 602840"/>
                <a:gd name="connsiteY11" fmla="*/ 233463 h 1087617"/>
                <a:gd name="connsiteX12" fmla="*/ 398290 w 602840"/>
                <a:gd name="connsiteY12" fmla="*/ 214008 h 1087617"/>
                <a:gd name="connsiteX13" fmla="*/ 456656 w 602840"/>
                <a:gd name="connsiteY13" fmla="*/ 194553 h 1087617"/>
                <a:gd name="connsiteX14" fmla="*/ 515021 w 602840"/>
                <a:gd name="connsiteY14" fmla="*/ 184825 h 1087617"/>
                <a:gd name="connsiteX15" fmla="*/ 573387 w 602840"/>
                <a:gd name="connsiteY15" fmla="*/ 165370 h 1087617"/>
                <a:gd name="connsiteX16" fmla="*/ 592843 w 602840"/>
                <a:gd name="connsiteY16" fmla="*/ 145915 h 1087617"/>
                <a:gd name="connsiteX17" fmla="*/ 602570 w 602840"/>
                <a:gd name="connsiteY17" fmla="*/ 0 h 1087617"/>
                <a:gd name="connsiteX0" fmla="*/ 26866 w 602840"/>
                <a:gd name="connsiteY0" fmla="*/ 1087617 h 1087617"/>
                <a:gd name="connsiteX1" fmla="*/ 37751 w 602840"/>
                <a:gd name="connsiteY1" fmla="*/ 933240 h 1087617"/>
                <a:gd name="connsiteX2" fmla="*/ 69611 w 602840"/>
                <a:gd name="connsiteY2" fmla="*/ 768086 h 1087617"/>
                <a:gd name="connsiteX3" fmla="*/ 169816 w 602840"/>
                <a:gd name="connsiteY3" fmla="*/ 758251 h 1087617"/>
                <a:gd name="connsiteX4" fmla="*/ 269082 w 602840"/>
                <a:gd name="connsiteY4" fmla="*/ 735287 h 1087617"/>
                <a:gd name="connsiteX5" fmla="*/ 321626 w 602840"/>
                <a:gd name="connsiteY5" fmla="*/ 552487 h 1087617"/>
                <a:gd name="connsiteX6" fmla="*/ 273819 w 602840"/>
                <a:gd name="connsiteY6" fmla="*/ 406103 h 1087617"/>
                <a:gd name="connsiteX7" fmla="*/ 281558 w 602840"/>
                <a:gd name="connsiteY7" fmla="*/ 359923 h 1087617"/>
                <a:gd name="connsiteX8" fmla="*/ 262102 w 602840"/>
                <a:gd name="connsiteY8" fmla="*/ 340468 h 1087617"/>
                <a:gd name="connsiteX9" fmla="*/ 281558 w 602840"/>
                <a:gd name="connsiteY9" fmla="*/ 311285 h 1087617"/>
                <a:gd name="connsiteX10" fmla="*/ 339924 w 602840"/>
                <a:gd name="connsiteY10" fmla="*/ 291829 h 1087617"/>
                <a:gd name="connsiteX11" fmla="*/ 378834 w 602840"/>
                <a:gd name="connsiteY11" fmla="*/ 233463 h 1087617"/>
                <a:gd name="connsiteX12" fmla="*/ 398290 w 602840"/>
                <a:gd name="connsiteY12" fmla="*/ 214008 h 1087617"/>
                <a:gd name="connsiteX13" fmla="*/ 456656 w 602840"/>
                <a:gd name="connsiteY13" fmla="*/ 194553 h 1087617"/>
                <a:gd name="connsiteX14" fmla="*/ 515021 w 602840"/>
                <a:gd name="connsiteY14" fmla="*/ 184825 h 1087617"/>
                <a:gd name="connsiteX15" fmla="*/ 573387 w 602840"/>
                <a:gd name="connsiteY15" fmla="*/ 165370 h 1087617"/>
                <a:gd name="connsiteX16" fmla="*/ 592843 w 602840"/>
                <a:gd name="connsiteY16" fmla="*/ 145915 h 1087617"/>
                <a:gd name="connsiteX17" fmla="*/ 602570 w 602840"/>
                <a:gd name="connsiteY17" fmla="*/ 0 h 1087617"/>
                <a:gd name="connsiteX0" fmla="*/ 26866 w 602840"/>
                <a:gd name="connsiteY0" fmla="*/ 1087617 h 1087617"/>
                <a:gd name="connsiteX1" fmla="*/ 37751 w 602840"/>
                <a:gd name="connsiteY1" fmla="*/ 933240 h 1087617"/>
                <a:gd name="connsiteX2" fmla="*/ 69611 w 602840"/>
                <a:gd name="connsiteY2" fmla="*/ 768086 h 1087617"/>
                <a:gd name="connsiteX3" fmla="*/ 169816 w 602840"/>
                <a:gd name="connsiteY3" fmla="*/ 758251 h 1087617"/>
                <a:gd name="connsiteX4" fmla="*/ 269082 w 602840"/>
                <a:gd name="connsiteY4" fmla="*/ 735287 h 1087617"/>
                <a:gd name="connsiteX5" fmla="*/ 277435 w 602840"/>
                <a:gd name="connsiteY5" fmla="*/ 538890 h 1087617"/>
                <a:gd name="connsiteX6" fmla="*/ 273819 w 602840"/>
                <a:gd name="connsiteY6" fmla="*/ 406103 h 1087617"/>
                <a:gd name="connsiteX7" fmla="*/ 281558 w 602840"/>
                <a:gd name="connsiteY7" fmla="*/ 359923 h 1087617"/>
                <a:gd name="connsiteX8" fmla="*/ 262102 w 602840"/>
                <a:gd name="connsiteY8" fmla="*/ 340468 h 1087617"/>
                <a:gd name="connsiteX9" fmla="*/ 281558 w 602840"/>
                <a:gd name="connsiteY9" fmla="*/ 311285 h 1087617"/>
                <a:gd name="connsiteX10" fmla="*/ 339924 w 602840"/>
                <a:gd name="connsiteY10" fmla="*/ 291829 h 1087617"/>
                <a:gd name="connsiteX11" fmla="*/ 378834 w 602840"/>
                <a:gd name="connsiteY11" fmla="*/ 233463 h 1087617"/>
                <a:gd name="connsiteX12" fmla="*/ 398290 w 602840"/>
                <a:gd name="connsiteY12" fmla="*/ 214008 h 1087617"/>
                <a:gd name="connsiteX13" fmla="*/ 456656 w 602840"/>
                <a:gd name="connsiteY13" fmla="*/ 194553 h 1087617"/>
                <a:gd name="connsiteX14" fmla="*/ 515021 w 602840"/>
                <a:gd name="connsiteY14" fmla="*/ 184825 h 1087617"/>
                <a:gd name="connsiteX15" fmla="*/ 573387 w 602840"/>
                <a:gd name="connsiteY15" fmla="*/ 165370 h 1087617"/>
                <a:gd name="connsiteX16" fmla="*/ 592843 w 602840"/>
                <a:gd name="connsiteY16" fmla="*/ 145915 h 1087617"/>
                <a:gd name="connsiteX17" fmla="*/ 602570 w 602840"/>
                <a:gd name="connsiteY17" fmla="*/ 0 h 1087617"/>
                <a:gd name="connsiteX0" fmla="*/ 26866 w 602840"/>
                <a:gd name="connsiteY0" fmla="*/ 1087617 h 1087617"/>
                <a:gd name="connsiteX1" fmla="*/ 37751 w 602840"/>
                <a:gd name="connsiteY1" fmla="*/ 933240 h 1087617"/>
                <a:gd name="connsiteX2" fmla="*/ 69611 w 602840"/>
                <a:gd name="connsiteY2" fmla="*/ 768086 h 1087617"/>
                <a:gd name="connsiteX3" fmla="*/ 169816 w 602840"/>
                <a:gd name="connsiteY3" fmla="*/ 758251 h 1087617"/>
                <a:gd name="connsiteX4" fmla="*/ 269082 w 602840"/>
                <a:gd name="connsiteY4" fmla="*/ 694496 h 1087617"/>
                <a:gd name="connsiteX5" fmla="*/ 277435 w 602840"/>
                <a:gd name="connsiteY5" fmla="*/ 538890 h 1087617"/>
                <a:gd name="connsiteX6" fmla="*/ 273819 w 602840"/>
                <a:gd name="connsiteY6" fmla="*/ 406103 h 1087617"/>
                <a:gd name="connsiteX7" fmla="*/ 281558 w 602840"/>
                <a:gd name="connsiteY7" fmla="*/ 359923 h 1087617"/>
                <a:gd name="connsiteX8" fmla="*/ 262102 w 602840"/>
                <a:gd name="connsiteY8" fmla="*/ 340468 h 1087617"/>
                <a:gd name="connsiteX9" fmla="*/ 281558 w 602840"/>
                <a:gd name="connsiteY9" fmla="*/ 311285 h 1087617"/>
                <a:gd name="connsiteX10" fmla="*/ 339924 w 602840"/>
                <a:gd name="connsiteY10" fmla="*/ 291829 h 1087617"/>
                <a:gd name="connsiteX11" fmla="*/ 378834 w 602840"/>
                <a:gd name="connsiteY11" fmla="*/ 233463 h 1087617"/>
                <a:gd name="connsiteX12" fmla="*/ 398290 w 602840"/>
                <a:gd name="connsiteY12" fmla="*/ 214008 h 1087617"/>
                <a:gd name="connsiteX13" fmla="*/ 456656 w 602840"/>
                <a:gd name="connsiteY13" fmla="*/ 194553 h 1087617"/>
                <a:gd name="connsiteX14" fmla="*/ 515021 w 602840"/>
                <a:gd name="connsiteY14" fmla="*/ 184825 h 1087617"/>
                <a:gd name="connsiteX15" fmla="*/ 573387 w 602840"/>
                <a:gd name="connsiteY15" fmla="*/ 165370 h 1087617"/>
                <a:gd name="connsiteX16" fmla="*/ 592843 w 602840"/>
                <a:gd name="connsiteY16" fmla="*/ 145915 h 1087617"/>
                <a:gd name="connsiteX17" fmla="*/ 602570 w 602840"/>
                <a:gd name="connsiteY17" fmla="*/ 0 h 1087617"/>
                <a:gd name="connsiteX0" fmla="*/ 26866 w 602840"/>
                <a:gd name="connsiteY0" fmla="*/ 1087617 h 1087617"/>
                <a:gd name="connsiteX1" fmla="*/ 37751 w 602840"/>
                <a:gd name="connsiteY1" fmla="*/ 933240 h 1087617"/>
                <a:gd name="connsiteX2" fmla="*/ 69611 w 602840"/>
                <a:gd name="connsiteY2" fmla="*/ 768086 h 1087617"/>
                <a:gd name="connsiteX3" fmla="*/ 173215 w 602840"/>
                <a:gd name="connsiteY3" fmla="*/ 731057 h 1087617"/>
                <a:gd name="connsiteX4" fmla="*/ 269082 w 602840"/>
                <a:gd name="connsiteY4" fmla="*/ 694496 h 1087617"/>
                <a:gd name="connsiteX5" fmla="*/ 277435 w 602840"/>
                <a:gd name="connsiteY5" fmla="*/ 538890 h 1087617"/>
                <a:gd name="connsiteX6" fmla="*/ 273819 w 602840"/>
                <a:gd name="connsiteY6" fmla="*/ 406103 h 1087617"/>
                <a:gd name="connsiteX7" fmla="*/ 281558 w 602840"/>
                <a:gd name="connsiteY7" fmla="*/ 359923 h 1087617"/>
                <a:gd name="connsiteX8" fmla="*/ 262102 w 602840"/>
                <a:gd name="connsiteY8" fmla="*/ 340468 h 1087617"/>
                <a:gd name="connsiteX9" fmla="*/ 281558 w 602840"/>
                <a:gd name="connsiteY9" fmla="*/ 311285 h 1087617"/>
                <a:gd name="connsiteX10" fmla="*/ 339924 w 602840"/>
                <a:gd name="connsiteY10" fmla="*/ 291829 h 1087617"/>
                <a:gd name="connsiteX11" fmla="*/ 378834 w 602840"/>
                <a:gd name="connsiteY11" fmla="*/ 233463 h 1087617"/>
                <a:gd name="connsiteX12" fmla="*/ 398290 w 602840"/>
                <a:gd name="connsiteY12" fmla="*/ 214008 h 1087617"/>
                <a:gd name="connsiteX13" fmla="*/ 456656 w 602840"/>
                <a:gd name="connsiteY13" fmla="*/ 194553 h 1087617"/>
                <a:gd name="connsiteX14" fmla="*/ 515021 w 602840"/>
                <a:gd name="connsiteY14" fmla="*/ 184825 h 1087617"/>
                <a:gd name="connsiteX15" fmla="*/ 573387 w 602840"/>
                <a:gd name="connsiteY15" fmla="*/ 165370 h 1087617"/>
                <a:gd name="connsiteX16" fmla="*/ 592843 w 602840"/>
                <a:gd name="connsiteY16" fmla="*/ 145915 h 1087617"/>
                <a:gd name="connsiteX17" fmla="*/ 602570 w 602840"/>
                <a:gd name="connsiteY17" fmla="*/ 0 h 1087617"/>
                <a:gd name="connsiteX0" fmla="*/ 26866 w 602840"/>
                <a:gd name="connsiteY0" fmla="*/ 1087617 h 1087617"/>
                <a:gd name="connsiteX1" fmla="*/ 37751 w 602840"/>
                <a:gd name="connsiteY1" fmla="*/ 933240 h 1087617"/>
                <a:gd name="connsiteX2" fmla="*/ 69611 w 602840"/>
                <a:gd name="connsiteY2" fmla="*/ 768086 h 1087617"/>
                <a:gd name="connsiteX3" fmla="*/ 173215 w 602840"/>
                <a:gd name="connsiteY3" fmla="*/ 731057 h 1087617"/>
                <a:gd name="connsiteX4" fmla="*/ 269082 w 602840"/>
                <a:gd name="connsiteY4" fmla="*/ 670701 h 1087617"/>
                <a:gd name="connsiteX5" fmla="*/ 277435 w 602840"/>
                <a:gd name="connsiteY5" fmla="*/ 538890 h 1087617"/>
                <a:gd name="connsiteX6" fmla="*/ 273819 w 602840"/>
                <a:gd name="connsiteY6" fmla="*/ 406103 h 1087617"/>
                <a:gd name="connsiteX7" fmla="*/ 281558 w 602840"/>
                <a:gd name="connsiteY7" fmla="*/ 359923 h 1087617"/>
                <a:gd name="connsiteX8" fmla="*/ 262102 w 602840"/>
                <a:gd name="connsiteY8" fmla="*/ 340468 h 1087617"/>
                <a:gd name="connsiteX9" fmla="*/ 281558 w 602840"/>
                <a:gd name="connsiteY9" fmla="*/ 311285 h 1087617"/>
                <a:gd name="connsiteX10" fmla="*/ 339924 w 602840"/>
                <a:gd name="connsiteY10" fmla="*/ 291829 h 1087617"/>
                <a:gd name="connsiteX11" fmla="*/ 378834 w 602840"/>
                <a:gd name="connsiteY11" fmla="*/ 233463 h 1087617"/>
                <a:gd name="connsiteX12" fmla="*/ 398290 w 602840"/>
                <a:gd name="connsiteY12" fmla="*/ 214008 h 1087617"/>
                <a:gd name="connsiteX13" fmla="*/ 456656 w 602840"/>
                <a:gd name="connsiteY13" fmla="*/ 194553 h 1087617"/>
                <a:gd name="connsiteX14" fmla="*/ 515021 w 602840"/>
                <a:gd name="connsiteY14" fmla="*/ 184825 h 1087617"/>
                <a:gd name="connsiteX15" fmla="*/ 573387 w 602840"/>
                <a:gd name="connsiteY15" fmla="*/ 165370 h 1087617"/>
                <a:gd name="connsiteX16" fmla="*/ 592843 w 602840"/>
                <a:gd name="connsiteY16" fmla="*/ 145915 h 1087617"/>
                <a:gd name="connsiteX17" fmla="*/ 602570 w 602840"/>
                <a:gd name="connsiteY17" fmla="*/ 0 h 1087617"/>
                <a:gd name="connsiteX0" fmla="*/ 26866 w 602840"/>
                <a:gd name="connsiteY0" fmla="*/ 1087617 h 1087617"/>
                <a:gd name="connsiteX1" fmla="*/ 37751 w 602840"/>
                <a:gd name="connsiteY1" fmla="*/ 933240 h 1087617"/>
                <a:gd name="connsiteX2" fmla="*/ 69611 w 602840"/>
                <a:gd name="connsiteY2" fmla="*/ 768086 h 1087617"/>
                <a:gd name="connsiteX3" fmla="*/ 173215 w 602840"/>
                <a:gd name="connsiteY3" fmla="*/ 731057 h 1087617"/>
                <a:gd name="connsiteX4" fmla="*/ 269082 w 602840"/>
                <a:gd name="connsiteY4" fmla="*/ 670701 h 1087617"/>
                <a:gd name="connsiteX5" fmla="*/ 277435 w 602840"/>
                <a:gd name="connsiteY5" fmla="*/ 538890 h 1087617"/>
                <a:gd name="connsiteX6" fmla="*/ 273819 w 602840"/>
                <a:gd name="connsiteY6" fmla="*/ 406103 h 1087617"/>
                <a:gd name="connsiteX7" fmla="*/ 281558 w 602840"/>
                <a:gd name="connsiteY7" fmla="*/ 359923 h 1087617"/>
                <a:gd name="connsiteX8" fmla="*/ 262102 w 602840"/>
                <a:gd name="connsiteY8" fmla="*/ 340468 h 1087617"/>
                <a:gd name="connsiteX9" fmla="*/ 281558 w 602840"/>
                <a:gd name="connsiteY9" fmla="*/ 311285 h 1087617"/>
                <a:gd name="connsiteX10" fmla="*/ 339924 w 602840"/>
                <a:gd name="connsiteY10" fmla="*/ 291829 h 1087617"/>
                <a:gd name="connsiteX11" fmla="*/ 378834 w 602840"/>
                <a:gd name="connsiteY11" fmla="*/ 233463 h 1087617"/>
                <a:gd name="connsiteX12" fmla="*/ 398290 w 602840"/>
                <a:gd name="connsiteY12" fmla="*/ 214008 h 1087617"/>
                <a:gd name="connsiteX13" fmla="*/ 456656 w 602840"/>
                <a:gd name="connsiteY13" fmla="*/ 194553 h 1087617"/>
                <a:gd name="connsiteX14" fmla="*/ 515021 w 602840"/>
                <a:gd name="connsiteY14" fmla="*/ 184825 h 1087617"/>
                <a:gd name="connsiteX15" fmla="*/ 573387 w 602840"/>
                <a:gd name="connsiteY15" fmla="*/ 165370 h 1087617"/>
                <a:gd name="connsiteX16" fmla="*/ 592843 w 602840"/>
                <a:gd name="connsiteY16" fmla="*/ 145915 h 1087617"/>
                <a:gd name="connsiteX17" fmla="*/ 602570 w 602840"/>
                <a:gd name="connsiteY17" fmla="*/ 0 h 1087617"/>
                <a:gd name="connsiteX0" fmla="*/ 5247 w 581221"/>
                <a:gd name="connsiteY0" fmla="*/ 1087617 h 1087617"/>
                <a:gd name="connsiteX1" fmla="*/ 16132 w 581221"/>
                <a:gd name="connsiteY1" fmla="*/ 933240 h 1087617"/>
                <a:gd name="connsiteX2" fmla="*/ 47992 w 581221"/>
                <a:gd name="connsiteY2" fmla="*/ 768086 h 1087617"/>
                <a:gd name="connsiteX3" fmla="*/ 151596 w 581221"/>
                <a:gd name="connsiteY3" fmla="*/ 731057 h 1087617"/>
                <a:gd name="connsiteX4" fmla="*/ 247463 w 581221"/>
                <a:gd name="connsiteY4" fmla="*/ 670701 h 1087617"/>
                <a:gd name="connsiteX5" fmla="*/ 255816 w 581221"/>
                <a:gd name="connsiteY5" fmla="*/ 538890 h 1087617"/>
                <a:gd name="connsiteX6" fmla="*/ 252200 w 581221"/>
                <a:gd name="connsiteY6" fmla="*/ 406103 h 1087617"/>
                <a:gd name="connsiteX7" fmla="*/ 259939 w 581221"/>
                <a:gd name="connsiteY7" fmla="*/ 359923 h 1087617"/>
                <a:gd name="connsiteX8" fmla="*/ 240483 w 581221"/>
                <a:gd name="connsiteY8" fmla="*/ 340468 h 1087617"/>
                <a:gd name="connsiteX9" fmla="*/ 259939 w 581221"/>
                <a:gd name="connsiteY9" fmla="*/ 311285 h 1087617"/>
                <a:gd name="connsiteX10" fmla="*/ 318305 w 581221"/>
                <a:gd name="connsiteY10" fmla="*/ 291829 h 1087617"/>
                <a:gd name="connsiteX11" fmla="*/ 357215 w 581221"/>
                <a:gd name="connsiteY11" fmla="*/ 233463 h 1087617"/>
                <a:gd name="connsiteX12" fmla="*/ 376671 w 581221"/>
                <a:gd name="connsiteY12" fmla="*/ 214008 h 1087617"/>
                <a:gd name="connsiteX13" fmla="*/ 435037 w 581221"/>
                <a:gd name="connsiteY13" fmla="*/ 194553 h 1087617"/>
                <a:gd name="connsiteX14" fmla="*/ 493402 w 581221"/>
                <a:gd name="connsiteY14" fmla="*/ 184825 h 1087617"/>
                <a:gd name="connsiteX15" fmla="*/ 551768 w 581221"/>
                <a:gd name="connsiteY15" fmla="*/ 165370 h 1087617"/>
                <a:gd name="connsiteX16" fmla="*/ 571224 w 581221"/>
                <a:gd name="connsiteY16" fmla="*/ 145915 h 1087617"/>
                <a:gd name="connsiteX17" fmla="*/ 580951 w 581221"/>
                <a:gd name="connsiteY17" fmla="*/ 0 h 1087617"/>
                <a:gd name="connsiteX0" fmla="*/ 2425 w 602194"/>
                <a:gd name="connsiteY0" fmla="*/ 1097814 h 1097814"/>
                <a:gd name="connsiteX1" fmla="*/ 37105 w 602194"/>
                <a:gd name="connsiteY1" fmla="*/ 933240 h 1097814"/>
                <a:gd name="connsiteX2" fmla="*/ 68965 w 602194"/>
                <a:gd name="connsiteY2" fmla="*/ 768086 h 1097814"/>
                <a:gd name="connsiteX3" fmla="*/ 172569 w 602194"/>
                <a:gd name="connsiteY3" fmla="*/ 731057 h 1097814"/>
                <a:gd name="connsiteX4" fmla="*/ 268436 w 602194"/>
                <a:gd name="connsiteY4" fmla="*/ 670701 h 1097814"/>
                <a:gd name="connsiteX5" fmla="*/ 276789 w 602194"/>
                <a:gd name="connsiteY5" fmla="*/ 538890 h 1097814"/>
                <a:gd name="connsiteX6" fmla="*/ 273173 w 602194"/>
                <a:gd name="connsiteY6" fmla="*/ 406103 h 1097814"/>
                <a:gd name="connsiteX7" fmla="*/ 280912 w 602194"/>
                <a:gd name="connsiteY7" fmla="*/ 359923 h 1097814"/>
                <a:gd name="connsiteX8" fmla="*/ 261456 w 602194"/>
                <a:gd name="connsiteY8" fmla="*/ 340468 h 1097814"/>
                <a:gd name="connsiteX9" fmla="*/ 280912 w 602194"/>
                <a:gd name="connsiteY9" fmla="*/ 311285 h 1097814"/>
                <a:gd name="connsiteX10" fmla="*/ 339278 w 602194"/>
                <a:gd name="connsiteY10" fmla="*/ 291829 h 1097814"/>
                <a:gd name="connsiteX11" fmla="*/ 378188 w 602194"/>
                <a:gd name="connsiteY11" fmla="*/ 233463 h 1097814"/>
                <a:gd name="connsiteX12" fmla="*/ 397644 w 602194"/>
                <a:gd name="connsiteY12" fmla="*/ 214008 h 1097814"/>
                <a:gd name="connsiteX13" fmla="*/ 456010 w 602194"/>
                <a:gd name="connsiteY13" fmla="*/ 194553 h 1097814"/>
                <a:gd name="connsiteX14" fmla="*/ 514375 w 602194"/>
                <a:gd name="connsiteY14" fmla="*/ 184825 h 1097814"/>
                <a:gd name="connsiteX15" fmla="*/ 572741 w 602194"/>
                <a:gd name="connsiteY15" fmla="*/ 165370 h 1097814"/>
                <a:gd name="connsiteX16" fmla="*/ 592197 w 602194"/>
                <a:gd name="connsiteY16" fmla="*/ 145915 h 1097814"/>
                <a:gd name="connsiteX17" fmla="*/ 601924 w 602194"/>
                <a:gd name="connsiteY17" fmla="*/ 0 h 1097814"/>
                <a:gd name="connsiteX0" fmla="*/ 6028 w 605797"/>
                <a:gd name="connsiteY0" fmla="*/ 1097814 h 1097814"/>
                <a:gd name="connsiteX1" fmla="*/ 40708 w 605797"/>
                <a:gd name="connsiteY1" fmla="*/ 933240 h 1097814"/>
                <a:gd name="connsiteX2" fmla="*/ 72568 w 605797"/>
                <a:gd name="connsiteY2" fmla="*/ 768086 h 1097814"/>
                <a:gd name="connsiteX3" fmla="*/ 176172 w 605797"/>
                <a:gd name="connsiteY3" fmla="*/ 731057 h 1097814"/>
                <a:gd name="connsiteX4" fmla="*/ 272039 w 605797"/>
                <a:gd name="connsiteY4" fmla="*/ 670701 h 1097814"/>
                <a:gd name="connsiteX5" fmla="*/ 280392 w 605797"/>
                <a:gd name="connsiteY5" fmla="*/ 538890 h 1097814"/>
                <a:gd name="connsiteX6" fmla="*/ 276776 w 605797"/>
                <a:gd name="connsiteY6" fmla="*/ 406103 h 1097814"/>
                <a:gd name="connsiteX7" fmla="*/ 284515 w 605797"/>
                <a:gd name="connsiteY7" fmla="*/ 359923 h 1097814"/>
                <a:gd name="connsiteX8" fmla="*/ 265059 w 605797"/>
                <a:gd name="connsiteY8" fmla="*/ 340468 h 1097814"/>
                <a:gd name="connsiteX9" fmla="*/ 284515 w 605797"/>
                <a:gd name="connsiteY9" fmla="*/ 311285 h 1097814"/>
                <a:gd name="connsiteX10" fmla="*/ 342881 w 605797"/>
                <a:gd name="connsiteY10" fmla="*/ 291829 h 1097814"/>
                <a:gd name="connsiteX11" fmla="*/ 381791 w 605797"/>
                <a:gd name="connsiteY11" fmla="*/ 233463 h 1097814"/>
                <a:gd name="connsiteX12" fmla="*/ 401247 w 605797"/>
                <a:gd name="connsiteY12" fmla="*/ 214008 h 1097814"/>
                <a:gd name="connsiteX13" fmla="*/ 459613 w 605797"/>
                <a:gd name="connsiteY13" fmla="*/ 194553 h 1097814"/>
                <a:gd name="connsiteX14" fmla="*/ 517978 w 605797"/>
                <a:gd name="connsiteY14" fmla="*/ 184825 h 1097814"/>
                <a:gd name="connsiteX15" fmla="*/ 576344 w 605797"/>
                <a:gd name="connsiteY15" fmla="*/ 165370 h 1097814"/>
                <a:gd name="connsiteX16" fmla="*/ 595800 w 605797"/>
                <a:gd name="connsiteY16" fmla="*/ 145915 h 1097814"/>
                <a:gd name="connsiteX17" fmla="*/ 605527 w 605797"/>
                <a:gd name="connsiteY17" fmla="*/ 0 h 1097814"/>
                <a:gd name="connsiteX0" fmla="*/ 6028 w 605797"/>
                <a:gd name="connsiteY0" fmla="*/ 1097814 h 1097814"/>
                <a:gd name="connsiteX1" fmla="*/ 40708 w 605797"/>
                <a:gd name="connsiteY1" fmla="*/ 933240 h 1097814"/>
                <a:gd name="connsiteX2" fmla="*/ 72568 w 605797"/>
                <a:gd name="connsiteY2" fmla="*/ 768086 h 1097814"/>
                <a:gd name="connsiteX3" fmla="*/ 176172 w 605797"/>
                <a:gd name="connsiteY3" fmla="*/ 731057 h 1097814"/>
                <a:gd name="connsiteX4" fmla="*/ 272039 w 605797"/>
                <a:gd name="connsiteY4" fmla="*/ 670701 h 1097814"/>
                <a:gd name="connsiteX5" fmla="*/ 280392 w 605797"/>
                <a:gd name="connsiteY5" fmla="*/ 538890 h 1097814"/>
                <a:gd name="connsiteX6" fmla="*/ 276776 w 605797"/>
                <a:gd name="connsiteY6" fmla="*/ 406103 h 1097814"/>
                <a:gd name="connsiteX7" fmla="*/ 284515 w 605797"/>
                <a:gd name="connsiteY7" fmla="*/ 359923 h 1097814"/>
                <a:gd name="connsiteX8" fmla="*/ 265059 w 605797"/>
                <a:gd name="connsiteY8" fmla="*/ 340468 h 1097814"/>
                <a:gd name="connsiteX9" fmla="*/ 284515 w 605797"/>
                <a:gd name="connsiteY9" fmla="*/ 311285 h 1097814"/>
                <a:gd name="connsiteX10" fmla="*/ 342881 w 605797"/>
                <a:gd name="connsiteY10" fmla="*/ 291829 h 1097814"/>
                <a:gd name="connsiteX11" fmla="*/ 381791 w 605797"/>
                <a:gd name="connsiteY11" fmla="*/ 233463 h 1097814"/>
                <a:gd name="connsiteX12" fmla="*/ 401247 w 605797"/>
                <a:gd name="connsiteY12" fmla="*/ 214008 h 1097814"/>
                <a:gd name="connsiteX13" fmla="*/ 459613 w 605797"/>
                <a:gd name="connsiteY13" fmla="*/ 194553 h 1097814"/>
                <a:gd name="connsiteX14" fmla="*/ 517978 w 605797"/>
                <a:gd name="connsiteY14" fmla="*/ 184825 h 1097814"/>
                <a:gd name="connsiteX15" fmla="*/ 576344 w 605797"/>
                <a:gd name="connsiteY15" fmla="*/ 165370 h 1097814"/>
                <a:gd name="connsiteX16" fmla="*/ 595800 w 605797"/>
                <a:gd name="connsiteY16" fmla="*/ 145915 h 1097814"/>
                <a:gd name="connsiteX17" fmla="*/ 605527 w 605797"/>
                <a:gd name="connsiteY17" fmla="*/ 0 h 1097814"/>
                <a:gd name="connsiteX0" fmla="*/ 6028 w 605797"/>
                <a:gd name="connsiteY0" fmla="*/ 1097814 h 1097814"/>
                <a:gd name="connsiteX1" fmla="*/ 40708 w 605797"/>
                <a:gd name="connsiteY1" fmla="*/ 933240 h 1097814"/>
                <a:gd name="connsiteX2" fmla="*/ 72568 w 605797"/>
                <a:gd name="connsiteY2" fmla="*/ 768086 h 1097814"/>
                <a:gd name="connsiteX3" fmla="*/ 179572 w 605797"/>
                <a:gd name="connsiteY3" fmla="*/ 720860 h 1097814"/>
                <a:gd name="connsiteX4" fmla="*/ 272039 w 605797"/>
                <a:gd name="connsiteY4" fmla="*/ 670701 h 1097814"/>
                <a:gd name="connsiteX5" fmla="*/ 280392 w 605797"/>
                <a:gd name="connsiteY5" fmla="*/ 538890 h 1097814"/>
                <a:gd name="connsiteX6" fmla="*/ 276776 w 605797"/>
                <a:gd name="connsiteY6" fmla="*/ 406103 h 1097814"/>
                <a:gd name="connsiteX7" fmla="*/ 284515 w 605797"/>
                <a:gd name="connsiteY7" fmla="*/ 359923 h 1097814"/>
                <a:gd name="connsiteX8" fmla="*/ 265059 w 605797"/>
                <a:gd name="connsiteY8" fmla="*/ 340468 h 1097814"/>
                <a:gd name="connsiteX9" fmla="*/ 284515 w 605797"/>
                <a:gd name="connsiteY9" fmla="*/ 311285 h 1097814"/>
                <a:gd name="connsiteX10" fmla="*/ 342881 w 605797"/>
                <a:gd name="connsiteY10" fmla="*/ 291829 h 1097814"/>
                <a:gd name="connsiteX11" fmla="*/ 381791 w 605797"/>
                <a:gd name="connsiteY11" fmla="*/ 233463 h 1097814"/>
                <a:gd name="connsiteX12" fmla="*/ 401247 w 605797"/>
                <a:gd name="connsiteY12" fmla="*/ 214008 h 1097814"/>
                <a:gd name="connsiteX13" fmla="*/ 459613 w 605797"/>
                <a:gd name="connsiteY13" fmla="*/ 194553 h 1097814"/>
                <a:gd name="connsiteX14" fmla="*/ 517978 w 605797"/>
                <a:gd name="connsiteY14" fmla="*/ 184825 h 1097814"/>
                <a:gd name="connsiteX15" fmla="*/ 576344 w 605797"/>
                <a:gd name="connsiteY15" fmla="*/ 165370 h 1097814"/>
                <a:gd name="connsiteX16" fmla="*/ 595800 w 605797"/>
                <a:gd name="connsiteY16" fmla="*/ 145915 h 1097814"/>
                <a:gd name="connsiteX17" fmla="*/ 605527 w 605797"/>
                <a:gd name="connsiteY17" fmla="*/ 0 h 1097814"/>
                <a:gd name="connsiteX0" fmla="*/ 6028 w 605797"/>
                <a:gd name="connsiteY0" fmla="*/ 1097814 h 1097814"/>
                <a:gd name="connsiteX1" fmla="*/ 40708 w 605797"/>
                <a:gd name="connsiteY1" fmla="*/ 933240 h 1097814"/>
                <a:gd name="connsiteX2" fmla="*/ 72568 w 605797"/>
                <a:gd name="connsiteY2" fmla="*/ 768086 h 1097814"/>
                <a:gd name="connsiteX3" fmla="*/ 179572 w 605797"/>
                <a:gd name="connsiteY3" fmla="*/ 720860 h 1097814"/>
                <a:gd name="connsiteX4" fmla="*/ 272039 w 605797"/>
                <a:gd name="connsiteY4" fmla="*/ 670701 h 1097814"/>
                <a:gd name="connsiteX5" fmla="*/ 280392 w 605797"/>
                <a:gd name="connsiteY5" fmla="*/ 538890 h 1097814"/>
                <a:gd name="connsiteX6" fmla="*/ 276776 w 605797"/>
                <a:gd name="connsiteY6" fmla="*/ 406103 h 1097814"/>
                <a:gd name="connsiteX7" fmla="*/ 253921 w 605797"/>
                <a:gd name="connsiteY7" fmla="*/ 356524 h 1097814"/>
                <a:gd name="connsiteX8" fmla="*/ 265059 w 605797"/>
                <a:gd name="connsiteY8" fmla="*/ 340468 h 1097814"/>
                <a:gd name="connsiteX9" fmla="*/ 284515 w 605797"/>
                <a:gd name="connsiteY9" fmla="*/ 311285 h 1097814"/>
                <a:gd name="connsiteX10" fmla="*/ 342881 w 605797"/>
                <a:gd name="connsiteY10" fmla="*/ 291829 h 1097814"/>
                <a:gd name="connsiteX11" fmla="*/ 381791 w 605797"/>
                <a:gd name="connsiteY11" fmla="*/ 233463 h 1097814"/>
                <a:gd name="connsiteX12" fmla="*/ 401247 w 605797"/>
                <a:gd name="connsiteY12" fmla="*/ 214008 h 1097814"/>
                <a:gd name="connsiteX13" fmla="*/ 459613 w 605797"/>
                <a:gd name="connsiteY13" fmla="*/ 194553 h 1097814"/>
                <a:gd name="connsiteX14" fmla="*/ 517978 w 605797"/>
                <a:gd name="connsiteY14" fmla="*/ 184825 h 1097814"/>
                <a:gd name="connsiteX15" fmla="*/ 576344 w 605797"/>
                <a:gd name="connsiteY15" fmla="*/ 165370 h 1097814"/>
                <a:gd name="connsiteX16" fmla="*/ 595800 w 605797"/>
                <a:gd name="connsiteY16" fmla="*/ 145915 h 1097814"/>
                <a:gd name="connsiteX17" fmla="*/ 605527 w 605797"/>
                <a:gd name="connsiteY17" fmla="*/ 0 h 1097814"/>
                <a:gd name="connsiteX0" fmla="*/ 6028 w 605797"/>
                <a:gd name="connsiteY0" fmla="*/ 1097814 h 1097814"/>
                <a:gd name="connsiteX1" fmla="*/ 40708 w 605797"/>
                <a:gd name="connsiteY1" fmla="*/ 933240 h 1097814"/>
                <a:gd name="connsiteX2" fmla="*/ 72568 w 605797"/>
                <a:gd name="connsiteY2" fmla="*/ 768086 h 1097814"/>
                <a:gd name="connsiteX3" fmla="*/ 179572 w 605797"/>
                <a:gd name="connsiteY3" fmla="*/ 720860 h 1097814"/>
                <a:gd name="connsiteX4" fmla="*/ 272039 w 605797"/>
                <a:gd name="connsiteY4" fmla="*/ 670701 h 1097814"/>
                <a:gd name="connsiteX5" fmla="*/ 280392 w 605797"/>
                <a:gd name="connsiteY5" fmla="*/ 538890 h 1097814"/>
                <a:gd name="connsiteX6" fmla="*/ 276776 w 605797"/>
                <a:gd name="connsiteY6" fmla="*/ 406103 h 1097814"/>
                <a:gd name="connsiteX7" fmla="*/ 265059 w 605797"/>
                <a:gd name="connsiteY7" fmla="*/ 340468 h 1097814"/>
                <a:gd name="connsiteX8" fmla="*/ 284515 w 605797"/>
                <a:gd name="connsiteY8" fmla="*/ 311285 h 1097814"/>
                <a:gd name="connsiteX9" fmla="*/ 342881 w 605797"/>
                <a:gd name="connsiteY9" fmla="*/ 291829 h 1097814"/>
                <a:gd name="connsiteX10" fmla="*/ 381791 w 605797"/>
                <a:gd name="connsiteY10" fmla="*/ 233463 h 1097814"/>
                <a:gd name="connsiteX11" fmla="*/ 401247 w 605797"/>
                <a:gd name="connsiteY11" fmla="*/ 214008 h 1097814"/>
                <a:gd name="connsiteX12" fmla="*/ 459613 w 605797"/>
                <a:gd name="connsiteY12" fmla="*/ 194553 h 1097814"/>
                <a:gd name="connsiteX13" fmla="*/ 517978 w 605797"/>
                <a:gd name="connsiteY13" fmla="*/ 184825 h 1097814"/>
                <a:gd name="connsiteX14" fmla="*/ 576344 w 605797"/>
                <a:gd name="connsiteY14" fmla="*/ 165370 h 1097814"/>
                <a:gd name="connsiteX15" fmla="*/ 595800 w 605797"/>
                <a:gd name="connsiteY15" fmla="*/ 145915 h 1097814"/>
                <a:gd name="connsiteX16" fmla="*/ 605527 w 605797"/>
                <a:gd name="connsiteY16" fmla="*/ 0 h 1097814"/>
                <a:gd name="connsiteX0" fmla="*/ 6028 w 605797"/>
                <a:gd name="connsiteY0" fmla="*/ 1097814 h 1097814"/>
                <a:gd name="connsiteX1" fmla="*/ 40708 w 605797"/>
                <a:gd name="connsiteY1" fmla="*/ 933240 h 1097814"/>
                <a:gd name="connsiteX2" fmla="*/ 72568 w 605797"/>
                <a:gd name="connsiteY2" fmla="*/ 768086 h 1097814"/>
                <a:gd name="connsiteX3" fmla="*/ 179572 w 605797"/>
                <a:gd name="connsiteY3" fmla="*/ 720860 h 1097814"/>
                <a:gd name="connsiteX4" fmla="*/ 272039 w 605797"/>
                <a:gd name="connsiteY4" fmla="*/ 670701 h 1097814"/>
                <a:gd name="connsiteX5" fmla="*/ 280392 w 605797"/>
                <a:gd name="connsiteY5" fmla="*/ 538890 h 1097814"/>
                <a:gd name="connsiteX6" fmla="*/ 276776 w 605797"/>
                <a:gd name="connsiteY6" fmla="*/ 406103 h 1097814"/>
                <a:gd name="connsiteX7" fmla="*/ 248063 w 605797"/>
                <a:gd name="connsiteY7" fmla="*/ 333670 h 1097814"/>
                <a:gd name="connsiteX8" fmla="*/ 284515 w 605797"/>
                <a:gd name="connsiteY8" fmla="*/ 311285 h 1097814"/>
                <a:gd name="connsiteX9" fmla="*/ 342881 w 605797"/>
                <a:gd name="connsiteY9" fmla="*/ 291829 h 1097814"/>
                <a:gd name="connsiteX10" fmla="*/ 381791 w 605797"/>
                <a:gd name="connsiteY10" fmla="*/ 233463 h 1097814"/>
                <a:gd name="connsiteX11" fmla="*/ 401247 w 605797"/>
                <a:gd name="connsiteY11" fmla="*/ 214008 h 1097814"/>
                <a:gd name="connsiteX12" fmla="*/ 459613 w 605797"/>
                <a:gd name="connsiteY12" fmla="*/ 194553 h 1097814"/>
                <a:gd name="connsiteX13" fmla="*/ 517978 w 605797"/>
                <a:gd name="connsiteY13" fmla="*/ 184825 h 1097814"/>
                <a:gd name="connsiteX14" fmla="*/ 576344 w 605797"/>
                <a:gd name="connsiteY14" fmla="*/ 165370 h 1097814"/>
                <a:gd name="connsiteX15" fmla="*/ 595800 w 605797"/>
                <a:gd name="connsiteY15" fmla="*/ 145915 h 1097814"/>
                <a:gd name="connsiteX16" fmla="*/ 605527 w 605797"/>
                <a:gd name="connsiteY16" fmla="*/ 0 h 1097814"/>
                <a:gd name="connsiteX0" fmla="*/ 6028 w 605797"/>
                <a:gd name="connsiteY0" fmla="*/ 1097814 h 1097814"/>
                <a:gd name="connsiteX1" fmla="*/ 40708 w 605797"/>
                <a:gd name="connsiteY1" fmla="*/ 933240 h 1097814"/>
                <a:gd name="connsiteX2" fmla="*/ 72568 w 605797"/>
                <a:gd name="connsiteY2" fmla="*/ 768086 h 1097814"/>
                <a:gd name="connsiteX3" fmla="*/ 179572 w 605797"/>
                <a:gd name="connsiteY3" fmla="*/ 720860 h 1097814"/>
                <a:gd name="connsiteX4" fmla="*/ 272039 w 605797"/>
                <a:gd name="connsiteY4" fmla="*/ 670701 h 1097814"/>
                <a:gd name="connsiteX5" fmla="*/ 280392 w 605797"/>
                <a:gd name="connsiteY5" fmla="*/ 538890 h 1097814"/>
                <a:gd name="connsiteX6" fmla="*/ 276776 w 605797"/>
                <a:gd name="connsiteY6" fmla="*/ 406103 h 1097814"/>
                <a:gd name="connsiteX7" fmla="*/ 248063 w 605797"/>
                <a:gd name="connsiteY7" fmla="*/ 333670 h 1097814"/>
                <a:gd name="connsiteX8" fmla="*/ 284515 w 605797"/>
                <a:gd name="connsiteY8" fmla="*/ 311285 h 1097814"/>
                <a:gd name="connsiteX9" fmla="*/ 342881 w 605797"/>
                <a:gd name="connsiteY9" fmla="*/ 291829 h 1097814"/>
                <a:gd name="connsiteX10" fmla="*/ 381791 w 605797"/>
                <a:gd name="connsiteY10" fmla="*/ 233463 h 1097814"/>
                <a:gd name="connsiteX11" fmla="*/ 401247 w 605797"/>
                <a:gd name="connsiteY11" fmla="*/ 214008 h 1097814"/>
                <a:gd name="connsiteX12" fmla="*/ 459613 w 605797"/>
                <a:gd name="connsiteY12" fmla="*/ 194553 h 1097814"/>
                <a:gd name="connsiteX13" fmla="*/ 517978 w 605797"/>
                <a:gd name="connsiteY13" fmla="*/ 184825 h 1097814"/>
                <a:gd name="connsiteX14" fmla="*/ 576344 w 605797"/>
                <a:gd name="connsiteY14" fmla="*/ 165370 h 1097814"/>
                <a:gd name="connsiteX15" fmla="*/ 595800 w 605797"/>
                <a:gd name="connsiteY15" fmla="*/ 145915 h 1097814"/>
                <a:gd name="connsiteX16" fmla="*/ 605527 w 605797"/>
                <a:gd name="connsiteY16" fmla="*/ 0 h 1097814"/>
                <a:gd name="connsiteX0" fmla="*/ 6028 w 605797"/>
                <a:gd name="connsiteY0" fmla="*/ 1097814 h 1097814"/>
                <a:gd name="connsiteX1" fmla="*/ 40708 w 605797"/>
                <a:gd name="connsiteY1" fmla="*/ 933240 h 1097814"/>
                <a:gd name="connsiteX2" fmla="*/ 72568 w 605797"/>
                <a:gd name="connsiteY2" fmla="*/ 768086 h 1097814"/>
                <a:gd name="connsiteX3" fmla="*/ 179572 w 605797"/>
                <a:gd name="connsiteY3" fmla="*/ 720860 h 1097814"/>
                <a:gd name="connsiteX4" fmla="*/ 272039 w 605797"/>
                <a:gd name="connsiteY4" fmla="*/ 670701 h 1097814"/>
                <a:gd name="connsiteX5" fmla="*/ 280392 w 605797"/>
                <a:gd name="connsiteY5" fmla="*/ 538890 h 1097814"/>
                <a:gd name="connsiteX6" fmla="*/ 259779 w 605797"/>
                <a:gd name="connsiteY6" fmla="*/ 406103 h 1097814"/>
                <a:gd name="connsiteX7" fmla="*/ 248063 w 605797"/>
                <a:gd name="connsiteY7" fmla="*/ 333670 h 1097814"/>
                <a:gd name="connsiteX8" fmla="*/ 284515 w 605797"/>
                <a:gd name="connsiteY8" fmla="*/ 311285 h 1097814"/>
                <a:gd name="connsiteX9" fmla="*/ 342881 w 605797"/>
                <a:gd name="connsiteY9" fmla="*/ 291829 h 1097814"/>
                <a:gd name="connsiteX10" fmla="*/ 381791 w 605797"/>
                <a:gd name="connsiteY10" fmla="*/ 233463 h 1097814"/>
                <a:gd name="connsiteX11" fmla="*/ 401247 w 605797"/>
                <a:gd name="connsiteY11" fmla="*/ 214008 h 1097814"/>
                <a:gd name="connsiteX12" fmla="*/ 459613 w 605797"/>
                <a:gd name="connsiteY12" fmla="*/ 194553 h 1097814"/>
                <a:gd name="connsiteX13" fmla="*/ 517978 w 605797"/>
                <a:gd name="connsiteY13" fmla="*/ 184825 h 1097814"/>
                <a:gd name="connsiteX14" fmla="*/ 576344 w 605797"/>
                <a:gd name="connsiteY14" fmla="*/ 165370 h 1097814"/>
                <a:gd name="connsiteX15" fmla="*/ 595800 w 605797"/>
                <a:gd name="connsiteY15" fmla="*/ 145915 h 1097814"/>
                <a:gd name="connsiteX16" fmla="*/ 605527 w 605797"/>
                <a:gd name="connsiteY16" fmla="*/ 0 h 1097814"/>
                <a:gd name="connsiteX0" fmla="*/ 6028 w 605797"/>
                <a:gd name="connsiteY0" fmla="*/ 1097814 h 1097814"/>
                <a:gd name="connsiteX1" fmla="*/ 40708 w 605797"/>
                <a:gd name="connsiteY1" fmla="*/ 933240 h 1097814"/>
                <a:gd name="connsiteX2" fmla="*/ 72568 w 605797"/>
                <a:gd name="connsiteY2" fmla="*/ 768086 h 1097814"/>
                <a:gd name="connsiteX3" fmla="*/ 179572 w 605797"/>
                <a:gd name="connsiteY3" fmla="*/ 720860 h 1097814"/>
                <a:gd name="connsiteX4" fmla="*/ 272039 w 605797"/>
                <a:gd name="connsiteY4" fmla="*/ 670701 h 1097814"/>
                <a:gd name="connsiteX5" fmla="*/ 280392 w 605797"/>
                <a:gd name="connsiteY5" fmla="*/ 538890 h 1097814"/>
                <a:gd name="connsiteX6" fmla="*/ 259779 w 605797"/>
                <a:gd name="connsiteY6" fmla="*/ 406103 h 1097814"/>
                <a:gd name="connsiteX7" fmla="*/ 248063 w 605797"/>
                <a:gd name="connsiteY7" fmla="*/ 333670 h 1097814"/>
                <a:gd name="connsiteX8" fmla="*/ 284515 w 605797"/>
                <a:gd name="connsiteY8" fmla="*/ 311285 h 1097814"/>
                <a:gd name="connsiteX9" fmla="*/ 339482 w 605797"/>
                <a:gd name="connsiteY9" fmla="*/ 278231 h 1097814"/>
                <a:gd name="connsiteX10" fmla="*/ 381791 w 605797"/>
                <a:gd name="connsiteY10" fmla="*/ 233463 h 1097814"/>
                <a:gd name="connsiteX11" fmla="*/ 401247 w 605797"/>
                <a:gd name="connsiteY11" fmla="*/ 214008 h 1097814"/>
                <a:gd name="connsiteX12" fmla="*/ 459613 w 605797"/>
                <a:gd name="connsiteY12" fmla="*/ 194553 h 1097814"/>
                <a:gd name="connsiteX13" fmla="*/ 517978 w 605797"/>
                <a:gd name="connsiteY13" fmla="*/ 184825 h 1097814"/>
                <a:gd name="connsiteX14" fmla="*/ 576344 w 605797"/>
                <a:gd name="connsiteY14" fmla="*/ 165370 h 1097814"/>
                <a:gd name="connsiteX15" fmla="*/ 595800 w 605797"/>
                <a:gd name="connsiteY15" fmla="*/ 145915 h 1097814"/>
                <a:gd name="connsiteX16" fmla="*/ 605527 w 605797"/>
                <a:gd name="connsiteY16" fmla="*/ 0 h 1097814"/>
                <a:gd name="connsiteX0" fmla="*/ 6028 w 605797"/>
                <a:gd name="connsiteY0" fmla="*/ 1097814 h 1097814"/>
                <a:gd name="connsiteX1" fmla="*/ 40708 w 605797"/>
                <a:gd name="connsiteY1" fmla="*/ 933240 h 1097814"/>
                <a:gd name="connsiteX2" fmla="*/ 72568 w 605797"/>
                <a:gd name="connsiteY2" fmla="*/ 768086 h 1097814"/>
                <a:gd name="connsiteX3" fmla="*/ 179572 w 605797"/>
                <a:gd name="connsiteY3" fmla="*/ 720860 h 1097814"/>
                <a:gd name="connsiteX4" fmla="*/ 272039 w 605797"/>
                <a:gd name="connsiteY4" fmla="*/ 670701 h 1097814"/>
                <a:gd name="connsiteX5" fmla="*/ 280392 w 605797"/>
                <a:gd name="connsiteY5" fmla="*/ 538890 h 1097814"/>
                <a:gd name="connsiteX6" fmla="*/ 259779 w 605797"/>
                <a:gd name="connsiteY6" fmla="*/ 406103 h 1097814"/>
                <a:gd name="connsiteX7" fmla="*/ 248063 w 605797"/>
                <a:gd name="connsiteY7" fmla="*/ 333670 h 1097814"/>
                <a:gd name="connsiteX8" fmla="*/ 284515 w 605797"/>
                <a:gd name="connsiteY8" fmla="*/ 311285 h 1097814"/>
                <a:gd name="connsiteX9" fmla="*/ 339482 w 605797"/>
                <a:gd name="connsiteY9" fmla="*/ 278231 h 1097814"/>
                <a:gd name="connsiteX10" fmla="*/ 381791 w 605797"/>
                <a:gd name="connsiteY10" fmla="*/ 233463 h 1097814"/>
                <a:gd name="connsiteX11" fmla="*/ 459613 w 605797"/>
                <a:gd name="connsiteY11" fmla="*/ 194553 h 1097814"/>
                <a:gd name="connsiteX12" fmla="*/ 517978 w 605797"/>
                <a:gd name="connsiteY12" fmla="*/ 184825 h 1097814"/>
                <a:gd name="connsiteX13" fmla="*/ 576344 w 605797"/>
                <a:gd name="connsiteY13" fmla="*/ 165370 h 1097814"/>
                <a:gd name="connsiteX14" fmla="*/ 595800 w 605797"/>
                <a:gd name="connsiteY14" fmla="*/ 145915 h 1097814"/>
                <a:gd name="connsiteX15" fmla="*/ 605527 w 605797"/>
                <a:gd name="connsiteY15" fmla="*/ 0 h 1097814"/>
                <a:gd name="connsiteX0" fmla="*/ 6028 w 605797"/>
                <a:gd name="connsiteY0" fmla="*/ 1097814 h 1097814"/>
                <a:gd name="connsiteX1" fmla="*/ 40708 w 605797"/>
                <a:gd name="connsiteY1" fmla="*/ 933240 h 1097814"/>
                <a:gd name="connsiteX2" fmla="*/ 72568 w 605797"/>
                <a:gd name="connsiteY2" fmla="*/ 768086 h 1097814"/>
                <a:gd name="connsiteX3" fmla="*/ 179572 w 605797"/>
                <a:gd name="connsiteY3" fmla="*/ 720860 h 1097814"/>
                <a:gd name="connsiteX4" fmla="*/ 272039 w 605797"/>
                <a:gd name="connsiteY4" fmla="*/ 670701 h 1097814"/>
                <a:gd name="connsiteX5" fmla="*/ 280392 w 605797"/>
                <a:gd name="connsiteY5" fmla="*/ 538890 h 1097814"/>
                <a:gd name="connsiteX6" fmla="*/ 259779 w 605797"/>
                <a:gd name="connsiteY6" fmla="*/ 406103 h 1097814"/>
                <a:gd name="connsiteX7" fmla="*/ 248063 w 605797"/>
                <a:gd name="connsiteY7" fmla="*/ 333670 h 1097814"/>
                <a:gd name="connsiteX8" fmla="*/ 284515 w 605797"/>
                <a:gd name="connsiteY8" fmla="*/ 311285 h 1097814"/>
                <a:gd name="connsiteX9" fmla="*/ 339482 w 605797"/>
                <a:gd name="connsiteY9" fmla="*/ 278231 h 1097814"/>
                <a:gd name="connsiteX10" fmla="*/ 398788 w 605797"/>
                <a:gd name="connsiteY10" fmla="*/ 209668 h 1097814"/>
                <a:gd name="connsiteX11" fmla="*/ 459613 w 605797"/>
                <a:gd name="connsiteY11" fmla="*/ 194553 h 1097814"/>
                <a:gd name="connsiteX12" fmla="*/ 517978 w 605797"/>
                <a:gd name="connsiteY12" fmla="*/ 184825 h 1097814"/>
                <a:gd name="connsiteX13" fmla="*/ 576344 w 605797"/>
                <a:gd name="connsiteY13" fmla="*/ 165370 h 1097814"/>
                <a:gd name="connsiteX14" fmla="*/ 595800 w 605797"/>
                <a:gd name="connsiteY14" fmla="*/ 145915 h 1097814"/>
                <a:gd name="connsiteX15" fmla="*/ 605527 w 605797"/>
                <a:gd name="connsiteY15" fmla="*/ 0 h 1097814"/>
                <a:gd name="connsiteX0" fmla="*/ 6028 w 605527"/>
                <a:gd name="connsiteY0" fmla="*/ 1097814 h 1097814"/>
                <a:gd name="connsiteX1" fmla="*/ 40708 w 605527"/>
                <a:gd name="connsiteY1" fmla="*/ 933240 h 1097814"/>
                <a:gd name="connsiteX2" fmla="*/ 72568 w 605527"/>
                <a:gd name="connsiteY2" fmla="*/ 768086 h 1097814"/>
                <a:gd name="connsiteX3" fmla="*/ 179572 w 605527"/>
                <a:gd name="connsiteY3" fmla="*/ 720860 h 1097814"/>
                <a:gd name="connsiteX4" fmla="*/ 272039 w 605527"/>
                <a:gd name="connsiteY4" fmla="*/ 670701 h 1097814"/>
                <a:gd name="connsiteX5" fmla="*/ 280392 w 605527"/>
                <a:gd name="connsiteY5" fmla="*/ 538890 h 1097814"/>
                <a:gd name="connsiteX6" fmla="*/ 259779 w 605527"/>
                <a:gd name="connsiteY6" fmla="*/ 406103 h 1097814"/>
                <a:gd name="connsiteX7" fmla="*/ 248063 w 605527"/>
                <a:gd name="connsiteY7" fmla="*/ 333670 h 1097814"/>
                <a:gd name="connsiteX8" fmla="*/ 284515 w 605527"/>
                <a:gd name="connsiteY8" fmla="*/ 311285 h 1097814"/>
                <a:gd name="connsiteX9" fmla="*/ 339482 w 605527"/>
                <a:gd name="connsiteY9" fmla="*/ 278231 h 1097814"/>
                <a:gd name="connsiteX10" fmla="*/ 398788 w 605527"/>
                <a:gd name="connsiteY10" fmla="*/ 209668 h 1097814"/>
                <a:gd name="connsiteX11" fmla="*/ 459613 w 605527"/>
                <a:gd name="connsiteY11" fmla="*/ 194553 h 1097814"/>
                <a:gd name="connsiteX12" fmla="*/ 517978 w 605527"/>
                <a:gd name="connsiteY12" fmla="*/ 184825 h 1097814"/>
                <a:gd name="connsiteX13" fmla="*/ 572944 w 605527"/>
                <a:gd name="connsiteY13" fmla="*/ 185766 h 1097814"/>
                <a:gd name="connsiteX14" fmla="*/ 595800 w 605527"/>
                <a:gd name="connsiteY14" fmla="*/ 145915 h 1097814"/>
                <a:gd name="connsiteX15" fmla="*/ 605527 w 605527"/>
                <a:gd name="connsiteY15" fmla="*/ 0 h 1097814"/>
                <a:gd name="connsiteX0" fmla="*/ 6028 w 605527"/>
                <a:gd name="connsiteY0" fmla="*/ 1097814 h 1097814"/>
                <a:gd name="connsiteX1" fmla="*/ 40708 w 605527"/>
                <a:gd name="connsiteY1" fmla="*/ 933240 h 1097814"/>
                <a:gd name="connsiteX2" fmla="*/ 72568 w 605527"/>
                <a:gd name="connsiteY2" fmla="*/ 768086 h 1097814"/>
                <a:gd name="connsiteX3" fmla="*/ 179572 w 605527"/>
                <a:gd name="connsiteY3" fmla="*/ 720860 h 1097814"/>
                <a:gd name="connsiteX4" fmla="*/ 272039 w 605527"/>
                <a:gd name="connsiteY4" fmla="*/ 670701 h 1097814"/>
                <a:gd name="connsiteX5" fmla="*/ 280392 w 605527"/>
                <a:gd name="connsiteY5" fmla="*/ 538890 h 1097814"/>
                <a:gd name="connsiteX6" fmla="*/ 259779 w 605527"/>
                <a:gd name="connsiteY6" fmla="*/ 406103 h 1097814"/>
                <a:gd name="connsiteX7" fmla="*/ 248063 w 605527"/>
                <a:gd name="connsiteY7" fmla="*/ 333670 h 1097814"/>
                <a:gd name="connsiteX8" fmla="*/ 284515 w 605527"/>
                <a:gd name="connsiteY8" fmla="*/ 311285 h 1097814"/>
                <a:gd name="connsiteX9" fmla="*/ 339482 w 605527"/>
                <a:gd name="connsiteY9" fmla="*/ 278231 h 1097814"/>
                <a:gd name="connsiteX10" fmla="*/ 398788 w 605527"/>
                <a:gd name="connsiteY10" fmla="*/ 209668 h 1097814"/>
                <a:gd name="connsiteX11" fmla="*/ 459613 w 605527"/>
                <a:gd name="connsiteY11" fmla="*/ 194553 h 1097814"/>
                <a:gd name="connsiteX12" fmla="*/ 517978 w 605527"/>
                <a:gd name="connsiteY12" fmla="*/ 184825 h 1097814"/>
                <a:gd name="connsiteX13" fmla="*/ 572944 w 605527"/>
                <a:gd name="connsiteY13" fmla="*/ 185766 h 1097814"/>
                <a:gd name="connsiteX14" fmla="*/ 585603 w 605527"/>
                <a:gd name="connsiteY14" fmla="*/ 139116 h 1097814"/>
                <a:gd name="connsiteX15" fmla="*/ 605527 w 605527"/>
                <a:gd name="connsiteY15" fmla="*/ 0 h 1097814"/>
                <a:gd name="connsiteX0" fmla="*/ 6028 w 591930"/>
                <a:gd name="connsiteY0" fmla="*/ 1108012 h 1108012"/>
                <a:gd name="connsiteX1" fmla="*/ 40708 w 591930"/>
                <a:gd name="connsiteY1" fmla="*/ 943438 h 1108012"/>
                <a:gd name="connsiteX2" fmla="*/ 72568 w 591930"/>
                <a:gd name="connsiteY2" fmla="*/ 778284 h 1108012"/>
                <a:gd name="connsiteX3" fmla="*/ 179572 w 591930"/>
                <a:gd name="connsiteY3" fmla="*/ 731058 h 1108012"/>
                <a:gd name="connsiteX4" fmla="*/ 272039 w 591930"/>
                <a:gd name="connsiteY4" fmla="*/ 680899 h 1108012"/>
                <a:gd name="connsiteX5" fmla="*/ 280392 w 591930"/>
                <a:gd name="connsiteY5" fmla="*/ 549088 h 1108012"/>
                <a:gd name="connsiteX6" fmla="*/ 259779 w 591930"/>
                <a:gd name="connsiteY6" fmla="*/ 416301 h 1108012"/>
                <a:gd name="connsiteX7" fmla="*/ 248063 w 591930"/>
                <a:gd name="connsiteY7" fmla="*/ 343868 h 1108012"/>
                <a:gd name="connsiteX8" fmla="*/ 284515 w 591930"/>
                <a:gd name="connsiteY8" fmla="*/ 321483 h 1108012"/>
                <a:gd name="connsiteX9" fmla="*/ 339482 w 591930"/>
                <a:gd name="connsiteY9" fmla="*/ 288429 h 1108012"/>
                <a:gd name="connsiteX10" fmla="*/ 398788 w 591930"/>
                <a:gd name="connsiteY10" fmla="*/ 219866 h 1108012"/>
                <a:gd name="connsiteX11" fmla="*/ 459613 w 591930"/>
                <a:gd name="connsiteY11" fmla="*/ 204751 h 1108012"/>
                <a:gd name="connsiteX12" fmla="*/ 517978 w 591930"/>
                <a:gd name="connsiteY12" fmla="*/ 195023 h 1108012"/>
                <a:gd name="connsiteX13" fmla="*/ 572944 w 591930"/>
                <a:gd name="connsiteY13" fmla="*/ 195964 h 1108012"/>
                <a:gd name="connsiteX14" fmla="*/ 585603 w 591930"/>
                <a:gd name="connsiteY14" fmla="*/ 149314 h 1108012"/>
                <a:gd name="connsiteX15" fmla="*/ 591930 w 591930"/>
                <a:gd name="connsiteY15" fmla="*/ 0 h 1108012"/>
                <a:gd name="connsiteX0" fmla="*/ 4595 w 590497"/>
                <a:gd name="connsiteY0" fmla="*/ 1108012 h 1108012"/>
                <a:gd name="connsiteX1" fmla="*/ 58129 w 590497"/>
                <a:gd name="connsiteY1" fmla="*/ 948151 h 1108012"/>
                <a:gd name="connsiteX2" fmla="*/ 71135 w 590497"/>
                <a:gd name="connsiteY2" fmla="*/ 778284 h 1108012"/>
                <a:gd name="connsiteX3" fmla="*/ 178139 w 590497"/>
                <a:gd name="connsiteY3" fmla="*/ 731058 h 1108012"/>
                <a:gd name="connsiteX4" fmla="*/ 270606 w 590497"/>
                <a:gd name="connsiteY4" fmla="*/ 680899 h 1108012"/>
                <a:gd name="connsiteX5" fmla="*/ 278959 w 590497"/>
                <a:gd name="connsiteY5" fmla="*/ 549088 h 1108012"/>
                <a:gd name="connsiteX6" fmla="*/ 258346 w 590497"/>
                <a:gd name="connsiteY6" fmla="*/ 416301 h 1108012"/>
                <a:gd name="connsiteX7" fmla="*/ 246630 w 590497"/>
                <a:gd name="connsiteY7" fmla="*/ 343868 h 1108012"/>
                <a:gd name="connsiteX8" fmla="*/ 283082 w 590497"/>
                <a:gd name="connsiteY8" fmla="*/ 321483 h 1108012"/>
                <a:gd name="connsiteX9" fmla="*/ 338049 w 590497"/>
                <a:gd name="connsiteY9" fmla="*/ 288429 h 1108012"/>
                <a:gd name="connsiteX10" fmla="*/ 397355 w 590497"/>
                <a:gd name="connsiteY10" fmla="*/ 219866 h 1108012"/>
                <a:gd name="connsiteX11" fmla="*/ 458180 w 590497"/>
                <a:gd name="connsiteY11" fmla="*/ 204751 h 1108012"/>
                <a:gd name="connsiteX12" fmla="*/ 516545 w 590497"/>
                <a:gd name="connsiteY12" fmla="*/ 195023 h 1108012"/>
                <a:gd name="connsiteX13" fmla="*/ 571511 w 590497"/>
                <a:gd name="connsiteY13" fmla="*/ 195964 h 1108012"/>
                <a:gd name="connsiteX14" fmla="*/ 584170 w 590497"/>
                <a:gd name="connsiteY14" fmla="*/ 149314 h 1108012"/>
                <a:gd name="connsiteX15" fmla="*/ 590497 w 590497"/>
                <a:gd name="connsiteY15" fmla="*/ 0 h 1108012"/>
                <a:gd name="connsiteX0" fmla="*/ 19974 w 539888"/>
                <a:gd name="connsiteY0" fmla="*/ 1108012 h 1108012"/>
                <a:gd name="connsiteX1" fmla="*/ 7520 w 539888"/>
                <a:gd name="connsiteY1" fmla="*/ 948151 h 1108012"/>
                <a:gd name="connsiteX2" fmla="*/ 20526 w 539888"/>
                <a:gd name="connsiteY2" fmla="*/ 778284 h 1108012"/>
                <a:gd name="connsiteX3" fmla="*/ 127530 w 539888"/>
                <a:gd name="connsiteY3" fmla="*/ 731058 h 1108012"/>
                <a:gd name="connsiteX4" fmla="*/ 219997 w 539888"/>
                <a:gd name="connsiteY4" fmla="*/ 680899 h 1108012"/>
                <a:gd name="connsiteX5" fmla="*/ 228350 w 539888"/>
                <a:gd name="connsiteY5" fmla="*/ 549088 h 1108012"/>
                <a:gd name="connsiteX6" fmla="*/ 207737 w 539888"/>
                <a:gd name="connsiteY6" fmla="*/ 416301 h 1108012"/>
                <a:gd name="connsiteX7" fmla="*/ 196021 w 539888"/>
                <a:gd name="connsiteY7" fmla="*/ 343868 h 1108012"/>
                <a:gd name="connsiteX8" fmla="*/ 232473 w 539888"/>
                <a:gd name="connsiteY8" fmla="*/ 321483 h 1108012"/>
                <a:gd name="connsiteX9" fmla="*/ 287440 w 539888"/>
                <a:gd name="connsiteY9" fmla="*/ 288429 h 1108012"/>
                <a:gd name="connsiteX10" fmla="*/ 346746 w 539888"/>
                <a:gd name="connsiteY10" fmla="*/ 219866 h 1108012"/>
                <a:gd name="connsiteX11" fmla="*/ 407571 w 539888"/>
                <a:gd name="connsiteY11" fmla="*/ 204751 h 1108012"/>
                <a:gd name="connsiteX12" fmla="*/ 465936 w 539888"/>
                <a:gd name="connsiteY12" fmla="*/ 195023 h 1108012"/>
                <a:gd name="connsiteX13" fmla="*/ 520902 w 539888"/>
                <a:gd name="connsiteY13" fmla="*/ 195964 h 1108012"/>
                <a:gd name="connsiteX14" fmla="*/ 533561 w 539888"/>
                <a:gd name="connsiteY14" fmla="*/ 149314 h 1108012"/>
                <a:gd name="connsiteX15" fmla="*/ 539888 w 539888"/>
                <a:gd name="connsiteY15" fmla="*/ 0 h 1108012"/>
                <a:gd name="connsiteX0" fmla="*/ 19974 w 539888"/>
                <a:gd name="connsiteY0" fmla="*/ 1108012 h 1108012"/>
                <a:gd name="connsiteX1" fmla="*/ 7520 w 539888"/>
                <a:gd name="connsiteY1" fmla="*/ 948151 h 1108012"/>
                <a:gd name="connsiteX2" fmla="*/ 48806 w 539888"/>
                <a:gd name="connsiteY2" fmla="*/ 787710 h 1108012"/>
                <a:gd name="connsiteX3" fmla="*/ 127530 w 539888"/>
                <a:gd name="connsiteY3" fmla="*/ 731058 h 1108012"/>
                <a:gd name="connsiteX4" fmla="*/ 219997 w 539888"/>
                <a:gd name="connsiteY4" fmla="*/ 680899 h 1108012"/>
                <a:gd name="connsiteX5" fmla="*/ 228350 w 539888"/>
                <a:gd name="connsiteY5" fmla="*/ 549088 h 1108012"/>
                <a:gd name="connsiteX6" fmla="*/ 207737 w 539888"/>
                <a:gd name="connsiteY6" fmla="*/ 416301 h 1108012"/>
                <a:gd name="connsiteX7" fmla="*/ 196021 w 539888"/>
                <a:gd name="connsiteY7" fmla="*/ 343868 h 1108012"/>
                <a:gd name="connsiteX8" fmla="*/ 232473 w 539888"/>
                <a:gd name="connsiteY8" fmla="*/ 321483 h 1108012"/>
                <a:gd name="connsiteX9" fmla="*/ 287440 w 539888"/>
                <a:gd name="connsiteY9" fmla="*/ 288429 h 1108012"/>
                <a:gd name="connsiteX10" fmla="*/ 346746 w 539888"/>
                <a:gd name="connsiteY10" fmla="*/ 219866 h 1108012"/>
                <a:gd name="connsiteX11" fmla="*/ 407571 w 539888"/>
                <a:gd name="connsiteY11" fmla="*/ 204751 h 1108012"/>
                <a:gd name="connsiteX12" fmla="*/ 465936 w 539888"/>
                <a:gd name="connsiteY12" fmla="*/ 195023 h 1108012"/>
                <a:gd name="connsiteX13" fmla="*/ 520902 w 539888"/>
                <a:gd name="connsiteY13" fmla="*/ 195964 h 1108012"/>
                <a:gd name="connsiteX14" fmla="*/ 533561 w 539888"/>
                <a:gd name="connsiteY14" fmla="*/ 149314 h 1108012"/>
                <a:gd name="connsiteX15" fmla="*/ 539888 w 539888"/>
                <a:gd name="connsiteY15" fmla="*/ 0 h 1108012"/>
                <a:gd name="connsiteX0" fmla="*/ 6434 w 569639"/>
                <a:gd name="connsiteY0" fmla="*/ 1070393 h 1070393"/>
                <a:gd name="connsiteX1" fmla="*/ 37271 w 569639"/>
                <a:gd name="connsiteY1" fmla="*/ 948151 h 1070393"/>
                <a:gd name="connsiteX2" fmla="*/ 78557 w 569639"/>
                <a:gd name="connsiteY2" fmla="*/ 787710 h 1070393"/>
                <a:gd name="connsiteX3" fmla="*/ 157281 w 569639"/>
                <a:gd name="connsiteY3" fmla="*/ 731058 h 1070393"/>
                <a:gd name="connsiteX4" fmla="*/ 249748 w 569639"/>
                <a:gd name="connsiteY4" fmla="*/ 680899 h 1070393"/>
                <a:gd name="connsiteX5" fmla="*/ 258101 w 569639"/>
                <a:gd name="connsiteY5" fmla="*/ 549088 h 1070393"/>
                <a:gd name="connsiteX6" fmla="*/ 237488 w 569639"/>
                <a:gd name="connsiteY6" fmla="*/ 416301 h 1070393"/>
                <a:gd name="connsiteX7" fmla="*/ 225772 w 569639"/>
                <a:gd name="connsiteY7" fmla="*/ 343868 h 1070393"/>
                <a:gd name="connsiteX8" fmla="*/ 262224 w 569639"/>
                <a:gd name="connsiteY8" fmla="*/ 321483 h 1070393"/>
                <a:gd name="connsiteX9" fmla="*/ 317191 w 569639"/>
                <a:gd name="connsiteY9" fmla="*/ 288429 h 1070393"/>
                <a:gd name="connsiteX10" fmla="*/ 376497 w 569639"/>
                <a:gd name="connsiteY10" fmla="*/ 219866 h 1070393"/>
                <a:gd name="connsiteX11" fmla="*/ 437322 w 569639"/>
                <a:gd name="connsiteY11" fmla="*/ 204751 h 1070393"/>
                <a:gd name="connsiteX12" fmla="*/ 495687 w 569639"/>
                <a:gd name="connsiteY12" fmla="*/ 195023 h 1070393"/>
                <a:gd name="connsiteX13" fmla="*/ 550653 w 569639"/>
                <a:gd name="connsiteY13" fmla="*/ 195964 h 1070393"/>
                <a:gd name="connsiteX14" fmla="*/ 563312 w 569639"/>
                <a:gd name="connsiteY14" fmla="*/ 149314 h 1070393"/>
                <a:gd name="connsiteX15" fmla="*/ 569639 w 569639"/>
                <a:gd name="connsiteY15" fmla="*/ 0 h 1070393"/>
                <a:gd name="connsiteX0" fmla="*/ 0 w 563205"/>
                <a:gd name="connsiteY0" fmla="*/ 1070393 h 1070393"/>
                <a:gd name="connsiteX1" fmla="*/ 30837 w 563205"/>
                <a:gd name="connsiteY1" fmla="*/ 948151 h 1070393"/>
                <a:gd name="connsiteX2" fmla="*/ 72123 w 563205"/>
                <a:gd name="connsiteY2" fmla="*/ 787710 h 1070393"/>
                <a:gd name="connsiteX3" fmla="*/ 150847 w 563205"/>
                <a:gd name="connsiteY3" fmla="*/ 731058 h 1070393"/>
                <a:gd name="connsiteX4" fmla="*/ 243314 w 563205"/>
                <a:gd name="connsiteY4" fmla="*/ 680899 h 1070393"/>
                <a:gd name="connsiteX5" fmla="*/ 251667 w 563205"/>
                <a:gd name="connsiteY5" fmla="*/ 549088 h 1070393"/>
                <a:gd name="connsiteX6" fmla="*/ 231054 w 563205"/>
                <a:gd name="connsiteY6" fmla="*/ 416301 h 1070393"/>
                <a:gd name="connsiteX7" fmla="*/ 219338 w 563205"/>
                <a:gd name="connsiteY7" fmla="*/ 343868 h 1070393"/>
                <a:gd name="connsiteX8" fmla="*/ 255790 w 563205"/>
                <a:gd name="connsiteY8" fmla="*/ 321483 h 1070393"/>
                <a:gd name="connsiteX9" fmla="*/ 310757 w 563205"/>
                <a:gd name="connsiteY9" fmla="*/ 288429 h 1070393"/>
                <a:gd name="connsiteX10" fmla="*/ 370063 w 563205"/>
                <a:gd name="connsiteY10" fmla="*/ 219866 h 1070393"/>
                <a:gd name="connsiteX11" fmla="*/ 430888 w 563205"/>
                <a:gd name="connsiteY11" fmla="*/ 204751 h 1070393"/>
                <a:gd name="connsiteX12" fmla="*/ 489253 w 563205"/>
                <a:gd name="connsiteY12" fmla="*/ 195023 h 1070393"/>
                <a:gd name="connsiteX13" fmla="*/ 544219 w 563205"/>
                <a:gd name="connsiteY13" fmla="*/ 195964 h 1070393"/>
                <a:gd name="connsiteX14" fmla="*/ 556878 w 563205"/>
                <a:gd name="connsiteY14" fmla="*/ 149314 h 1070393"/>
                <a:gd name="connsiteX15" fmla="*/ 563205 w 563205"/>
                <a:gd name="connsiteY15" fmla="*/ 0 h 1070393"/>
                <a:gd name="connsiteX0" fmla="*/ 0 w 576192"/>
                <a:gd name="connsiteY0" fmla="*/ 1062034 h 1062034"/>
                <a:gd name="connsiteX1" fmla="*/ 43824 w 576192"/>
                <a:gd name="connsiteY1" fmla="*/ 948151 h 1062034"/>
                <a:gd name="connsiteX2" fmla="*/ 85110 w 576192"/>
                <a:gd name="connsiteY2" fmla="*/ 787710 h 1062034"/>
                <a:gd name="connsiteX3" fmla="*/ 163834 w 576192"/>
                <a:gd name="connsiteY3" fmla="*/ 731058 h 1062034"/>
                <a:gd name="connsiteX4" fmla="*/ 256301 w 576192"/>
                <a:gd name="connsiteY4" fmla="*/ 680899 h 1062034"/>
                <a:gd name="connsiteX5" fmla="*/ 264654 w 576192"/>
                <a:gd name="connsiteY5" fmla="*/ 549088 h 1062034"/>
                <a:gd name="connsiteX6" fmla="*/ 244041 w 576192"/>
                <a:gd name="connsiteY6" fmla="*/ 416301 h 1062034"/>
                <a:gd name="connsiteX7" fmla="*/ 232325 w 576192"/>
                <a:gd name="connsiteY7" fmla="*/ 343868 h 1062034"/>
                <a:gd name="connsiteX8" fmla="*/ 268777 w 576192"/>
                <a:gd name="connsiteY8" fmla="*/ 321483 h 1062034"/>
                <a:gd name="connsiteX9" fmla="*/ 323744 w 576192"/>
                <a:gd name="connsiteY9" fmla="*/ 288429 h 1062034"/>
                <a:gd name="connsiteX10" fmla="*/ 383050 w 576192"/>
                <a:gd name="connsiteY10" fmla="*/ 219866 h 1062034"/>
                <a:gd name="connsiteX11" fmla="*/ 443875 w 576192"/>
                <a:gd name="connsiteY11" fmla="*/ 204751 h 1062034"/>
                <a:gd name="connsiteX12" fmla="*/ 502240 w 576192"/>
                <a:gd name="connsiteY12" fmla="*/ 195023 h 1062034"/>
                <a:gd name="connsiteX13" fmla="*/ 557206 w 576192"/>
                <a:gd name="connsiteY13" fmla="*/ 195964 h 1062034"/>
                <a:gd name="connsiteX14" fmla="*/ 569865 w 576192"/>
                <a:gd name="connsiteY14" fmla="*/ 149314 h 1062034"/>
                <a:gd name="connsiteX15" fmla="*/ 576192 w 576192"/>
                <a:gd name="connsiteY15" fmla="*/ 0 h 1062034"/>
                <a:gd name="connsiteX0" fmla="*/ 0 w 576192"/>
                <a:gd name="connsiteY0" fmla="*/ 1062034 h 1062034"/>
                <a:gd name="connsiteX1" fmla="*/ 43824 w 576192"/>
                <a:gd name="connsiteY1" fmla="*/ 948151 h 1062034"/>
                <a:gd name="connsiteX2" fmla="*/ 102427 w 576192"/>
                <a:gd name="connsiteY2" fmla="*/ 787710 h 1062034"/>
                <a:gd name="connsiteX3" fmla="*/ 163834 w 576192"/>
                <a:gd name="connsiteY3" fmla="*/ 731058 h 1062034"/>
                <a:gd name="connsiteX4" fmla="*/ 256301 w 576192"/>
                <a:gd name="connsiteY4" fmla="*/ 680899 h 1062034"/>
                <a:gd name="connsiteX5" fmla="*/ 264654 w 576192"/>
                <a:gd name="connsiteY5" fmla="*/ 549088 h 1062034"/>
                <a:gd name="connsiteX6" fmla="*/ 244041 w 576192"/>
                <a:gd name="connsiteY6" fmla="*/ 416301 h 1062034"/>
                <a:gd name="connsiteX7" fmla="*/ 232325 w 576192"/>
                <a:gd name="connsiteY7" fmla="*/ 343868 h 1062034"/>
                <a:gd name="connsiteX8" fmla="*/ 268777 w 576192"/>
                <a:gd name="connsiteY8" fmla="*/ 321483 h 1062034"/>
                <a:gd name="connsiteX9" fmla="*/ 323744 w 576192"/>
                <a:gd name="connsiteY9" fmla="*/ 288429 h 1062034"/>
                <a:gd name="connsiteX10" fmla="*/ 383050 w 576192"/>
                <a:gd name="connsiteY10" fmla="*/ 219866 h 1062034"/>
                <a:gd name="connsiteX11" fmla="*/ 443875 w 576192"/>
                <a:gd name="connsiteY11" fmla="*/ 204751 h 1062034"/>
                <a:gd name="connsiteX12" fmla="*/ 502240 w 576192"/>
                <a:gd name="connsiteY12" fmla="*/ 195023 h 1062034"/>
                <a:gd name="connsiteX13" fmla="*/ 557206 w 576192"/>
                <a:gd name="connsiteY13" fmla="*/ 195964 h 1062034"/>
                <a:gd name="connsiteX14" fmla="*/ 569865 w 576192"/>
                <a:gd name="connsiteY14" fmla="*/ 149314 h 1062034"/>
                <a:gd name="connsiteX15" fmla="*/ 576192 w 576192"/>
                <a:gd name="connsiteY15" fmla="*/ 0 h 1062034"/>
                <a:gd name="connsiteX0" fmla="*/ 0 w 582575"/>
                <a:gd name="connsiteY0" fmla="*/ 1062034 h 1062034"/>
                <a:gd name="connsiteX1" fmla="*/ 43824 w 582575"/>
                <a:gd name="connsiteY1" fmla="*/ 948151 h 1062034"/>
                <a:gd name="connsiteX2" fmla="*/ 102427 w 582575"/>
                <a:gd name="connsiteY2" fmla="*/ 787710 h 1062034"/>
                <a:gd name="connsiteX3" fmla="*/ 163834 w 582575"/>
                <a:gd name="connsiteY3" fmla="*/ 731058 h 1062034"/>
                <a:gd name="connsiteX4" fmla="*/ 256301 w 582575"/>
                <a:gd name="connsiteY4" fmla="*/ 680899 h 1062034"/>
                <a:gd name="connsiteX5" fmla="*/ 264654 w 582575"/>
                <a:gd name="connsiteY5" fmla="*/ 549088 h 1062034"/>
                <a:gd name="connsiteX6" fmla="*/ 244041 w 582575"/>
                <a:gd name="connsiteY6" fmla="*/ 416301 h 1062034"/>
                <a:gd name="connsiteX7" fmla="*/ 232325 w 582575"/>
                <a:gd name="connsiteY7" fmla="*/ 343868 h 1062034"/>
                <a:gd name="connsiteX8" fmla="*/ 268777 w 582575"/>
                <a:gd name="connsiteY8" fmla="*/ 321483 h 1062034"/>
                <a:gd name="connsiteX9" fmla="*/ 323744 w 582575"/>
                <a:gd name="connsiteY9" fmla="*/ 288429 h 1062034"/>
                <a:gd name="connsiteX10" fmla="*/ 383050 w 582575"/>
                <a:gd name="connsiteY10" fmla="*/ 219866 h 1062034"/>
                <a:gd name="connsiteX11" fmla="*/ 443875 w 582575"/>
                <a:gd name="connsiteY11" fmla="*/ 204751 h 1062034"/>
                <a:gd name="connsiteX12" fmla="*/ 502240 w 582575"/>
                <a:gd name="connsiteY12" fmla="*/ 195023 h 1062034"/>
                <a:gd name="connsiteX13" fmla="*/ 557206 w 582575"/>
                <a:gd name="connsiteY13" fmla="*/ 195964 h 1062034"/>
                <a:gd name="connsiteX14" fmla="*/ 569865 w 582575"/>
                <a:gd name="connsiteY14" fmla="*/ 149314 h 1062034"/>
                <a:gd name="connsiteX15" fmla="*/ 582575 w 582575"/>
                <a:gd name="connsiteY15" fmla="*/ 0 h 1062034"/>
                <a:gd name="connsiteX0" fmla="*/ 0 w 584022"/>
                <a:gd name="connsiteY0" fmla="*/ 1062034 h 1062034"/>
                <a:gd name="connsiteX1" fmla="*/ 43824 w 584022"/>
                <a:gd name="connsiteY1" fmla="*/ 948151 h 1062034"/>
                <a:gd name="connsiteX2" fmla="*/ 102427 w 584022"/>
                <a:gd name="connsiteY2" fmla="*/ 787710 h 1062034"/>
                <a:gd name="connsiteX3" fmla="*/ 163834 w 584022"/>
                <a:gd name="connsiteY3" fmla="*/ 731058 h 1062034"/>
                <a:gd name="connsiteX4" fmla="*/ 256301 w 584022"/>
                <a:gd name="connsiteY4" fmla="*/ 680899 h 1062034"/>
                <a:gd name="connsiteX5" fmla="*/ 264654 w 584022"/>
                <a:gd name="connsiteY5" fmla="*/ 549088 h 1062034"/>
                <a:gd name="connsiteX6" fmla="*/ 244041 w 584022"/>
                <a:gd name="connsiteY6" fmla="*/ 416301 h 1062034"/>
                <a:gd name="connsiteX7" fmla="*/ 232325 w 584022"/>
                <a:gd name="connsiteY7" fmla="*/ 343868 h 1062034"/>
                <a:gd name="connsiteX8" fmla="*/ 268777 w 584022"/>
                <a:gd name="connsiteY8" fmla="*/ 321483 h 1062034"/>
                <a:gd name="connsiteX9" fmla="*/ 323744 w 584022"/>
                <a:gd name="connsiteY9" fmla="*/ 288429 h 1062034"/>
                <a:gd name="connsiteX10" fmla="*/ 383050 w 584022"/>
                <a:gd name="connsiteY10" fmla="*/ 219866 h 1062034"/>
                <a:gd name="connsiteX11" fmla="*/ 443875 w 584022"/>
                <a:gd name="connsiteY11" fmla="*/ 204751 h 1062034"/>
                <a:gd name="connsiteX12" fmla="*/ 502240 w 584022"/>
                <a:gd name="connsiteY12" fmla="*/ 195023 h 1062034"/>
                <a:gd name="connsiteX13" fmla="*/ 557206 w 584022"/>
                <a:gd name="connsiteY13" fmla="*/ 195964 h 1062034"/>
                <a:gd name="connsiteX14" fmla="*/ 582631 w 584022"/>
                <a:gd name="connsiteY14" fmla="*/ 149314 h 1062034"/>
                <a:gd name="connsiteX15" fmla="*/ 582575 w 584022"/>
                <a:gd name="connsiteY15" fmla="*/ 0 h 1062034"/>
                <a:gd name="connsiteX0" fmla="*/ 0 w 585561"/>
                <a:gd name="connsiteY0" fmla="*/ 1065007 h 1065007"/>
                <a:gd name="connsiteX1" fmla="*/ 43824 w 585561"/>
                <a:gd name="connsiteY1" fmla="*/ 951124 h 1065007"/>
                <a:gd name="connsiteX2" fmla="*/ 102427 w 585561"/>
                <a:gd name="connsiteY2" fmla="*/ 790683 h 1065007"/>
                <a:gd name="connsiteX3" fmla="*/ 163834 w 585561"/>
                <a:gd name="connsiteY3" fmla="*/ 734031 h 1065007"/>
                <a:gd name="connsiteX4" fmla="*/ 256301 w 585561"/>
                <a:gd name="connsiteY4" fmla="*/ 683872 h 1065007"/>
                <a:gd name="connsiteX5" fmla="*/ 264654 w 585561"/>
                <a:gd name="connsiteY5" fmla="*/ 552061 h 1065007"/>
                <a:gd name="connsiteX6" fmla="*/ 244041 w 585561"/>
                <a:gd name="connsiteY6" fmla="*/ 419274 h 1065007"/>
                <a:gd name="connsiteX7" fmla="*/ 232325 w 585561"/>
                <a:gd name="connsiteY7" fmla="*/ 346841 h 1065007"/>
                <a:gd name="connsiteX8" fmla="*/ 268777 w 585561"/>
                <a:gd name="connsiteY8" fmla="*/ 324456 h 1065007"/>
                <a:gd name="connsiteX9" fmla="*/ 323744 w 585561"/>
                <a:gd name="connsiteY9" fmla="*/ 291402 h 1065007"/>
                <a:gd name="connsiteX10" fmla="*/ 383050 w 585561"/>
                <a:gd name="connsiteY10" fmla="*/ 222839 h 1065007"/>
                <a:gd name="connsiteX11" fmla="*/ 443875 w 585561"/>
                <a:gd name="connsiteY11" fmla="*/ 207724 h 1065007"/>
                <a:gd name="connsiteX12" fmla="*/ 502240 w 585561"/>
                <a:gd name="connsiteY12" fmla="*/ 197996 h 1065007"/>
                <a:gd name="connsiteX13" fmla="*/ 557206 w 585561"/>
                <a:gd name="connsiteY13" fmla="*/ 198937 h 1065007"/>
                <a:gd name="connsiteX14" fmla="*/ 582631 w 585561"/>
                <a:gd name="connsiteY14" fmla="*/ 152287 h 1065007"/>
                <a:gd name="connsiteX15" fmla="*/ 585216 w 585561"/>
                <a:gd name="connsiteY15" fmla="*/ 14196 h 1065007"/>
                <a:gd name="connsiteX16" fmla="*/ 582575 w 585561"/>
                <a:gd name="connsiteY16" fmla="*/ 2973 h 1065007"/>
                <a:gd name="connsiteX0" fmla="*/ 671355 w 671431"/>
                <a:gd name="connsiteY0" fmla="*/ 770549 h 953968"/>
                <a:gd name="connsiteX1" fmla="*/ 180 w 671431"/>
                <a:gd name="connsiteY1" fmla="*/ 951124 h 953968"/>
                <a:gd name="connsiteX2" fmla="*/ 58783 w 671431"/>
                <a:gd name="connsiteY2" fmla="*/ 790683 h 953968"/>
                <a:gd name="connsiteX3" fmla="*/ 120190 w 671431"/>
                <a:gd name="connsiteY3" fmla="*/ 734031 h 953968"/>
                <a:gd name="connsiteX4" fmla="*/ 212657 w 671431"/>
                <a:gd name="connsiteY4" fmla="*/ 683872 h 953968"/>
                <a:gd name="connsiteX5" fmla="*/ 221010 w 671431"/>
                <a:gd name="connsiteY5" fmla="*/ 552061 h 953968"/>
                <a:gd name="connsiteX6" fmla="*/ 200397 w 671431"/>
                <a:gd name="connsiteY6" fmla="*/ 419274 h 953968"/>
                <a:gd name="connsiteX7" fmla="*/ 188681 w 671431"/>
                <a:gd name="connsiteY7" fmla="*/ 346841 h 953968"/>
                <a:gd name="connsiteX8" fmla="*/ 225133 w 671431"/>
                <a:gd name="connsiteY8" fmla="*/ 324456 h 953968"/>
                <a:gd name="connsiteX9" fmla="*/ 280100 w 671431"/>
                <a:gd name="connsiteY9" fmla="*/ 291402 h 953968"/>
                <a:gd name="connsiteX10" fmla="*/ 339406 w 671431"/>
                <a:gd name="connsiteY10" fmla="*/ 222839 h 953968"/>
                <a:gd name="connsiteX11" fmla="*/ 400231 w 671431"/>
                <a:gd name="connsiteY11" fmla="*/ 207724 h 953968"/>
                <a:gd name="connsiteX12" fmla="*/ 458596 w 671431"/>
                <a:gd name="connsiteY12" fmla="*/ 197996 h 953968"/>
                <a:gd name="connsiteX13" fmla="*/ 513562 w 671431"/>
                <a:gd name="connsiteY13" fmla="*/ 198937 h 953968"/>
                <a:gd name="connsiteX14" fmla="*/ 538987 w 671431"/>
                <a:gd name="connsiteY14" fmla="*/ 152287 h 953968"/>
                <a:gd name="connsiteX15" fmla="*/ 541572 w 671431"/>
                <a:gd name="connsiteY15" fmla="*/ 14196 h 953968"/>
                <a:gd name="connsiteX16" fmla="*/ 538931 w 671431"/>
                <a:gd name="connsiteY16" fmla="*/ 2973 h 953968"/>
                <a:gd name="connsiteX0" fmla="*/ 671370 w 671370"/>
                <a:gd name="connsiteY0" fmla="*/ 770549 h 954475"/>
                <a:gd name="connsiteX1" fmla="*/ 195 w 671370"/>
                <a:gd name="connsiteY1" fmla="*/ 951124 h 954475"/>
                <a:gd name="connsiteX2" fmla="*/ 58798 w 671370"/>
                <a:gd name="connsiteY2" fmla="*/ 790683 h 954475"/>
                <a:gd name="connsiteX3" fmla="*/ 120205 w 671370"/>
                <a:gd name="connsiteY3" fmla="*/ 734031 h 954475"/>
                <a:gd name="connsiteX4" fmla="*/ 212672 w 671370"/>
                <a:gd name="connsiteY4" fmla="*/ 683872 h 954475"/>
                <a:gd name="connsiteX5" fmla="*/ 221025 w 671370"/>
                <a:gd name="connsiteY5" fmla="*/ 552061 h 954475"/>
                <a:gd name="connsiteX6" fmla="*/ 200412 w 671370"/>
                <a:gd name="connsiteY6" fmla="*/ 419274 h 954475"/>
                <a:gd name="connsiteX7" fmla="*/ 188696 w 671370"/>
                <a:gd name="connsiteY7" fmla="*/ 346841 h 954475"/>
                <a:gd name="connsiteX8" fmla="*/ 225148 w 671370"/>
                <a:gd name="connsiteY8" fmla="*/ 324456 h 954475"/>
                <a:gd name="connsiteX9" fmla="*/ 280115 w 671370"/>
                <a:gd name="connsiteY9" fmla="*/ 291402 h 954475"/>
                <a:gd name="connsiteX10" fmla="*/ 339421 w 671370"/>
                <a:gd name="connsiteY10" fmla="*/ 222839 h 954475"/>
                <a:gd name="connsiteX11" fmla="*/ 400246 w 671370"/>
                <a:gd name="connsiteY11" fmla="*/ 207724 h 954475"/>
                <a:gd name="connsiteX12" fmla="*/ 458611 w 671370"/>
                <a:gd name="connsiteY12" fmla="*/ 197996 h 954475"/>
                <a:gd name="connsiteX13" fmla="*/ 513577 w 671370"/>
                <a:gd name="connsiteY13" fmla="*/ 198937 h 954475"/>
                <a:gd name="connsiteX14" fmla="*/ 539002 w 671370"/>
                <a:gd name="connsiteY14" fmla="*/ 152287 h 954475"/>
                <a:gd name="connsiteX15" fmla="*/ 541587 w 671370"/>
                <a:gd name="connsiteY15" fmla="*/ 14196 h 954475"/>
                <a:gd name="connsiteX16" fmla="*/ 538946 w 671370"/>
                <a:gd name="connsiteY16" fmla="*/ 2973 h 954475"/>
                <a:gd name="connsiteX0" fmla="*/ 693631 w 693631"/>
                <a:gd name="connsiteY0" fmla="*/ 770549 h 954475"/>
                <a:gd name="connsiteX1" fmla="*/ 190 w 693631"/>
                <a:gd name="connsiteY1" fmla="*/ 951124 h 954475"/>
                <a:gd name="connsiteX2" fmla="*/ 58793 w 693631"/>
                <a:gd name="connsiteY2" fmla="*/ 790683 h 954475"/>
                <a:gd name="connsiteX3" fmla="*/ 120200 w 693631"/>
                <a:gd name="connsiteY3" fmla="*/ 734031 h 954475"/>
                <a:gd name="connsiteX4" fmla="*/ 212667 w 693631"/>
                <a:gd name="connsiteY4" fmla="*/ 683872 h 954475"/>
                <a:gd name="connsiteX5" fmla="*/ 221020 w 693631"/>
                <a:gd name="connsiteY5" fmla="*/ 552061 h 954475"/>
                <a:gd name="connsiteX6" fmla="*/ 200407 w 693631"/>
                <a:gd name="connsiteY6" fmla="*/ 419274 h 954475"/>
                <a:gd name="connsiteX7" fmla="*/ 188691 w 693631"/>
                <a:gd name="connsiteY7" fmla="*/ 346841 h 954475"/>
                <a:gd name="connsiteX8" fmla="*/ 225143 w 693631"/>
                <a:gd name="connsiteY8" fmla="*/ 324456 h 954475"/>
                <a:gd name="connsiteX9" fmla="*/ 280110 w 693631"/>
                <a:gd name="connsiteY9" fmla="*/ 291402 h 954475"/>
                <a:gd name="connsiteX10" fmla="*/ 339416 w 693631"/>
                <a:gd name="connsiteY10" fmla="*/ 222839 h 954475"/>
                <a:gd name="connsiteX11" fmla="*/ 400241 w 693631"/>
                <a:gd name="connsiteY11" fmla="*/ 207724 h 954475"/>
                <a:gd name="connsiteX12" fmla="*/ 458606 w 693631"/>
                <a:gd name="connsiteY12" fmla="*/ 197996 h 954475"/>
                <a:gd name="connsiteX13" fmla="*/ 513572 w 693631"/>
                <a:gd name="connsiteY13" fmla="*/ 198937 h 954475"/>
                <a:gd name="connsiteX14" fmla="*/ 538997 w 693631"/>
                <a:gd name="connsiteY14" fmla="*/ 152287 h 954475"/>
                <a:gd name="connsiteX15" fmla="*/ 541582 w 693631"/>
                <a:gd name="connsiteY15" fmla="*/ 14196 h 954475"/>
                <a:gd name="connsiteX16" fmla="*/ 538941 w 693631"/>
                <a:gd name="connsiteY16" fmla="*/ 2973 h 954475"/>
                <a:gd name="connsiteX0" fmla="*/ 658015 w 658015"/>
                <a:gd name="connsiteY0" fmla="*/ 770549 h 791785"/>
                <a:gd name="connsiteX1" fmla="*/ 498968 w 658015"/>
                <a:gd name="connsiteY1" fmla="*/ 680413 h 791785"/>
                <a:gd name="connsiteX2" fmla="*/ 23177 w 658015"/>
                <a:gd name="connsiteY2" fmla="*/ 790683 h 791785"/>
                <a:gd name="connsiteX3" fmla="*/ 84584 w 658015"/>
                <a:gd name="connsiteY3" fmla="*/ 734031 h 791785"/>
                <a:gd name="connsiteX4" fmla="*/ 177051 w 658015"/>
                <a:gd name="connsiteY4" fmla="*/ 683872 h 791785"/>
                <a:gd name="connsiteX5" fmla="*/ 185404 w 658015"/>
                <a:gd name="connsiteY5" fmla="*/ 552061 h 791785"/>
                <a:gd name="connsiteX6" fmla="*/ 164791 w 658015"/>
                <a:gd name="connsiteY6" fmla="*/ 419274 h 791785"/>
                <a:gd name="connsiteX7" fmla="*/ 153075 w 658015"/>
                <a:gd name="connsiteY7" fmla="*/ 346841 h 791785"/>
                <a:gd name="connsiteX8" fmla="*/ 189527 w 658015"/>
                <a:gd name="connsiteY8" fmla="*/ 324456 h 791785"/>
                <a:gd name="connsiteX9" fmla="*/ 244494 w 658015"/>
                <a:gd name="connsiteY9" fmla="*/ 291402 h 791785"/>
                <a:gd name="connsiteX10" fmla="*/ 303800 w 658015"/>
                <a:gd name="connsiteY10" fmla="*/ 222839 h 791785"/>
                <a:gd name="connsiteX11" fmla="*/ 364625 w 658015"/>
                <a:gd name="connsiteY11" fmla="*/ 207724 h 791785"/>
                <a:gd name="connsiteX12" fmla="*/ 422990 w 658015"/>
                <a:gd name="connsiteY12" fmla="*/ 197996 h 791785"/>
                <a:gd name="connsiteX13" fmla="*/ 477956 w 658015"/>
                <a:gd name="connsiteY13" fmla="*/ 198937 h 791785"/>
                <a:gd name="connsiteX14" fmla="*/ 503381 w 658015"/>
                <a:gd name="connsiteY14" fmla="*/ 152287 h 791785"/>
                <a:gd name="connsiteX15" fmla="*/ 505966 w 658015"/>
                <a:gd name="connsiteY15" fmla="*/ 14196 h 791785"/>
                <a:gd name="connsiteX16" fmla="*/ 503325 w 658015"/>
                <a:gd name="connsiteY16" fmla="*/ 2973 h 791785"/>
                <a:gd name="connsiteX0" fmla="*/ 658015 w 658015"/>
                <a:gd name="connsiteY0" fmla="*/ 770549 h 791785"/>
                <a:gd name="connsiteX1" fmla="*/ 498968 w 658015"/>
                <a:gd name="connsiteY1" fmla="*/ 680413 h 791785"/>
                <a:gd name="connsiteX2" fmla="*/ 23177 w 658015"/>
                <a:gd name="connsiteY2" fmla="*/ 790683 h 791785"/>
                <a:gd name="connsiteX3" fmla="*/ 84584 w 658015"/>
                <a:gd name="connsiteY3" fmla="*/ 734031 h 791785"/>
                <a:gd name="connsiteX4" fmla="*/ 177051 w 658015"/>
                <a:gd name="connsiteY4" fmla="*/ 683872 h 791785"/>
                <a:gd name="connsiteX5" fmla="*/ 185404 w 658015"/>
                <a:gd name="connsiteY5" fmla="*/ 552061 h 791785"/>
                <a:gd name="connsiteX6" fmla="*/ 164791 w 658015"/>
                <a:gd name="connsiteY6" fmla="*/ 419274 h 791785"/>
                <a:gd name="connsiteX7" fmla="*/ 153075 w 658015"/>
                <a:gd name="connsiteY7" fmla="*/ 346841 h 791785"/>
                <a:gd name="connsiteX8" fmla="*/ 189527 w 658015"/>
                <a:gd name="connsiteY8" fmla="*/ 324456 h 791785"/>
                <a:gd name="connsiteX9" fmla="*/ 244494 w 658015"/>
                <a:gd name="connsiteY9" fmla="*/ 291402 h 791785"/>
                <a:gd name="connsiteX10" fmla="*/ 303800 w 658015"/>
                <a:gd name="connsiteY10" fmla="*/ 222839 h 791785"/>
                <a:gd name="connsiteX11" fmla="*/ 364625 w 658015"/>
                <a:gd name="connsiteY11" fmla="*/ 207724 h 791785"/>
                <a:gd name="connsiteX12" fmla="*/ 422990 w 658015"/>
                <a:gd name="connsiteY12" fmla="*/ 197996 h 791785"/>
                <a:gd name="connsiteX13" fmla="*/ 477956 w 658015"/>
                <a:gd name="connsiteY13" fmla="*/ 198937 h 791785"/>
                <a:gd name="connsiteX14" fmla="*/ 503381 w 658015"/>
                <a:gd name="connsiteY14" fmla="*/ 152287 h 791785"/>
                <a:gd name="connsiteX15" fmla="*/ 505966 w 658015"/>
                <a:gd name="connsiteY15" fmla="*/ 14196 h 791785"/>
                <a:gd name="connsiteX16" fmla="*/ 503325 w 658015"/>
                <a:gd name="connsiteY16" fmla="*/ 2973 h 791785"/>
                <a:gd name="connsiteX0" fmla="*/ 658015 w 658015"/>
                <a:gd name="connsiteY0" fmla="*/ 770549 h 791785"/>
                <a:gd name="connsiteX1" fmla="*/ 498968 w 658015"/>
                <a:gd name="connsiteY1" fmla="*/ 680413 h 791785"/>
                <a:gd name="connsiteX2" fmla="*/ 23177 w 658015"/>
                <a:gd name="connsiteY2" fmla="*/ 790683 h 791785"/>
                <a:gd name="connsiteX3" fmla="*/ 84584 w 658015"/>
                <a:gd name="connsiteY3" fmla="*/ 734031 h 791785"/>
                <a:gd name="connsiteX4" fmla="*/ 177051 w 658015"/>
                <a:gd name="connsiteY4" fmla="*/ 683872 h 791785"/>
                <a:gd name="connsiteX5" fmla="*/ 185404 w 658015"/>
                <a:gd name="connsiteY5" fmla="*/ 552061 h 791785"/>
                <a:gd name="connsiteX6" fmla="*/ 164791 w 658015"/>
                <a:gd name="connsiteY6" fmla="*/ 419274 h 791785"/>
                <a:gd name="connsiteX7" fmla="*/ 153075 w 658015"/>
                <a:gd name="connsiteY7" fmla="*/ 346841 h 791785"/>
                <a:gd name="connsiteX8" fmla="*/ 189527 w 658015"/>
                <a:gd name="connsiteY8" fmla="*/ 324456 h 791785"/>
                <a:gd name="connsiteX9" fmla="*/ 244494 w 658015"/>
                <a:gd name="connsiteY9" fmla="*/ 291402 h 791785"/>
                <a:gd name="connsiteX10" fmla="*/ 303800 w 658015"/>
                <a:gd name="connsiteY10" fmla="*/ 222839 h 791785"/>
                <a:gd name="connsiteX11" fmla="*/ 364625 w 658015"/>
                <a:gd name="connsiteY11" fmla="*/ 207724 h 791785"/>
                <a:gd name="connsiteX12" fmla="*/ 422990 w 658015"/>
                <a:gd name="connsiteY12" fmla="*/ 197996 h 791785"/>
                <a:gd name="connsiteX13" fmla="*/ 477956 w 658015"/>
                <a:gd name="connsiteY13" fmla="*/ 198937 h 791785"/>
                <a:gd name="connsiteX14" fmla="*/ 503381 w 658015"/>
                <a:gd name="connsiteY14" fmla="*/ 152287 h 791785"/>
                <a:gd name="connsiteX15" fmla="*/ 505966 w 658015"/>
                <a:gd name="connsiteY15" fmla="*/ 14196 h 791785"/>
                <a:gd name="connsiteX16" fmla="*/ 503325 w 658015"/>
                <a:gd name="connsiteY16" fmla="*/ 2973 h 791785"/>
                <a:gd name="connsiteX0" fmla="*/ 669213 w 669213"/>
                <a:gd name="connsiteY0" fmla="*/ 770549 h 791738"/>
                <a:gd name="connsiteX1" fmla="*/ 34375 w 669213"/>
                <a:gd name="connsiteY1" fmla="*/ 790683 h 791738"/>
                <a:gd name="connsiteX2" fmla="*/ 95782 w 669213"/>
                <a:gd name="connsiteY2" fmla="*/ 734031 h 791738"/>
                <a:gd name="connsiteX3" fmla="*/ 188249 w 669213"/>
                <a:gd name="connsiteY3" fmla="*/ 683872 h 791738"/>
                <a:gd name="connsiteX4" fmla="*/ 196602 w 669213"/>
                <a:gd name="connsiteY4" fmla="*/ 552061 h 791738"/>
                <a:gd name="connsiteX5" fmla="*/ 175989 w 669213"/>
                <a:gd name="connsiteY5" fmla="*/ 419274 h 791738"/>
                <a:gd name="connsiteX6" fmla="*/ 164273 w 669213"/>
                <a:gd name="connsiteY6" fmla="*/ 346841 h 791738"/>
                <a:gd name="connsiteX7" fmla="*/ 200725 w 669213"/>
                <a:gd name="connsiteY7" fmla="*/ 324456 h 791738"/>
                <a:gd name="connsiteX8" fmla="*/ 255692 w 669213"/>
                <a:gd name="connsiteY8" fmla="*/ 291402 h 791738"/>
                <a:gd name="connsiteX9" fmla="*/ 314998 w 669213"/>
                <a:gd name="connsiteY9" fmla="*/ 222839 h 791738"/>
                <a:gd name="connsiteX10" fmla="*/ 375823 w 669213"/>
                <a:gd name="connsiteY10" fmla="*/ 207724 h 791738"/>
                <a:gd name="connsiteX11" fmla="*/ 434188 w 669213"/>
                <a:gd name="connsiteY11" fmla="*/ 197996 h 791738"/>
                <a:gd name="connsiteX12" fmla="*/ 489154 w 669213"/>
                <a:gd name="connsiteY12" fmla="*/ 198937 h 791738"/>
                <a:gd name="connsiteX13" fmla="*/ 514579 w 669213"/>
                <a:gd name="connsiteY13" fmla="*/ 152287 h 791738"/>
                <a:gd name="connsiteX14" fmla="*/ 517164 w 669213"/>
                <a:gd name="connsiteY14" fmla="*/ 14196 h 791738"/>
                <a:gd name="connsiteX15" fmla="*/ 514523 w 669213"/>
                <a:gd name="connsiteY15" fmla="*/ 2973 h 791738"/>
                <a:gd name="connsiteX0" fmla="*/ 585761 w 585761"/>
                <a:gd name="connsiteY0" fmla="*/ 770549 h 770699"/>
                <a:gd name="connsiteX1" fmla="*/ 416044 w 585761"/>
                <a:gd name="connsiteY1" fmla="*/ 683824 h 770699"/>
                <a:gd name="connsiteX2" fmla="*/ 12330 w 585761"/>
                <a:gd name="connsiteY2" fmla="*/ 734031 h 770699"/>
                <a:gd name="connsiteX3" fmla="*/ 104797 w 585761"/>
                <a:gd name="connsiteY3" fmla="*/ 683872 h 770699"/>
                <a:gd name="connsiteX4" fmla="*/ 113150 w 585761"/>
                <a:gd name="connsiteY4" fmla="*/ 552061 h 770699"/>
                <a:gd name="connsiteX5" fmla="*/ 92537 w 585761"/>
                <a:gd name="connsiteY5" fmla="*/ 419274 h 770699"/>
                <a:gd name="connsiteX6" fmla="*/ 80821 w 585761"/>
                <a:gd name="connsiteY6" fmla="*/ 346841 h 770699"/>
                <a:gd name="connsiteX7" fmla="*/ 117273 w 585761"/>
                <a:gd name="connsiteY7" fmla="*/ 324456 h 770699"/>
                <a:gd name="connsiteX8" fmla="*/ 172240 w 585761"/>
                <a:gd name="connsiteY8" fmla="*/ 291402 h 770699"/>
                <a:gd name="connsiteX9" fmla="*/ 231546 w 585761"/>
                <a:gd name="connsiteY9" fmla="*/ 222839 h 770699"/>
                <a:gd name="connsiteX10" fmla="*/ 292371 w 585761"/>
                <a:gd name="connsiteY10" fmla="*/ 207724 h 770699"/>
                <a:gd name="connsiteX11" fmla="*/ 350736 w 585761"/>
                <a:gd name="connsiteY11" fmla="*/ 197996 h 770699"/>
                <a:gd name="connsiteX12" fmla="*/ 405702 w 585761"/>
                <a:gd name="connsiteY12" fmla="*/ 198937 h 770699"/>
                <a:gd name="connsiteX13" fmla="*/ 431127 w 585761"/>
                <a:gd name="connsiteY13" fmla="*/ 152287 h 770699"/>
                <a:gd name="connsiteX14" fmla="*/ 433712 w 585761"/>
                <a:gd name="connsiteY14" fmla="*/ 14196 h 770699"/>
                <a:gd name="connsiteX15" fmla="*/ 431071 w 585761"/>
                <a:gd name="connsiteY15" fmla="*/ 2973 h 770699"/>
                <a:gd name="connsiteX0" fmla="*/ 585761 w 585761"/>
                <a:gd name="connsiteY0" fmla="*/ 770549 h 770779"/>
                <a:gd name="connsiteX1" fmla="*/ 416044 w 585761"/>
                <a:gd name="connsiteY1" fmla="*/ 683824 h 770779"/>
                <a:gd name="connsiteX2" fmla="*/ 12330 w 585761"/>
                <a:gd name="connsiteY2" fmla="*/ 734031 h 770779"/>
                <a:gd name="connsiteX3" fmla="*/ 104797 w 585761"/>
                <a:gd name="connsiteY3" fmla="*/ 683872 h 770779"/>
                <a:gd name="connsiteX4" fmla="*/ 113150 w 585761"/>
                <a:gd name="connsiteY4" fmla="*/ 552061 h 770779"/>
                <a:gd name="connsiteX5" fmla="*/ 92537 w 585761"/>
                <a:gd name="connsiteY5" fmla="*/ 419274 h 770779"/>
                <a:gd name="connsiteX6" fmla="*/ 80821 w 585761"/>
                <a:gd name="connsiteY6" fmla="*/ 346841 h 770779"/>
                <a:gd name="connsiteX7" fmla="*/ 117273 w 585761"/>
                <a:gd name="connsiteY7" fmla="*/ 324456 h 770779"/>
                <a:gd name="connsiteX8" fmla="*/ 172240 w 585761"/>
                <a:gd name="connsiteY8" fmla="*/ 291402 h 770779"/>
                <a:gd name="connsiteX9" fmla="*/ 231546 w 585761"/>
                <a:gd name="connsiteY9" fmla="*/ 222839 h 770779"/>
                <a:gd name="connsiteX10" fmla="*/ 292371 w 585761"/>
                <a:gd name="connsiteY10" fmla="*/ 207724 h 770779"/>
                <a:gd name="connsiteX11" fmla="*/ 350736 w 585761"/>
                <a:gd name="connsiteY11" fmla="*/ 197996 h 770779"/>
                <a:gd name="connsiteX12" fmla="*/ 405702 w 585761"/>
                <a:gd name="connsiteY12" fmla="*/ 198937 h 770779"/>
                <a:gd name="connsiteX13" fmla="*/ 431127 w 585761"/>
                <a:gd name="connsiteY13" fmla="*/ 152287 h 770779"/>
                <a:gd name="connsiteX14" fmla="*/ 433712 w 585761"/>
                <a:gd name="connsiteY14" fmla="*/ 14196 h 770779"/>
                <a:gd name="connsiteX15" fmla="*/ 431071 w 585761"/>
                <a:gd name="connsiteY15" fmla="*/ 2973 h 770779"/>
                <a:gd name="connsiteX0" fmla="*/ 585761 w 585761"/>
                <a:gd name="connsiteY0" fmla="*/ 770549 h 770549"/>
                <a:gd name="connsiteX1" fmla="*/ 416044 w 585761"/>
                <a:gd name="connsiteY1" fmla="*/ 683824 h 770549"/>
                <a:gd name="connsiteX2" fmla="*/ 12330 w 585761"/>
                <a:gd name="connsiteY2" fmla="*/ 734031 h 770549"/>
                <a:gd name="connsiteX3" fmla="*/ 104797 w 585761"/>
                <a:gd name="connsiteY3" fmla="*/ 683872 h 770549"/>
                <a:gd name="connsiteX4" fmla="*/ 113150 w 585761"/>
                <a:gd name="connsiteY4" fmla="*/ 552061 h 770549"/>
                <a:gd name="connsiteX5" fmla="*/ 92537 w 585761"/>
                <a:gd name="connsiteY5" fmla="*/ 419274 h 770549"/>
                <a:gd name="connsiteX6" fmla="*/ 80821 w 585761"/>
                <a:gd name="connsiteY6" fmla="*/ 346841 h 770549"/>
                <a:gd name="connsiteX7" fmla="*/ 117273 w 585761"/>
                <a:gd name="connsiteY7" fmla="*/ 324456 h 770549"/>
                <a:gd name="connsiteX8" fmla="*/ 172240 w 585761"/>
                <a:gd name="connsiteY8" fmla="*/ 291402 h 770549"/>
                <a:gd name="connsiteX9" fmla="*/ 231546 w 585761"/>
                <a:gd name="connsiteY9" fmla="*/ 222839 h 770549"/>
                <a:gd name="connsiteX10" fmla="*/ 292371 w 585761"/>
                <a:gd name="connsiteY10" fmla="*/ 207724 h 770549"/>
                <a:gd name="connsiteX11" fmla="*/ 350736 w 585761"/>
                <a:gd name="connsiteY11" fmla="*/ 197996 h 770549"/>
                <a:gd name="connsiteX12" fmla="*/ 405702 w 585761"/>
                <a:gd name="connsiteY12" fmla="*/ 198937 h 770549"/>
                <a:gd name="connsiteX13" fmla="*/ 431127 w 585761"/>
                <a:gd name="connsiteY13" fmla="*/ 152287 h 770549"/>
                <a:gd name="connsiteX14" fmla="*/ 433712 w 585761"/>
                <a:gd name="connsiteY14" fmla="*/ 14196 h 770549"/>
                <a:gd name="connsiteX15" fmla="*/ 431071 w 585761"/>
                <a:gd name="connsiteY15" fmla="*/ 2973 h 770549"/>
                <a:gd name="connsiteX0" fmla="*/ 585761 w 585761"/>
                <a:gd name="connsiteY0" fmla="*/ 770549 h 770549"/>
                <a:gd name="connsiteX1" fmla="*/ 416044 w 585761"/>
                <a:gd name="connsiteY1" fmla="*/ 683824 h 770549"/>
                <a:gd name="connsiteX2" fmla="*/ 12330 w 585761"/>
                <a:gd name="connsiteY2" fmla="*/ 734031 h 770549"/>
                <a:gd name="connsiteX3" fmla="*/ 104797 w 585761"/>
                <a:gd name="connsiteY3" fmla="*/ 683872 h 770549"/>
                <a:gd name="connsiteX4" fmla="*/ 113150 w 585761"/>
                <a:gd name="connsiteY4" fmla="*/ 552061 h 770549"/>
                <a:gd name="connsiteX5" fmla="*/ 92537 w 585761"/>
                <a:gd name="connsiteY5" fmla="*/ 419274 h 770549"/>
                <a:gd name="connsiteX6" fmla="*/ 80821 w 585761"/>
                <a:gd name="connsiteY6" fmla="*/ 346841 h 770549"/>
                <a:gd name="connsiteX7" fmla="*/ 117273 w 585761"/>
                <a:gd name="connsiteY7" fmla="*/ 324456 h 770549"/>
                <a:gd name="connsiteX8" fmla="*/ 172240 w 585761"/>
                <a:gd name="connsiteY8" fmla="*/ 291402 h 770549"/>
                <a:gd name="connsiteX9" fmla="*/ 231546 w 585761"/>
                <a:gd name="connsiteY9" fmla="*/ 222839 h 770549"/>
                <a:gd name="connsiteX10" fmla="*/ 292371 w 585761"/>
                <a:gd name="connsiteY10" fmla="*/ 207724 h 770549"/>
                <a:gd name="connsiteX11" fmla="*/ 350736 w 585761"/>
                <a:gd name="connsiteY11" fmla="*/ 197996 h 770549"/>
                <a:gd name="connsiteX12" fmla="*/ 405702 w 585761"/>
                <a:gd name="connsiteY12" fmla="*/ 198937 h 770549"/>
                <a:gd name="connsiteX13" fmla="*/ 431127 w 585761"/>
                <a:gd name="connsiteY13" fmla="*/ 152287 h 770549"/>
                <a:gd name="connsiteX14" fmla="*/ 433712 w 585761"/>
                <a:gd name="connsiteY14" fmla="*/ 14196 h 770549"/>
                <a:gd name="connsiteX15" fmla="*/ 431071 w 585761"/>
                <a:gd name="connsiteY15" fmla="*/ 2973 h 770549"/>
                <a:gd name="connsiteX0" fmla="*/ 505728 w 505728"/>
                <a:gd name="connsiteY0" fmla="*/ 770549 h 770549"/>
                <a:gd name="connsiteX1" fmla="*/ 336011 w 505728"/>
                <a:gd name="connsiteY1" fmla="*/ 683824 h 770549"/>
                <a:gd name="connsiteX2" fmla="*/ 271241 w 505728"/>
                <a:gd name="connsiteY2" fmla="*/ 624797 h 770549"/>
                <a:gd name="connsiteX3" fmla="*/ 24764 w 505728"/>
                <a:gd name="connsiteY3" fmla="*/ 683872 h 770549"/>
                <a:gd name="connsiteX4" fmla="*/ 33117 w 505728"/>
                <a:gd name="connsiteY4" fmla="*/ 552061 h 770549"/>
                <a:gd name="connsiteX5" fmla="*/ 12504 w 505728"/>
                <a:gd name="connsiteY5" fmla="*/ 419274 h 770549"/>
                <a:gd name="connsiteX6" fmla="*/ 788 w 505728"/>
                <a:gd name="connsiteY6" fmla="*/ 346841 h 770549"/>
                <a:gd name="connsiteX7" fmla="*/ 37240 w 505728"/>
                <a:gd name="connsiteY7" fmla="*/ 324456 h 770549"/>
                <a:gd name="connsiteX8" fmla="*/ 92207 w 505728"/>
                <a:gd name="connsiteY8" fmla="*/ 291402 h 770549"/>
                <a:gd name="connsiteX9" fmla="*/ 151513 w 505728"/>
                <a:gd name="connsiteY9" fmla="*/ 222839 h 770549"/>
                <a:gd name="connsiteX10" fmla="*/ 212338 w 505728"/>
                <a:gd name="connsiteY10" fmla="*/ 207724 h 770549"/>
                <a:gd name="connsiteX11" fmla="*/ 270703 w 505728"/>
                <a:gd name="connsiteY11" fmla="*/ 197996 h 770549"/>
                <a:gd name="connsiteX12" fmla="*/ 325669 w 505728"/>
                <a:gd name="connsiteY12" fmla="*/ 198937 h 770549"/>
                <a:gd name="connsiteX13" fmla="*/ 351094 w 505728"/>
                <a:gd name="connsiteY13" fmla="*/ 152287 h 770549"/>
                <a:gd name="connsiteX14" fmla="*/ 353679 w 505728"/>
                <a:gd name="connsiteY14" fmla="*/ 14196 h 770549"/>
                <a:gd name="connsiteX15" fmla="*/ 351038 w 505728"/>
                <a:gd name="connsiteY15" fmla="*/ 2973 h 770549"/>
                <a:gd name="connsiteX0" fmla="*/ 505728 w 505728"/>
                <a:gd name="connsiteY0" fmla="*/ 770549 h 770549"/>
                <a:gd name="connsiteX1" fmla="*/ 336011 w 505728"/>
                <a:gd name="connsiteY1" fmla="*/ 683824 h 770549"/>
                <a:gd name="connsiteX2" fmla="*/ 271241 w 505728"/>
                <a:gd name="connsiteY2" fmla="*/ 624797 h 770549"/>
                <a:gd name="connsiteX3" fmla="*/ 24764 w 505728"/>
                <a:gd name="connsiteY3" fmla="*/ 683872 h 770549"/>
                <a:gd name="connsiteX4" fmla="*/ 33117 w 505728"/>
                <a:gd name="connsiteY4" fmla="*/ 552061 h 770549"/>
                <a:gd name="connsiteX5" fmla="*/ 12504 w 505728"/>
                <a:gd name="connsiteY5" fmla="*/ 419274 h 770549"/>
                <a:gd name="connsiteX6" fmla="*/ 788 w 505728"/>
                <a:gd name="connsiteY6" fmla="*/ 346841 h 770549"/>
                <a:gd name="connsiteX7" fmla="*/ 37240 w 505728"/>
                <a:gd name="connsiteY7" fmla="*/ 324456 h 770549"/>
                <a:gd name="connsiteX8" fmla="*/ 92207 w 505728"/>
                <a:gd name="connsiteY8" fmla="*/ 291402 h 770549"/>
                <a:gd name="connsiteX9" fmla="*/ 151513 w 505728"/>
                <a:gd name="connsiteY9" fmla="*/ 222839 h 770549"/>
                <a:gd name="connsiteX10" fmla="*/ 212338 w 505728"/>
                <a:gd name="connsiteY10" fmla="*/ 207724 h 770549"/>
                <a:gd name="connsiteX11" fmla="*/ 270703 w 505728"/>
                <a:gd name="connsiteY11" fmla="*/ 197996 h 770549"/>
                <a:gd name="connsiteX12" fmla="*/ 325669 w 505728"/>
                <a:gd name="connsiteY12" fmla="*/ 198937 h 770549"/>
                <a:gd name="connsiteX13" fmla="*/ 351094 w 505728"/>
                <a:gd name="connsiteY13" fmla="*/ 152287 h 770549"/>
                <a:gd name="connsiteX14" fmla="*/ 353679 w 505728"/>
                <a:gd name="connsiteY14" fmla="*/ 14196 h 770549"/>
                <a:gd name="connsiteX15" fmla="*/ 351038 w 505728"/>
                <a:gd name="connsiteY15" fmla="*/ 2973 h 770549"/>
                <a:gd name="connsiteX0" fmla="*/ 505728 w 505728"/>
                <a:gd name="connsiteY0" fmla="*/ 770549 h 770549"/>
                <a:gd name="connsiteX1" fmla="*/ 336011 w 505728"/>
                <a:gd name="connsiteY1" fmla="*/ 683824 h 770549"/>
                <a:gd name="connsiteX2" fmla="*/ 271241 w 505728"/>
                <a:gd name="connsiteY2" fmla="*/ 624797 h 770549"/>
                <a:gd name="connsiteX3" fmla="*/ 212792 w 505728"/>
                <a:gd name="connsiteY3" fmla="*/ 550891 h 770549"/>
                <a:gd name="connsiteX4" fmla="*/ 33117 w 505728"/>
                <a:gd name="connsiteY4" fmla="*/ 552061 h 770549"/>
                <a:gd name="connsiteX5" fmla="*/ 12504 w 505728"/>
                <a:gd name="connsiteY5" fmla="*/ 419274 h 770549"/>
                <a:gd name="connsiteX6" fmla="*/ 788 w 505728"/>
                <a:gd name="connsiteY6" fmla="*/ 346841 h 770549"/>
                <a:gd name="connsiteX7" fmla="*/ 37240 w 505728"/>
                <a:gd name="connsiteY7" fmla="*/ 324456 h 770549"/>
                <a:gd name="connsiteX8" fmla="*/ 92207 w 505728"/>
                <a:gd name="connsiteY8" fmla="*/ 291402 h 770549"/>
                <a:gd name="connsiteX9" fmla="*/ 151513 w 505728"/>
                <a:gd name="connsiteY9" fmla="*/ 222839 h 770549"/>
                <a:gd name="connsiteX10" fmla="*/ 212338 w 505728"/>
                <a:gd name="connsiteY10" fmla="*/ 207724 h 770549"/>
                <a:gd name="connsiteX11" fmla="*/ 270703 w 505728"/>
                <a:gd name="connsiteY11" fmla="*/ 197996 h 770549"/>
                <a:gd name="connsiteX12" fmla="*/ 325669 w 505728"/>
                <a:gd name="connsiteY12" fmla="*/ 198937 h 770549"/>
                <a:gd name="connsiteX13" fmla="*/ 351094 w 505728"/>
                <a:gd name="connsiteY13" fmla="*/ 152287 h 770549"/>
                <a:gd name="connsiteX14" fmla="*/ 353679 w 505728"/>
                <a:gd name="connsiteY14" fmla="*/ 14196 h 770549"/>
                <a:gd name="connsiteX15" fmla="*/ 351038 w 505728"/>
                <a:gd name="connsiteY15" fmla="*/ 2973 h 770549"/>
                <a:gd name="connsiteX0" fmla="*/ 505728 w 505728"/>
                <a:gd name="connsiteY0" fmla="*/ 770549 h 770549"/>
                <a:gd name="connsiteX1" fmla="*/ 336011 w 505728"/>
                <a:gd name="connsiteY1" fmla="*/ 683824 h 770549"/>
                <a:gd name="connsiteX2" fmla="*/ 271241 w 505728"/>
                <a:gd name="connsiteY2" fmla="*/ 624797 h 770549"/>
                <a:gd name="connsiteX3" fmla="*/ 212792 w 505728"/>
                <a:gd name="connsiteY3" fmla="*/ 550891 h 770549"/>
                <a:gd name="connsiteX4" fmla="*/ 33117 w 505728"/>
                <a:gd name="connsiteY4" fmla="*/ 552061 h 770549"/>
                <a:gd name="connsiteX5" fmla="*/ 12504 w 505728"/>
                <a:gd name="connsiteY5" fmla="*/ 419274 h 770549"/>
                <a:gd name="connsiteX6" fmla="*/ 788 w 505728"/>
                <a:gd name="connsiteY6" fmla="*/ 346841 h 770549"/>
                <a:gd name="connsiteX7" fmla="*/ 37240 w 505728"/>
                <a:gd name="connsiteY7" fmla="*/ 324456 h 770549"/>
                <a:gd name="connsiteX8" fmla="*/ 92207 w 505728"/>
                <a:gd name="connsiteY8" fmla="*/ 291402 h 770549"/>
                <a:gd name="connsiteX9" fmla="*/ 151513 w 505728"/>
                <a:gd name="connsiteY9" fmla="*/ 222839 h 770549"/>
                <a:gd name="connsiteX10" fmla="*/ 212338 w 505728"/>
                <a:gd name="connsiteY10" fmla="*/ 207724 h 770549"/>
                <a:gd name="connsiteX11" fmla="*/ 270703 w 505728"/>
                <a:gd name="connsiteY11" fmla="*/ 197996 h 770549"/>
                <a:gd name="connsiteX12" fmla="*/ 325669 w 505728"/>
                <a:gd name="connsiteY12" fmla="*/ 198937 h 770549"/>
                <a:gd name="connsiteX13" fmla="*/ 351094 w 505728"/>
                <a:gd name="connsiteY13" fmla="*/ 152287 h 770549"/>
                <a:gd name="connsiteX14" fmla="*/ 353679 w 505728"/>
                <a:gd name="connsiteY14" fmla="*/ 14196 h 770549"/>
                <a:gd name="connsiteX15" fmla="*/ 351038 w 505728"/>
                <a:gd name="connsiteY15" fmla="*/ 2973 h 770549"/>
                <a:gd name="connsiteX0" fmla="*/ 505728 w 505728"/>
                <a:gd name="connsiteY0" fmla="*/ 770549 h 770549"/>
                <a:gd name="connsiteX1" fmla="*/ 336011 w 505728"/>
                <a:gd name="connsiteY1" fmla="*/ 683824 h 770549"/>
                <a:gd name="connsiteX2" fmla="*/ 271241 w 505728"/>
                <a:gd name="connsiteY2" fmla="*/ 624797 h 770549"/>
                <a:gd name="connsiteX3" fmla="*/ 212792 w 505728"/>
                <a:gd name="connsiteY3" fmla="*/ 550891 h 770549"/>
                <a:gd name="connsiteX4" fmla="*/ 149398 w 505728"/>
                <a:gd name="connsiteY4" fmla="*/ 478446 h 770549"/>
                <a:gd name="connsiteX5" fmla="*/ 12504 w 505728"/>
                <a:gd name="connsiteY5" fmla="*/ 419274 h 770549"/>
                <a:gd name="connsiteX6" fmla="*/ 788 w 505728"/>
                <a:gd name="connsiteY6" fmla="*/ 346841 h 770549"/>
                <a:gd name="connsiteX7" fmla="*/ 37240 w 505728"/>
                <a:gd name="connsiteY7" fmla="*/ 324456 h 770549"/>
                <a:gd name="connsiteX8" fmla="*/ 92207 w 505728"/>
                <a:gd name="connsiteY8" fmla="*/ 291402 h 770549"/>
                <a:gd name="connsiteX9" fmla="*/ 151513 w 505728"/>
                <a:gd name="connsiteY9" fmla="*/ 222839 h 770549"/>
                <a:gd name="connsiteX10" fmla="*/ 212338 w 505728"/>
                <a:gd name="connsiteY10" fmla="*/ 207724 h 770549"/>
                <a:gd name="connsiteX11" fmla="*/ 270703 w 505728"/>
                <a:gd name="connsiteY11" fmla="*/ 197996 h 770549"/>
                <a:gd name="connsiteX12" fmla="*/ 325669 w 505728"/>
                <a:gd name="connsiteY12" fmla="*/ 198937 h 770549"/>
                <a:gd name="connsiteX13" fmla="*/ 351094 w 505728"/>
                <a:gd name="connsiteY13" fmla="*/ 152287 h 770549"/>
                <a:gd name="connsiteX14" fmla="*/ 353679 w 505728"/>
                <a:gd name="connsiteY14" fmla="*/ 14196 h 770549"/>
                <a:gd name="connsiteX15" fmla="*/ 351038 w 505728"/>
                <a:gd name="connsiteY15" fmla="*/ 2973 h 770549"/>
                <a:gd name="connsiteX0" fmla="*/ 506256 w 506256"/>
                <a:gd name="connsiteY0" fmla="*/ 770549 h 770549"/>
                <a:gd name="connsiteX1" fmla="*/ 336539 w 506256"/>
                <a:gd name="connsiteY1" fmla="*/ 683824 h 770549"/>
                <a:gd name="connsiteX2" fmla="*/ 271769 w 506256"/>
                <a:gd name="connsiteY2" fmla="*/ 624797 h 770549"/>
                <a:gd name="connsiteX3" fmla="*/ 213320 w 506256"/>
                <a:gd name="connsiteY3" fmla="*/ 550891 h 770549"/>
                <a:gd name="connsiteX4" fmla="*/ 149926 w 506256"/>
                <a:gd name="connsiteY4" fmla="*/ 478446 h 770549"/>
                <a:gd name="connsiteX5" fmla="*/ 84779 w 506256"/>
                <a:gd name="connsiteY5" fmla="*/ 386029 h 770549"/>
                <a:gd name="connsiteX6" fmla="*/ 1316 w 506256"/>
                <a:gd name="connsiteY6" fmla="*/ 346841 h 770549"/>
                <a:gd name="connsiteX7" fmla="*/ 37768 w 506256"/>
                <a:gd name="connsiteY7" fmla="*/ 324456 h 770549"/>
                <a:gd name="connsiteX8" fmla="*/ 92735 w 506256"/>
                <a:gd name="connsiteY8" fmla="*/ 291402 h 770549"/>
                <a:gd name="connsiteX9" fmla="*/ 152041 w 506256"/>
                <a:gd name="connsiteY9" fmla="*/ 222839 h 770549"/>
                <a:gd name="connsiteX10" fmla="*/ 212866 w 506256"/>
                <a:gd name="connsiteY10" fmla="*/ 207724 h 770549"/>
                <a:gd name="connsiteX11" fmla="*/ 271231 w 506256"/>
                <a:gd name="connsiteY11" fmla="*/ 197996 h 770549"/>
                <a:gd name="connsiteX12" fmla="*/ 326197 w 506256"/>
                <a:gd name="connsiteY12" fmla="*/ 198937 h 770549"/>
                <a:gd name="connsiteX13" fmla="*/ 351622 w 506256"/>
                <a:gd name="connsiteY13" fmla="*/ 152287 h 770549"/>
                <a:gd name="connsiteX14" fmla="*/ 354207 w 506256"/>
                <a:gd name="connsiteY14" fmla="*/ 14196 h 770549"/>
                <a:gd name="connsiteX15" fmla="*/ 351566 w 506256"/>
                <a:gd name="connsiteY15" fmla="*/ 2973 h 770549"/>
                <a:gd name="connsiteX0" fmla="*/ 506256 w 506256"/>
                <a:gd name="connsiteY0" fmla="*/ 770549 h 770549"/>
                <a:gd name="connsiteX1" fmla="*/ 336539 w 506256"/>
                <a:gd name="connsiteY1" fmla="*/ 683824 h 770549"/>
                <a:gd name="connsiteX2" fmla="*/ 271769 w 506256"/>
                <a:gd name="connsiteY2" fmla="*/ 624797 h 770549"/>
                <a:gd name="connsiteX3" fmla="*/ 213320 w 506256"/>
                <a:gd name="connsiteY3" fmla="*/ 550891 h 770549"/>
                <a:gd name="connsiteX4" fmla="*/ 149926 w 506256"/>
                <a:gd name="connsiteY4" fmla="*/ 478446 h 770549"/>
                <a:gd name="connsiteX5" fmla="*/ 84779 w 506256"/>
                <a:gd name="connsiteY5" fmla="*/ 386029 h 770549"/>
                <a:gd name="connsiteX6" fmla="*/ 1316 w 506256"/>
                <a:gd name="connsiteY6" fmla="*/ 346841 h 770549"/>
                <a:gd name="connsiteX7" fmla="*/ 37768 w 506256"/>
                <a:gd name="connsiteY7" fmla="*/ 324456 h 770549"/>
                <a:gd name="connsiteX8" fmla="*/ 92735 w 506256"/>
                <a:gd name="connsiteY8" fmla="*/ 291402 h 770549"/>
                <a:gd name="connsiteX9" fmla="*/ 152041 w 506256"/>
                <a:gd name="connsiteY9" fmla="*/ 222839 h 770549"/>
                <a:gd name="connsiteX10" fmla="*/ 212866 w 506256"/>
                <a:gd name="connsiteY10" fmla="*/ 207724 h 770549"/>
                <a:gd name="connsiteX11" fmla="*/ 271231 w 506256"/>
                <a:gd name="connsiteY11" fmla="*/ 197996 h 770549"/>
                <a:gd name="connsiteX12" fmla="*/ 326197 w 506256"/>
                <a:gd name="connsiteY12" fmla="*/ 198937 h 770549"/>
                <a:gd name="connsiteX13" fmla="*/ 351622 w 506256"/>
                <a:gd name="connsiteY13" fmla="*/ 152287 h 770549"/>
                <a:gd name="connsiteX14" fmla="*/ 354207 w 506256"/>
                <a:gd name="connsiteY14" fmla="*/ 14196 h 770549"/>
                <a:gd name="connsiteX15" fmla="*/ 351566 w 506256"/>
                <a:gd name="connsiteY15" fmla="*/ 2973 h 770549"/>
                <a:gd name="connsiteX0" fmla="*/ 506256 w 506256"/>
                <a:gd name="connsiteY0" fmla="*/ 770549 h 770549"/>
                <a:gd name="connsiteX1" fmla="*/ 336539 w 506256"/>
                <a:gd name="connsiteY1" fmla="*/ 683824 h 770549"/>
                <a:gd name="connsiteX2" fmla="*/ 271769 w 506256"/>
                <a:gd name="connsiteY2" fmla="*/ 624797 h 770549"/>
                <a:gd name="connsiteX3" fmla="*/ 213320 w 506256"/>
                <a:gd name="connsiteY3" fmla="*/ 550891 h 770549"/>
                <a:gd name="connsiteX4" fmla="*/ 149926 w 506256"/>
                <a:gd name="connsiteY4" fmla="*/ 478446 h 770549"/>
                <a:gd name="connsiteX5" fmla="*/ 84779 w 506256"/>
                <a:gd name="connsiteY5" fmla="*/ 386029 h 770549"/>
                <a:gd name="connsiteX6" fmla="*/ 1316 w 506256"/>
                <a:gd name="connsiteY6" fmla="*/ 346841 h 770549"/>
                <a:gd name="connsiteX7" fmla="*/ 37768 w 506256"/>
                <a:gd name="connsiteY7" fmla="*/ 324456 h 770549"/>
                <a:gd name="connsiteX8" fmla="*/ 92735 w 506256"/>
                <a:gd name="connsiteY8" fmla="*/ 291402 h 770549"/>
                <a:gd name="connsiteX9" fmla="*/ 152041 w 506256"/>
                <a:gd name="connsiteY9" fmla="*/ 222839 h 770549"/>
                <a:gd name="connsiteX10" fmla="*/ 212866 w 506256"/>
                <a:gd name="connsiteY10" fmla="*/ 207724 h 770549"/>
                <a:gd name="connsiteX11" fmla="*/ 271231 w 506256"/>
                <a:gd name="connsiteY11" fmla="*/ 197996 h 770549"/>
                <a:gd name="connsiteX12" fmla="*/ 326197 w 506256"/>
                <a:gd name="connsiteY12" fmla="*/ 198937 h 770549"/>
                <a:gd name="connsiteX13" fmla="*/ 351622 w 506256"/>
                <a:gd name="connsiteY13" fmla="*/ 152287 h 770549"/>
                <a:gd name="connsiteX14" fmla="*/ 354207 w 506256"/>
                <a:gd name="connsiteY14" fmla="*/ 14196 h 770549"/>
                <a:gd name="connsiteX15" fmla="*/ 351566 w 506256"/>
                <a:gd name="connsiteY15" fmla="*/ 2973 h 770549"/>
                <a:gd name="connsiteX0" fmla="*/ 506256 w 506256"/>
                <a:gd name="connsiteY0" fmla="*/ 770549 h 770549"/>
                <a:gd name="connsiteX1" fmla="*/ 336539 w 506256"/>
                <a:gd name="connsiteY1" fmla="*/ 683824 h 770549"/>
                <a:gd name="connsiteX2" fmla="*/ 271769 w 506256"/>
                <a:gd name="connsiteY2" fmla="*/ 624797 h 770549"/>
                <a:gd name="connsiteX3" fmla="*/ 213320 w 506256"/>
                <a:gd name="connsiteY3" fmla="*/ 550891 h 770549"/>
                <a:gd name="connsiteX4" fmla="*/ 149926 w 506256"/>
                <a:gd name="connsiteY4" fmla="*/ 478446 h 770549"/>
                <a:gd name="connsiteX5" fmla="*/ 84779 w 506256"/>
                <a:gd name="connsiteY5" fmla="*/ 386029 h 770549"/>
                <a:gd name="connsiteX6" fmla="*/ 1316 w 506256"/>
                <a:gd name="connsiteY6" fmla="*/ 346841 h 770549"/>
                <a:gd name="connsiteX7" fmla="*/ 37768 w 506256"/>
                <a:gd name="connsiteY7" fmla="*/ 324456 h 770549"/>
                <a:gd name="connsiteX8" fmla="*/ 92735 w 506256"/>
                <a:gd name="connsiteY8" fmla="*/ 284278 h 770549"/>
                <a:gd name="connsiteX9" fmla="*/ 152041 w 506256"/>
                <a:gd name="connsiteY9" fmla="*/ 222839 h 770549"/>
                <a:gd name="connsiteX10" fmla="*/ 212866 w 506256"/>
                <a:gd name="connsiteY10" fmla="*/ 207724 h 770549"/>
                <a:gd name="connsiteX11" fmla="*/ 271231 w 506256"/>
                <a:gd name="connsiteY11" fmla="*/ 197996 h 770549"/>
                <a:gd name="connsiteX12" fmla="*/ 326197 w 506256"/>
                <a:gd name="connsiteY12" fmla="*/ 198937 h 770549"/>
                <a:gd name="connsiteX13" fmla="*/ 351622 w 506256"/>
                <a:gd name="connsiteY13" fmla="*/ 152287 h 770549"/>
                <a:gd name="connsiteX14" fmla="*/ 354207 w 506256"/>
                <a:gd name="connsiteY14" fmla="*/ 14196 h 770549"/>
                <a:gd name="connsiteX15" fmla="*/ 351566 w 506256"/>
                <a:gd name="connsiteY15" fmla="*/ 2973 h 770549"/>
                <a:gd name="connsiteX0" fmla="*/ 506256 w 506256"/>
                <a:gd name="connsiteY0" fmla="*/ 770549 h 770549"/>
                <a:gd name="connsiteX1" fmla="*/ 336539 w 506256"/>
                <a:gd name="connsiteY1" fmla="*/ 683824 h 770549"/>
                <a:gd name="connsiteX2" fmla="*/ 271769 w 506256"/>
                <a:gd name="connsiteY2" fmla="*/ 624797 h 770549"/>
                <a:gd name="connsiteX3" fmla="*/ 213320 w 506256"/>
                <a:gd name="connsiteY3" fmla="*/ 550891 h 770549"/>
                <a:gd name="connsiteX4" fmla="*/ 149926 w 506256"/>
                <a:gd name="connsiteY4" fmla="*/ 478446 h 770549"/>
                <a:gd name="connsiteX5" fmla="*/ 84779 w 506256"/>
                <a:gd name="connsiteY5" fmla="*/ 386029 h 770549"/>
                <a:gd name="connsiteX6" fmla="*/ 1316 w 506256"/>
                <a:gd name="connsiteY6" fmla="*/ 346841 h 770549"/>
                <a:gd name="connsiteX7" fmla="*/ 37768 w 506256"/>
                <a:gd name="connsiteY7" fmla="*/ 324456 h 770549"/>
                <a:gd name="connsiteX8" fmla="*/ 92735 w 506256"/>
                <a:gd name="connsiteY8" fmla="*/ 284278 h 770549"/>
                <a:gd name="connsiteX9" fmla="*/ 152041 w 506256"/>
                <a:gd name="connsiteY9" fmla="*/ 222839 h 770549"/>
                <a:gd name="connsiteX10" fmla="*/ 215340 w 506256"/>
                <a:gd name="connsiteY10" fmla="*/ 195851 h 770549"/>
                <a:gd name="connsiteX11" fmla="*/ 271231 w 506256"/>
                <a:gd name="connsiteY11" fmla="*/ 197996 h 770549"/>
                <a:gd name="connsiteX12" fmla="*/ 326197 w 506256"/>
                <a:gd name="connsiteY12" fmla="*/ 198937 h 770549"/>
                <a:gd name="connsiteX13" fmla="*/ 351622 w 506256"/>
                <a:gd name="connsiteY13" fmla="*/ 152287 h 770549"/>
                <a:gd name="connsiteX14" fmla="*/ 354207 w 506256"/>
                <a:gd name="connsiteY14" fmla="*/ 14196 h 770549"/>
                <a:gd name="connsiteX15" fmla="*/ 351566 w 506256"/>
                <a:gd name="connsiteY15" fmla="*/ 2973 h 770549"/>
                <a:gd name="connsiteX0" fmla="*/ 506256 w 506256"/>
                <a:gd name="connsiteY0" fmla="*/ 770549 h 770549"/>
                <a:gd name="connsiteX1" fmla="*/ 336539 w 506256"/>
                <a:gd name="connsiteY1" fmla="*/ 683824 h 770549"/>
                <a:gd name="connsiteX2" fmla="*/ 271769 w 506256"/>
                <a:gd name="connsiteY2" fmla="*/ 624797 h 770549"/>
                <a:gd name="connsiteX3" fmla="*/ 213320 w 506256"/>
                <a:gd name="connsiteY3" fmla="*/ 550891 h 770549"/>
                <a:gd name="connsiteX4" fmla="*/ 149926 w 506256"/>
                <a:gd name="connsiteY4" fmla="*/ 478446 h 770549"/>
                <a:gd name="connsiteX5" fmla="*/ 84779 w 506256"/>
                <a:gd name="connsiteY5" fmla="*/ 386029 h 770549"/>
                <a:gd name="connsiteX6" fmla="*/ 1316 w 506256"/>
                <a:gd name="connsiteY6" fmla="*/ 346841 h 770549"/>
                <a:gd name="connsiteX7" fmla="*/ 37768 w 506256"/>
                <a:gd name="connsiteY7" fmla="*/ 324456 h 770549"/>
                <a:gd name="connsiteX8" fmla="*/ 92735 w 506256"/>
                <a:gd name="connsiteY8" fmla="*/ 284278 h 770549"/>
                <a:gd name="connsiteX9" fmla="*/ 152041 w 506256"/>
                <a:gd name="connsiteY9" fmla="*/ 222839 h 770549"/>
                <a:gd name="connsiteX10" fmla="*/ 215340 w 506256"/>
                <a:gd name="connsiteY10" fmla="*/ 195851 h 770549"/>
                <a:gd name="connsiteX11" fmla="*/ 278653 w 506256"/>
                <a:gd name="connsiteY11" fmla="*/ 186123 h 770549"/>
                <a:gd name="connsiteX12" fmla="*/ 326197 w 506256"/>
                <a:gd name="connsiteY12" fmla="*/ 198937 h 770549"/>
                <a:gd name="connsiteX13" fmla="*/ 351622 w 506256"/>
                <a:gd name="connsiteY13" fmla="*/ 152287 h 770549"/>
                <a:gd name="connsiteX14" fmla="*/ 354207 w 506256"/>
                <a:gd name="connsiteY14" fmla="*/ 14196 h 770549"/>
                <a:gd name="connsiteX15" fmla="*/ 351566 w 506256"/>
                <a:gd name="connsiteY15" fmla="*/ 2973 h 770549"/>
                <a:gd name="connsiteX0" fmla="*/ 506256 w 506256"/>
                <a:gd name="connsiteY0" fmla="*/ 774700 h 774700"/>
                <a:gd name="connsiteX1" fmla="*/ 336539 w 506256"/>
                <a:gd name="connsiteY1" fmla="*/ 687975 h 774700"/>
                <a:gd name="connsiteX2" fmla="*/ 271769 w 506256"/>
                <a:gd name="connsiteY2" fmla="*/ 628948 h 774700"/>
                <a:gd name="connsiteX3" fmla="*/ 213320 w 506256"/>
                <a:gd name="connsiteY3" fmla="*/ 555042 h 774700"/>
                <a:gd name="connsiteX4" fmla="*/ 149926 w 506256"/>
                <a:gd name="connsiteY4" fmla="*/ 482597 h 774700"/>
                <a:gd name="connsiteX5" fmla="*/ 84779 w 506256"/>
                <a:gd name="connsiteY5" fmla="*/ 390180 h 774700"/>
                <a:gd name="connsiteX6" fmla="*/ 1316 w 506256"/>
                <a:gd name="connsiteY6" fmla="*/ 350992 h 774700"/>
                <a:gd name="connsiteX7" fmla="*/ 37768 w 506256"/>
                <a:gd name="connsiteY7" fmla="*/ 328607 h 774700"/>
                <a:gd name="connsiteX8" fmla="*/ 92735 w 506256"/>
                <a:gd name="connsiteY8" fmla="*/ 288429 h 774700"/>
                <a:gd name="connsiteX9" fmla="*/ 152041 w 506256"/>
                <a:gd name="connsiteY9" fmla="*/ 226990 h 774700"/>
                <a:gd name="connsiteX10" fmla="*/ 215340 w 506256"/>
                <a:gd name="connsiteY10" fmla="*/ 200002 h 774700"/>
                <a:gd name="connsiteX11" fmla="*/ 278653 w 506256"/>
                <a:gd name="connsiteY11" fmla="*/ 190274 h 774700"/>
                <a:gd name="connsiteX12" fmla="*/ 326197 w 506256"/>
                <a:gd name="connsiteY12" fmla="*/ 203088 h 774700"/>
                <a:gd name="connsiteX13" fmla="*/ 351622 w 506256"/>
                <a:gd name="connsiteY13" fmla="*/ 156438 h 774700"/>
                <a:gd name="connsiteX14" fmla="*/ 354207 w 506256"/>
                <a:gd name="connsiteY14" fmla="*/ 18347 h 774700"/>
                <a:gd name="connsiteX15" fmla="*/ 354040 w 506256"/>
                <a:gd name="connsiteY15" fmla="*/ 0 h 774700"/>
                <a:gd name="connsiteX0" fmla="*/ 506256 w 506256"/>
                <a:gd name="connsiteY0" fmla="*/ 756353 h 756353"/>
                <a:gd name="connsiteX1" fmla="*/ 336539 w 506256"/>
                <a:gd name="connsiteY1" fmla="*/ 669628 h 756353"/>
                <a:gd name="connsiteX2" fmla="*/ 271769 w 506256"/>
                <a:gd name="connsiteY2" fmla="*/ 610601 h 756353"/>
                <a:gd name="connsiteX3" fmla="*/ 213320 w 506256"/>
                <a:gd name="connsiteY3" fmla="*/ 536695 h 756353"/>
                <a:gd name="connsiteX4" fmla="*/ 149926 w 506256"/>
                <a:gd name="connsiteY4" fmla="*/ 464250 h 756353"/>
                <a:gd name="connsiteX5" fmla="*/ 84779 w 506256"/>
                <a:gd name="connsiteY5" fmla="*/ 371833 h 756353"/>
                <a:gd name="connsiteX6" fmla="*/ 1316 w 506256"/>
                <a:gd name="connsiteY6" fmla="*/ 332645 h 756353"/>
                <a:gd name="connsiteX7" fmla="*/ 37768 w 506256"/>
                <a:gd name="connsiteY7" fmla="*/ 310260 h 756353"/>
                <a:gd name="connsiteX8" fmla="*/ 92735 w 506256"/>
                <a:gd name="connsiteY8" fmla="*/ 270082 h 756353"/>
                <a:gd name="connsiteX9" fmla="*/ 152041 w 506256"/>
                <a:gd name="connsiteY9" fmla="*/ 208643 h 756353"/>
                <a:gd name="connsiteX10" fmla="*/ 215340 w 506256"/>
                <a:gd name="connsiteY10" fmla="*/ 181655 h 756353"/>
                <a:gd name="connsiteX11" fmla="*/ 278653 w 506256"/>
                <a:gd name="connsiteY11" fmla="*/ 171927 h 756353"/>
                <a:gd name="connsiteX12" fmla="*/ 326197 w 506256"/>
                <a:gd name="connsiteY12" fmla="*/ 184741 h 756353"/>
                <a:gd name="connsiteX13" fmla="*/ 351622 w 506256"/>
                <a:gd name="connsiteY13" fmla="*/ 138091 h 756353"/>
                <a:gd name="connsiteX14" fmla="*/ 354207 w 506256"/>
                <a:gd name="connsiteY14" fmla="*/ 0 h 756353"/>
                <a:gd name="connsiteX0" fmla="*/ 506256 w 506256"/>
                <a:gd name="connsiteY0" fmla="*/ 791973 h 791973"/>
                <a:gd name="connsiteX1" fmla="*/ 336539 w 506256"/>
                <a:gd name="connsiteY1" fmla="*/ 705248 h 791973"/>
                <a:gd name="connsiteX2" fmla="*/ 271769 w 506256"/>
                <a:gd name="connsiteY2" fmla="*/ 646221 h 791973"/>
                <a:gd name="connsiteX3" fmla="*/ 213320 w 506256"/>
                <a:gd name="connsiteY3" fmla="*/ 572315 h 791973"/>
                <a:gd name="connsiteX4" fmla="*/ 149926 w 506256"/>
                <a:gd name="connsiteY4" fmla="*/ 499870 h 791973"/>
                <a:gd name="connsiteX5" fmla="*/ 84779 w 506256"/>
                <a:gd name="connsiteY5" fmla="*/ 407453 h 791973"/>
                <a:gd name="connsiteX6" fmla="*/ 1316 w 506256"/>
                <a:gd name="connsiteY6" fmla="*/ 368265 h 791973"/>
                <a:gd name="connsiteX7" fmla="*/ 37768 w 506256"/>
                <a:gd name="connsiteY7" fmla="*/ 345880 h 791973"/>
                <a:gd name="connsiteX8" fmla="*/ 92735 w 506256"/>
                <a:gd name="connsiteY8" fmla="*/ 305702 h 791973"/>
                <a:gd name="connsiteX9" fmla="*/ 152041 w 506256"/>
                <a:gd name="connsiteY9" fmla="*/ 244263 h 791973"/>
                <a:gd name="connsiteX10" fmla="*/ 215340 w 506256"/>
                <a:gd name="connsiteY10" fmla="*/ 217275 h 791973"/>
                <a:gd name="connsiteX11" fmla="*/ 278653 w 506256"/>
                <a:gd name="connsiteY11" fmla="*/ 207547 h 791973"/>
                <a:gd name="connsiteX12" fmla="*/ 326197 w 506256"/>
                <a:gd name="connsiteY12" fmla="*/ 220361 h 791973"/>
                <a:gd name="connsiteX13" fmla="*/ 351622 w 506256"/>
                <a:gd name="connsiteY13" fmla="*/ 173711 h 791973"/>
                <a:gd name="connsiteX14" fmla="*/ 359155 w 506256"/>
                <a:gd name="connsiteY14" fmla="*/ 0 h 791973"/>
                <a:gd name="connsiteX0" fmla="*/ 464197 w 464197"/>
                <a:gd name="connsiteY0" fmla="*/ 780100 h 780100"/>
                <a:gd name="connsiteX1" fmla="*/ 336539 w 464197"/>
                <a:gd name="connsiteY1" fmla="*/ 705248 h 780100"/>
                <a:gd name="connsiteX2" fmla="*/ 271769 w 464197"/>
                <a:gd name="connsiteY2" fmla="*/ 646221 h 780100"/>
                <a:gd name="connsiteX3" fmla="*/ 213320 w 464197"/>
                <a:gd name="connsiteY3" fmla="*/ 572315 h 780100"/>
                <a:gd name="connsiteX4" fmla="*/ 149926 w 464197"/>
                <a:gd name="connsiteY4" fmla="*/ 499870 h 780100"/>
                <a:gd name="connsiteX5" fmla="*/ 84779 w 464197"/>
                <a:gd name="connsiteY5" fmla="*/ 407453 h 780100"/>
                <a:gd name="connsiteX6" fmla="*/ 1316 w 464197"/>
                <a:gd name="connsiteY6" fmla="*/ 368265 h 780100"/>
                <a:gd name="connsiteX7" fmla="*/ 37768 w 464197"/>
                <a:gd name="connsiteY7" fmla="*/ 345880 h 780100"/>
                <a:gd name="connsiteX8" fmla="*/ 92735 w 464197"/>
                <a:gd name="connsiteY8" fmla="*/ 305702 h 780100"/>
                <a:gd name="connsiteX9" fmla="*/ 152041 w 464197"/>
                <a:gd name="connsiteY9" fmla="*/ 244263 h 780100"/>
                <a:gd name="connsiteX10" fmla="*/ 215340 w 464197"/>
                <a:gd name="connsiteY10" fmla="*/ 217275 h 780100"/>
                <a:gd name="connsiteX11" fmla="*/ 278653 w 464197"/>
                <a:gd name="connsiteY11" fmla="*/ 207547 h 780100"/>
                <a:gd name="connsiteX12" fmla="*/ 326197 w 464197"/>
                <a:gd name="connsiteY12" fmla="*/ 220361 h 780100"/>
                <a:gd name="connsiteX13" fmla="*/ 351622 w 464197"/>
                <a:gd name="connsiteY13" fmla="*/ 173711 h 780100"/>
                <a:gd name="connsiteX14" fmla="*/ 359155 w 464197"/>
                <a:gd name="connsiteY14" fmla="*/ 0 h 780100"/>
                <a:gd name="connsiteX0" fmla="*/ 464197 w 464197"/>
                <a:gd name="connsiteY0" fmla="*/ 775236 h 775236"/>
                <a:gd name="connsiteX1" fmla="*/ 336539 w 464197"/>
                <a:gd name="connsiteY1" fmla="*/ 700384 h 775236"/>
                <a:gd name="connsiteX2" fmla="*/ 271769 w 464197"/>
                <a:gd name="connsiteY2" fmla="*/ 641357 h 775236"/>
                <a:gd name="connsiteX3" fmla="*/ 213320 w 464197"/>
                <a:gd name="connsiteY3" fmla="*/ 567451 h 775236"/>
                <a:gd name="connsiteX4" fmla="*/ 149926 w 464197"/>
                <a:gd name="connsiteY4" fmla="*/ 495006 h 775236"/>
                <a:gd name="connsiteX5" fmla="*/ 84779 w 464197"/>
                <a:gd name="connsiteY5" fmla="*/ 402589 h 775236"/>
                <a:gd name="connsiteX6" fmla="*/ 1316 w 464197"/>
                <a:gd name="connsiteY6" fmla="*/ 363401 h 775236"/>
                <a:gd name="connsiteX7" fmla="*/ 37768 w 464197"/>
                <a:gd name="connsiteY7" fmla="*/ 341016 h 775236"/>
                <a:gd name="connsiteX8" fmla="*/ 92735 w 464197"/>
                <a:gd name="connsiteY8" fmla="*/ 300838 h 775236"/>
                <a:gd name="connsiteX9" fmla="*/ 152041 w 464197"/>
                <a:gd name="connsiteY9" fmla="*/ 239399 h 775236"/>
                <a:gd name="connsiteX10" fmla="*/ 215340 w 464197"/>
                <a:gd name="connsiteY10" fmla="*/ 212411 h 775236"/>
                <a:gd name="connsiteX11" fmla="*/ 278653 w 464197"/>
                <a:gd name="connsiteY11" fmla="*/ 202683 h 775236"/>
                <a:gd name="connsiteX12" fmla="*/ 326197 w 464197"/>
                <a:gd name="connsiteY12" fmla="*/ 215497 h 775236"/>
                <a:gd name="connsiteX13" fmla="*/ 351622 w 464197"/>
                <a:gd name="connsiteY13" fmla="*/ 168847 h 775236"/>
                <a:gd name="connsiteX14" fmla="*/ 329941 w 464197"/>
                <a:gd name="connsiteY14" fmla="*/ 0 h 775236"/>
                <a:gd name="connsiteX0" fmla="*/ 464197 w 464197"/>
                <a:gd name="connsiteY0" fmla="*/ 765509 h 765509"/>
                <a:gd name="connsiteX1" fmla="*/ 336539 w 464197"/>
                <a:gd name="connsiteY1" fmla="*/ 690657 h 765509"/>
                <a:gd name="connsiteX2" fmla="*/ 271769 w 464197"/>
                <a:gd name="connsiteY2" fmla="*/ 631630 h 765509"/>
                <a:gd name="connsiteX3" fmla="*/ 213320 w 464197"/>
                <a:gd name="connsiteY3" fmla="*/ 557724 h 765509"/>
                <a:gd name="connsiteX4" fmla="*/ 149926 w 464197"/>
                <a:gd name="connsiteY4" fmla="*/ 485279 h 765509"/>
                <a:gd name="connsiteX5" fmla="*/ 84779 w 464197"/>
                <a:gd name="connsiteY5" fmla="*/ 392862 h 765509"/>
                <a:gd name="connsiteX6" fmla="*/ 1316 w 464197"/>
                <a:gd name="connsiteY6" fmla="*/ 353674 h 765509"/>
                <a:gd name="connsiteX7" fmla="*/ 37768 w 464197"/>
                <a:gd name="connsiteY7" fmla="*/ 331289 h 765509"/>
                <a:gd name="connsiteX8" fmla="*/ 92735 w 464197"/>
                <a:gd name="connsiteY8" fmla="*/ 291111 h 765509"/>
                <a:gd name="connsiteX9" fmla="*/ 152041 w 464197"/>
                <a:gd name="connsiteY9" fmla="*/ 229672 h 765509"/>
                <a:gd name="connsiteX10" fmla="*/ 215340 w 464197"/>
                <a:gd name="connsiteY10" fmla="*/ 202684 h 765509"/>
                <a:gd name="connsiteX11" fmla="*/ 278653 w 464197"/>
                <a:gd name="connsiteY11" fmla="*/ 192956 h 765509"/>
                <a:gd name="connsiteX12" fmla="*/ 326197 w 464197"/>
                <a:gd name="connsiteY12" fmla="*/ 205770 h 765509"/>
                <a:gd name="connsiteX13" fmla="*/ 351622 w 464197"/>
                <a:gd name="connsiteY13" fmla="*/ 159120 h 765509"/>
                <a:gd name="connsiteX14" fmla="*/ 334810 w 464197"/>
                <a:gd name="connsiteY14" fmla="*/ 0 h 765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64197" h="765509">
                  <a:moveTo>
                    <a:pt x="464197" y="765509"/>
                  </a:moveTo>
                  <a:cubicBezTo>
                    <a:pt x="386368" y="738833"/>
                    <a:pt x="368610" y="712970"/>
                    <a:pt x="336539" y="690657"/>
                  </a:cubicBezTo>
                  <a:cubicBezTo>
                    <a:pt x="304468" y="668344"/>
                    <a:pt x="292305" y="653785"/>
                    <a:pt x="271769" y="631630"/>
                  </a:cubicBezTo>
                  <a:cubicBezTo>
                    <a:pt x="251233" y="609475"/>
                    <a:pt x="233627" y="582116"/>
                    <a:pt x="213320" y="557724"/>
                  </a:cubicBezTo>
                  <a:cubicBezTo>
                    <a:pt x="193013" y="533332"/>
                    <a:pt x="171349" y="512756"/>
                    <a:pt x="149926" y="485279"/>
                  </a:cubicBezTo>
                  <a:cubicBezTo>
                    <a:pt x="128503" y="457802"/>
                    <a:pt x="113723" y="422581"/>
                    <a:pt x="84779" y="392862"/>
                  </a:cubicBezTo>
                  <a:cubicBezTo>
                    <a:pt x="62431" y="359792"/>
                    <a:pt x="9151" y="363936"/>
                    <a:pt x="1316" y="353674"/>
                  </a:cubicBezTo>
                  <a:cubicBezTo>
                    <a:pt x="-6519" y="343412"/>
                    <a:pt x="22532" y="341716"/>
                    <a:pt x="37768" y="331289"/>
                  </a:cubicBezTo>
                  <a:cubicBezTo>
                    <a:pt x="53005" y="320862"/>
                    <a:pt x="73690" y="308047"/>
                    <a:pt x="92735" y="291111"/>
                  </a:cubicBezTo>
                  <a:cubicBezTo>
                    <a:pt x="111780" y="274175"/>
                    <a:pt x="131607" y="244410"/>
                    <a:pt x="152041" y="229672"/>
                  </a:cubicBezTo>
                  <a:cubicBezTo>
                    <a:pt x="172475" y="214934"/>
                    <a:pt x="194238" y="208803"/>
                    <a:pt x="215340" y="202684"/>
                  </a:cubicBezTo>
                  <a:cubicBezTo>
                    <a:pt x="236442" y="196565"/>
                    <a:pt x="260177" y="192442"/>
                    <a:pt x="278653" y="192956"/>
                  </a:cubicBezTo>
                  <a:cubicBezTo>
                    <a:pt x="297129" y="193470"/>
                    <a:pt x="314036" y="211409"/>
                    <a:pt x="326197" y="205770"/>
                  </a:cubicBezTo>
                  <a:cubicBezTo>
                    <a:pt x="338358" y="200131"/>
                    <a:pt x="350187" y="193415"/>
                    <a:pt x="351622" y="159120"/>
                  </a:cubicBezTo>
                  <a:cubicBezTo>
                    <a:pt x="353058" y="124825"/>
                    <a:pt x="334819" y="24886"/>
                    <a:pt x="334810" y="0"/>
                  </a:cubicBezTo>
                </a:path>
              </a:pathLst>
            </a:custGeom>
            <a:ln w="38100">
              <a:solidFill>
                <a:srgbClr val="C0000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5" name="Овал 14"/>
            <p:cNvSpPr/>
            <p:nvPr/>
          </p:nvSpPr>
          <p:spPr bwMode="auto">
            <a:xfrm>
              <a:off x="8063694" y="6002716"/>
              <a:ext cx="60483" cy="5526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16" name="TextBox 58"/>
            <p:cNvSpPr txBox="1">
              <a:spLocks noChangeArrowheads="1"/>
            </p:cNvSpPr>
            <p:nvPr/>
          </p:nvSpPr>
          <p:spPr bwMode="auto">
            <a:xfrm>
              <a:off x="7754716" y="5999948"/>
              <a:ext cx="678968" cy="276999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ru-RU" sz="1200" b="1" dirty="0" err="1" smtClean="0">
                  <a:solidFill>
                    <a:srgbClr val="000000"/>
                  </a:solidFill>
                  <a:effectLst>
                    <a:glow rad="127000">
                      <a:prstClr val="white">
                        <a:lumMod val="85000"/>
                      </a:prstClr>
                    </a:glow>
                  </a:effectLst>
                  <a:latin typeface="Calibri"/>
                </a:rPr>
                <a:t>Сучжоу</a:t>
              </a:r>
              <a:endParaRPr lang="ru-RU" sz="1200" b="1" dirty="0">
                <a:solidFill>
                  <a:srgbClr val="000000"/>
                </a:solidFill>
                <a:effectLst>
                  <a:glow rad="127000">
                    <a:prstClr val="white">
                      <a:lumMod val="85000"/>
                    </a:prstClr>
                  </a:glow>
                </a:effectLst>
                <a:latin typeface="Calibri"/>
              </a:endParaRPr>
            </a:p>
          </p:txBody>
        </p:sp>
        <p:sp>
          <p:nvSpPr>
            <p:cNvPr id="17" name="Полилиния 16"/>
            <p:cNvSpPr/>
            <p:nvPr/>
          </p:nvSpPr>
          <p:spPr bwMode="auto">
            <a:xfrm>
              <a:off x="5643532" y="4980783"/>
              <a:ext cx="2087778" cy="547894"/>
            </a:xfrm>
            <a:custGeom>
              <a:avLst/>
              <a:gdLst>
                <a:gd name="connsiteX0" fmla="*/ 2775045 w 2811738"/>
                <a:gd name="connsiteY0" fmla="*/ 759725 h 759725"/>
                <a:gd name="connsiteX1" fmla="*/ 2770495 w 2811738"/>
                <a:gd name="connsiteY1" fmla="*/ 736979 h 759725"/>
                <a:gd name="connsiteX2" fmla="*/ 2765946 w 2811738"/>
                <a:gd name="connsiteY2" fmla="*/ 723331 h 759725"/>
                <a:gd name="connsiteX3" fmla="*/ 2779594 w 2811738"/>
                <a:gd name="connsiteY3" fmla="*/ 641445 h 759725"/>
                <a:gd name="connsiteX4" fmla="*/ 2793242 w 2811738"/>
                <a:gd name="connsiteY4" fmla="*/ 627797 h 759725"/>
                <a:gd name="connsiteX5" fmla="*/ 2806889 w 2811738"/>
                <a:gd name="connsiteY5" fmla="*/ 586854 h 759725"/>
                <a:gd name="connsiteX6" fmla="*/ 2811439 w 2811738"/>
                <a:gd name="connsiteY6" fmla="*/ 573206 h 759725"/>
                <a:gd name="connsiteX7" fmla="*/ 2806889 w 2811738"/>
                <a:gd name="connsiteY7" fmla="*/ 514066 h 759725"/>
                <a:gd name="connsiteX8" fmla="*/ 2765946 w 2811738"/>
                <a:gd name="connsiteY8" fmla="*/ 500418 h 759725"/>
                <a:gd name="connsiteX9" fmla="*/ 2752298 w 2811738"/>
                <a:gd name="connsiteY9" fmla="*/ 495868 h 759725"/>
                <a:gd name="connsiteX10" fmla="*/ 2738651 w 2811738"/>
                <a:gd name="connsiteY10" fmla="*/ 486770 h 759725"/>
                <a:gd name="connsiteX11" fmla="*/ 2652215 w 2811738"/>
                <a:gd name="connsiteY11" fmla="*/ 482221 h 759725"/>
                <a:gd name="connsiteX12" fmla="*/ 2602173 w 2811738"/>
                <a:gd name="connsiteY12" fmla="*/ 473122 h 759725"/>
                <a:gd name="connsiteX13" fmla="*/ 2574878 w 2811738"/>
                <a:gd name="connsiteY13" fmla="*/ 464024 h 759725"/>
                <a:gd name="connsiteX14" fmla="*/ 2533934 w 2811738"/>
                <a:gd name="connsiteY14" fmla="*/ 450376 h 759725"/>
                <a:gd name="connsiteX15" fmla="*/ 2520286 w 2811738"/>
                <a:gd name="connsiteY15" fmla="*/ 445827 h 759725"/>
                <a:gd name="connsiteX16" fmla="*/ 2442949 w 2811738"/>
                <a:gd name="connsiteY16" fmla="*/ 441277 h 759725"/>
                <a:gd name="connsiteX17" fmla="*/ 2406555 w 2811738"/>
                <a:gd name="connsiteY17" fmla="*/ 436728 h 759725"/>
                <a:gd name="connsiteX18" fmla="*/ 2260979 w 2811738"/>
                <a:gd name="connsiteY18" fmla="*/ 427630 h 759725"/>
                <a:gd name="connsiteX19" fmla="*/ 2220036 w 2811738"/>
                <a:gd name="connsiteY19" fmla="*/ 418531 h 759725"/>
                <a:gd name="connsiteX20" fmla="*/ 2192740 w 2811738"/>
                <a:gd name="connsiteY20" fmla="*/ 409433 h 759725"/>
                <a:gd name="connsiteX21" fmla="*/ 2179092 w 2811738"/>
                <a:gd name="connsiteY21" fmla="*/ 404883 h 759725"/>
                <a:gd name="connsiteX22" fmla="*/ 2138149 w 2811738"/>
                <a:gd name="connsiteY22" fmla="*/ 382137 h 759725"/>
                <a:gd name="connsiteX23" fmla="*/ 2124501 w 2811738"/>
                <a:gd name="connsiteY23" fmla="*/ 377588 h 759725"/>
                <a:gd name="connsiteX24" fmla="*/ 2110854 w 2811738"/>
                <a:gd name="connsiteY24" fmla="*/ 373039 h 759725"/>
                <a:gd name="connsiteX25" fmla="*/ 2083558 w 2811738"/>
                <a:gd name="connsiteY25" fmla="*/ 386686 h 759725"/>
                <a:gd name="connsiteX26" fmla="*/ 2069910 w 2811738"/>
                <a:gd name="connsiteY26" fmla="*/ 395785 h 759725"/>
                <a:gd name="connsiteX27" fmla="*/ 2042615 w 2811738"/>
                <a:gd name="connsiteY27" fmla="*/ 404883 h 759725"/>
                <a:gd name="connsiteX28" fmla="*/ 2028967 w 2811738"/>
                <a:gd name="connsiteY28" fmla="*/ 409433 h 759725"/>
                <a:gd name="connsiteX29" fmla="*/ 2015319 w 2811738"/>
                <a:gd name="connsiteY29" fmla="*/ 413982 h 759725"/>
                <a:gd name="connsiteX30" fmla="*/ 1974376 w 2811738"/>
                <a:gd name="connsiteY30" fmla="*/ 432179 h 759725"/>
                <a:gd name="connsiteX31" fmla="*/ 1960728 w 2811738"/>
                <a:gd name="connsiteY31" fmla="*/ 441277 h 759725"/>
                <a:gd name="connsiteX32" fmla="*/ 1947081 w 2811738"/>
                <a:gd name="connsiteY32" fmla="*/ 445827 h 759725"/>
                <a:gd name="connsiteX33" fmla="*/ 1878842 w 2811738"/>
                <a:gd name="connsiteY33" fmla="*/ 441277 h 759725"/>
                <a:gd name="connsiteX34" fmla="*/ 1860645 w 2811738"/>
                <a:gd name="connsiteY34" fmla="*/ 436728 h 759725"/>
                <a:gd name="connsiteX35" fmla="*/ 1769660 w 2811738"/>
                <a:gd name="connsiteY35" fmla="*/ 441277 h 759725"/>
                <a:gd name="connsiteX36" fmla="*/ 1742364 w 2811738"/>
                <a:gd name="connsiteY36" fmla="*/ 454925 h 759725"/>
                <a:gd name="connsiteX37" fmla="*/ 1733266 w 2811738"/>
                <a:gd name="connsiteY37" fmla="*/ 468573 h 759725"/>
                <a:gd name="connsiteX38" fmla="*/ 1705970 w 2811738"/>
                <a:gd name="connsiteY38" fmla="*/ 477671 h 759725"/>
                <a:gd name="connsiteX39" fmla="*/ 1678675 w 2811738"/>
                <a:gd name="connsiteY39" fmla="*/ 486770 h 759725"/>
                <a:gd name="connsiteX40" fmla="*/ 1665027 w 2811738"/>
                <a:gd name="connsiteY40" fmla="*/ 491319 h 759725"/>
                <a:gd name="connsiteX41" fmla="*/ 1624084 w 2811738"/>
                <a:gd name="connsiteY41" fmla="*/ 477671 h 759725"/>
                <a:gd name="connsiteX42" fmla="*/ 1619534 w 2811738"/>
                <a:gd name="connsiteY42" fmla="*/ 464024 h 759725"/>
                <a:gd name="connsiteX43" fmla="*/ 1614985 w 2811738"/>
                <a:gd name="connsiteY43" fmla="*/ 436728 h 759725"/>
                <a:gd name="connsiteX44" fmla="*/ 1601337 w 2811738"/>
                <a:gd name="connsiteY44" fmla="*/ 432179 h 759725"/>
                <a:gd name="connsiteX45" fmla="*/ 1592239 w 2811738"/>
                <a:gd name="connsiteY45" fmla="*/ 418531 h 759725"/>
                <a:gd name="connsiteX46" fmla="*/ 1578591 w 2811738"/>
                <a:gd name="connsiteY46" fmla="*/ 409433 h 759725"/>
                <a:gd name="connsiteX47" fmla="*/ 1574042 w 2811738"/>
                <a:gd name="connsiteY47" fmla="*/ 395785 h 759725"/>
                <a:gd name="connsiteX48" fmla="*/ 1555845 w 2811738"/>
                <a:gd name="connsiteY48" fmla="*/ 368489 h 759725"/>
                <a:gd name="connsiteX49" fmla="*/ 1537648 w 2811738"/>
                <a:gd name="connsiteY49" fmla="*/ 341194 h 759725"/>
                <a:gd name="connsiteX50" fmla="*/ 1524000 w 2811738"/>
                <a:gd name="connsiteY50" fmla="*/ 332095 h 759725"/>
                <a:gd name="connsiteX51" fmla="*/ 1492155 w 2811738"/>
                <a:gd name="connsiteY51" fmla="*/ 313898 h 759725"/>
                <a:gd name="connsiteX52" fmla="*/ 1478507 w 2811738"/>
                <a:gd name="connsiteY52" fmla="*/ 286603 h 759725"/>
                <a:gd name="connsiteX53" fmla="*/ 1464860 w 2811738"/>
                <a:gd name="connsiteY53" fmla="*/ 277504 h 759725"/>
                <a:gd name="connsiteX54" fmla="*/ 1433015 w 2811738"/>
                <a:gd name="connsiteY54" fmla="*/ 254758 h 759725"/>
                <a:gd name="connsiteX55" fmla="*/ 1392072 w 2811738"/>
                <a:gd name="connsiteY55" fmla="*/ 245660 h 759725"/>
                <a:gd name="connsiteX56" fmla="*/ 1364776 w 2811738"/>
                <a:gd name="connsiteY56" fmla="*/ 236561 h 759725"/>
                <a:gd name="connsiteX57" fmla="*/ 1351128 w 2811738"/>
                <a:gd name="connsiteY57" fmla="*/ 227463 h 759725"/>
                <a:gd name="connsiteX58" fmla="*/ 1323833 w 2811738"/>
                <a:gd name="connsiteY58" fmla="*/ 218364 h 759725"/>
                <a:gd name="connsiteX59" fmla="*/ 1251045 w 2811738"/>
                <a:gd name="connsiteY59" fmla="*/ 204716 h 759725"/>
                <a:gd name="connsiteX60" fmla="*/ 1223749 w 2811738"/>
                <a:gd name="connsiteY60" fmla="*/ 195618 h 759725"/>
                <a:gd name="connsiteX61" fmla="*/ 1210101 w 2811738"/>
                <a:gd name="connsiteY61" fmla="*/ 191068 h 759725"/>
                <a:gd name="connsiteX62" fmla="*/ 1169158 w 2811738"/>
                <a:gd name="connsiteY62" fmla="*/ 195618 h 759725"/>
                <a:gd name="connsiteX63" fmla="*/ 1155510 w 2811738"/>
                <a:gd name="connsiteY63" fmla="*/ 204716 h 759725"/>
                <a:gd name="connsiteX64" fmla="*/ 1137313 w 2811738"/>
                <a:gd name="connsiteY64" fmla="*/ 209266 h 759725"/>
                <a:gd name="connsiteX65" fmla="*/ 1110018 w 2811738"/>
                <a:gd name="connsiteY65" fmla="*/ 222913 h 759725"/>
                <a:gd name="connsiteX66" fmla="*/ 1082722 w 2811738"/>
                <a:gd name="connsiteY66" fmla="*/ 236561 h 759725"/>
                <a:gd name="connsiteX67" fmla="*/ 1050878 w 2811738"/>
                <a:gd name="connsiteY67" fmla="*/ 241110 h 759725"/>
                <a:gd name="connsiteX68" fmla="*/ 996286 w 2811738"/>
                <a:gd name="connsiteY68" fmla="*/ 259307 h 759725"/>
                <a:gd name="connsiteX69" fmla="*/ 964442 w 2811738"/>
                <a:gd name="connsiteY69" fmla="*/ 272955 h 759725"/>
                <a:gd name="connsiteX70" fmla="*/ 787021 w 2811738"/>
                <a:gd name="connsiteY70" fmla="*/ 277504 h 759725"/>
                <a:gd name="connsiteX71" fmla="*/ 759725 w 2811738"/>
                <a:gd name="connsiteY71" fmla="*/ 291152 h 759725"/>
                <a:gd name="connsiteX72" fmla="*/ 746078 w 2811738"/>
                <a:gd name="connsiteY72" fmla="*/ 295701 h 759725"/>
                <a:gd name="connsiteX73" fmla="*/ 673289 w 2811738"/>
                <a:gd name="connsiteY73" fmla="*/ 291152 h 759725"/>
                <a:gd name="connsiteX74" fmla="*/ 659642 w 2811738"/>
                <a:gd name="connsiteY74" fmla="*/ 286603 h 759725"/>
                <a:gd name="connsiteX75" fmla="*/ 614149 w 2811738"/>
                <a:gd name="connsiteY75" fmla="*/ 272955 h 759725"/>
                <a:gd name="connsiteX76" fmla="*/ 600501 w 2811738"/>
                <a:gd name="connsiteY76" fmla="*/ 268406 h 759725"/>
                <a:gd name="connsiteX77" fmla="*/ 586854 w 2811738"/>
                <a:gd name="connsiteY77" fmla="*/ 263857 h 759725"/>
                <a:gd name="connsiteX78" fmla="*/ 532263 w 2811738"/>
                <a:gd name="connsiteY78" fmla="*/ 259307 h 759725"/>
                <a:gd name="connsiteX79" fmla="*/ 482221 w 2811738"/>
                <a:gd name="connsiteY79" fmla="*/ 250209 h 759725"/>
                <a:gd name="connsiteX80" fmla="*/ 464024 w 2811738"/>
                <a:gd name="connsiteY80" fmla="*/ 245660 h 759725"/>
                <a:gd name="connsiteX81" fmla="*/ 436728 w 2811738"/>
                <a:gd name="connsiteY81" fmla="*/ 236561 h 759725"/>
                <a:gd name="connsiteX82" fmla="*/ 404884 w 2811738"/>
                <a:gd name="connsiteY82" fmla="*/ 232012 h 759725"/>
                <a:gd name="connsiteX83" fmla="*/ 382137 w 2811738"/>
                <a:gd name="connsiteY83" fmla="*/ 227463 h 759725"/>
                <a:gd name="connsiteX84" fmla="*/ 350292 w 2811738"/>
                <a:gd name="connsiteY84" fmla="*/ 222913 h 759725"/>
                <a:gd name="connsiteX85" fmla="*/ 322997 w 2811738"/>
                <a:gd name="connsiteY85" fmla="*/ 204716 h 759725"/>
                <a:gd name="connsiteX86" fmla="*/ 313898 w 2811738"/>
                <a:gd name="connsiteY86" fmla="*/ 191068 h 759725"/>
                <a:gd name="connsiteX87" fmla="*/ 295701 w 2811738"/>
                <a:gd name="connsiteY87" fmla="*/ 181970 h 759725"/>
                <a:gd name="connsiteX88" fmla="*/ 282054 w 2811738"/>
                <a:gd name="connsiteY88" fmla="*/ 172871 h 759725"/>
                <a:gd name="connsiteX89" fmla="*/ 263857 w 2811738"/>
                <a:gd name="connsiteY89" fmla="*/ 145576 h 759725"/>
                <a:gd name="connsiteX90" fmla="*/ 241110 w 2811738"/>
                <a:gd name="connsiteY90" fmla="*/ 118280 h 759725"/>
                <a:gd name="connsiteX91" fmla="*/ 213815 w 2811738"/>
                <a:gd name="connsiteY91" fmla="*/ 100083 h 759725"/>
                <a:gd name="connsiteX92" fmla="*/ 186519 w 2811738"/>
                <a:gd name="connsiteY92" fmla="*/ 81886 h 759725"/>
                <a:gd name="connsiteX93" fmla="*/ 177421 w 2811738"/>
                <a:gd name="connsiteY93" fmla="*/ 68239 h 759725"/>
                <a:gd name="connsiteX94" fmla="*/ 163773 w 2811738"/>
                <a:gd name="connsiteY94" fmla="*/ 63689 h 759725"/>
                <a:gd name="connsiteX95" fmla="*/ 150125 w 2811738"/>
                <a:gd name="connsiteY95" fmla="*/ 54591 h 759725"/>
                <a:gd name="connsiteX96" fmla="*/ 122830 w 2811738"/>
                <a:gd name="connsiteY96" fmla="*/ 45492 h 759725"/>
                <a:gd name="connsiteX97" fmla="*/ 109182 w 2811738"/>
                <a:gd name="connsiteY97" fmla="*/ 40943 h 759725"/>
                <a:gd name="connsiteX98" fmla="*/ 95534 w 2811738"/>
                <a:gd name="connsiteY98" fmla="*/ 36394 h 759725"/>
                <a:gd name="connsiteX99" fmla="*/ 81886 w 2811738"/>
                <a:gd name="connsiteY99" fmla="*/ 27295 h 759725"/>
                <a:gd name="connsiteX100" fmla="*/ 54591 w 2811738"/>
                <a:gd name="connsiteY100" fmla="*/ 18197 h 759725"/>
                <a:gd name="connsiteX101" fmla="*/ 27295 w 2811738"/>
                <a:gd name="connsiteY101" fmla="*/ 9098 h 759725"/>
                <a:gd name="connsiteX102" fmla="*/ 13648 w 2811738"/>
                <a:gd name="connsiteY102" fmla="*/ 4549 h 759725"/>
                <a:gd name="connsiteX103" fmla="*/ 0 w 2811738"/>
                <a:gd name="connsiteY103" fmla="*/ 0 h 759725"/>
                <a:gd name="connsiteX0" fmla="*/ 2925170 w 2961863"/>
                <a:gd name="connsiteY0" fmla="*/ 818866 h 818866"/>
                <a:gd name="connsiteX1" fmla="*/ 2920620 w 2961863"/>
                <a:gd name="connsiteY1" fmla="*/ 796120 h 818866"/>
                <a:gd name="connsiteX2" fmla="*/ 2916071 w 2961863"/>
                <a:gd name="connsiteY2" fmla="*/ 782472 h 818866"/>
                <a:gd name="connsiteX3" fmla="*/ 2929719 w 2961863"/>
                <a:gd name="connsiteY3" fmla="*/ 700586 h 818866"/>
                <a:gd name="connsiteX4" fmla="*/ 2943367 w 2961863"/>
                <a:gd name="connsiteY4" fmla="*/ 686938 h 818866"/>
                <a:gd name="connsiteX5" fmla="*/ 2957014 w 2961863"/>
                <a:gd name="connsiteY5" fmla="*/ 645995 h 818866"/>
                <a:gd name="connsiteX6" fmla="*/ 2961564 w 2961863"/>
                <a:gd name="connsiteY6" fmla="*/ 632347 h 818866"/>
                <a:gd name="connsiteX7" fmla="*/ 2957014 w 2961863"/>
                <a:gd name="connsiteY7" fmla="*/ 573207 h 818866"/>
                <a:gd name="connsiteX8" fmla="*/ 2916071 w 2961863"/>
                <a:gd name="connsiteY8" fmla="*/ 559559 h 818866"/>
                <a:gd name="connsiteX9" fmla="*/ 2902423 w 2961863"/>
                <a:gd name="connsiteY9" fmla="*/ 555009 h 818866"/>
                <a:gd name="connsiteX10" fmla="*/ 2888776 w 2961863"/>
                <a:gd name="connsiteY10" fmla="*/ 545911 h 818866"/>
                <a:gd name="connsiteX11" fmla="*/ 2802340 w 2961863"/>
                <a:gd name="connsiteY11" fmla="*/ 541362 h 818866"/>
                <a:gd name="connsiteX12" fmla="*/ 2752298 w 2961863"/>
                <a:gd name="connsiteY12" fmla="*/ 532263 h 818866"/>
                <a:gd name="connsiteX13" fmla="*/ 2725003 w 2961863"/>
                <a:gd name="connsiteY13" fmla="*/ 523165 h 818866"/>
                <a:gd name="connsiteX14" fmla="*/ 2684059 w 2961863"/>
                <a:gd name="connsiteY14" fmla="*/ 509517 h 818866"/>
                <a:gd name="connsiteX15" fmla="*/ 2670411 w 2961863"/>
                <a:gd name="connsiteY15" fmla="*/ 504968 h 818866"/>
                <a:gd name="connsiteX16" fmla="*/ 2593074 w 2961863"/>
                <a:gd name="connsiteY16" fmla="*/ 500418 h 818866"/>
                <a:gd name="connsiteX17" fmla="*/ 2556680 w 2961863"/>
                <a:gd name="connsiteY17" fmla="*/ 495869 h 818866"/>
                <a:gd name="connsiteX18" fmla="*/ 2411104 w 2961863"/>
                <a:gd name="connsiteY18" fmla="*/ 486771 h 818866"/>
                <a:gd name="connsiteX19" fmla="*/ 2370161 w 2961863"/>
                <a:gd name="connsiteY19" fmla="*/ 477672 h 818866"/>
                <a:gd name="connsiteX20" fmla="*/ 2342865 w 2961863"/>
                <a:gd name="connsiteY20" fmla="*/ 468574 h 818866"/>
                <a:gd name="connsiteX21" fmla="*/ 2329217 w 2961863"/>
                <a:gd name="connsiteY21" fmla="*/ 464024 h 818866"/>
                <a:gd name="connsiteX22" fmla="*/ 2288274 w 2961863"/>
                <a:gd name="connsiteY22" fmla="*/ 441278 h 818866"/>
                <a:gd name="connsiteX23" fmla="*/ 2274626 w 2961863"/>
                <a:gd name="connsiteY23" fmla="*/ 436729 h 818866"/>
                <a:gd name="connsiteX24" fmla="*/ 2260979 w 2961863"/>
                <a:gd name="connsiteY24" fmla="*/ 432180 h 818866"/>
                <a:gd name="connsiteX25" fmla="*/ 2233683 w 2961863"/>
                <a:gd name="connsiteY25" fmla="*/ 445827 h 818866"/>
                <a:gd name="connsiteX26" fmla="*/ 2220035 w 2961863"/>
                <a:gd name="connsiteY26" fmla="*/ 454926 h 818866"/>
                <a:gd name="connsiteX27" fmla="*/ 2192740 w 2961863"/>
                <a:gd name="connsiteY27" fmla="*/ 464024 h 818866"/>
                <a:gd name="connsiteX28" fmla="*/ 2179092 w 2961863"/>
                <a:gd name="connsiteY28" fmla="*/ 468574 h 818866"/>
                <a:gd name="connsiteX29" fmla="*/ 2165444 w 2961863"/>
                <a:gd name="connsiteY29" fmla="*/ 473123 h 818866"/>
                <a:gd name="connsiteX30" fmla="*/ 2124501 w 2961863"/>
                <a:gd name="connsiteY30" fmla="*/ 491320 h 818866"/>
                <a:gd name="connsiteX31" fmla="*/ 2110853 w 2961863"/>
                <a:gd name="connsiteY31" fmla="*/ 500418 h 818866"/>
                <a:gd name="connsiteX32" fmla="*/ 2097206 w 2961863"/>
                <a:gd name="connsiteY32" fmla="*/ 504968 h 818866"/>
                <a:gd name="connsiteX33" fmla="*/ 2028967 w 2961863"/>
                <a:gd name="connsiteY33" fmla="*/ 500418 h 818866"/>
                <a:gd name="connsiteX34" fmla="*/ 2010770 w 2961863"/>
                <a:gd name="connsiteY34" fmla="*/ 495869 h 818866"/>
                <a:gd name="connsiteX35" fmla="*/ 1919785 w 2961863"/>
                <a:gd name="connsiteY35" fmla="*/ 500418 h 818866"/>
                <a:gd name="connsiteX36" fmla="*/ 1892489 w 2961863"/>
                <a:gd name="connsiteY36" fmla="*/ 514066 h 818866"/>
                <a:gd name="connsiteX37" fmla="*/ 1883391 w 2961863"/>
                <a:gd name="connsiteY37" fmla="*/ 527714 h 818866"/>
                <a:gd name="connsiteX38" fmla="*/ 1856095 w 2961863"/>
                <a:gd name="connsiteY38" fmla="*/ 536812 h 818866"/>
                <a:gd name="connsiteX39" fmla="*/ 1828800 w 2961863"/>
                <a:gd name="connsiteY39" fmla="*/ 545911 h 818866"/>
                <a:gd name="connsiteX40" fmla="*/ 1815152 w 2961863"/>
                <a:gd name="connsiteY40" fmla="*/ 550460 h 818866"/>
                <a:gd name="connsiteX41" fmla="*/ 1774209 w 2961863"/>
                <a:gd name="connsiteY41" fmla="*/ 536812 h 818866"/>
                <a:gd name="connsiteX42" fmla="*/ 1769659 w 2961863"/>
                <a:gd name="connsiteY42" fmla="*/ 523165 h 818866"/>
                <a:gd name="connsiteX43" fmla="*/ 1765110 w 2961863"/>
                <a:gd name="connsiteY43" fmla="*/ 495869 h 818866"/>
                <a:gd name="connsiteX44" fmla="*/ 1751462 w 2961863"/>
                <a:gd name="connsiteY44" fmla="*/ 491320 h 818866"/>
                <a:gd name="connsiteX45" fmla="*/ 1742364 w 2961863"/>
                <a:gd name="connsiteY45" fmla="*/ 477672 h 818866"/>
                <a:gd name="connsiteX46" fmla="*/ 1728716 w 2961863"/>
                <a:gd name="connsiteY46" fmla="*/ 468574 h 818866"/>
                <a:gd name="connsiteX47" fmla="*/ 1724167 w 2961863"/>
                <a:gd name="connsiteY47" fmla="*/ 454926 h 818866"/>
                <a:gd name="connsiteX48" fmla="*/ 1705970 w 2961863"/>
                <a:gd name="connsiteY48" fmla="*/ 427630 h 818866"/>
                <a:gd name="connsiteX49" fmla="*/ 1687773 w 2961863"/>
                <a:gd name="connsiteY49" fmla="*/ 400335 h 818866"/>
                <a:gd name="connsiteX50" fmla="*/ 1674125 w 2961863"/>
                <a:gd name="connsiteY50" fmla="*/ 391236 h 818866"/>
                <a:gd name="connsiteX51" fmla="*/ 1642280 w 2961863"/>
                <a:gd name="connsiteY51" fmla="*/ 373039 h 818866"/>
                <a:gd name="connsiteX52" fmla="*/ 1628632 w 2961863"/>
                <a:gd name="connsiteY52" fmla="*/ 345744 h 818866"/>
                <a:gd name="connsiteX53" fmla="*/ 1614985 w 2961863"/>
                <a:gd name="connsiteY53" fmla="*/ 336645 h 818866"/>
                <a:gd name="connsiteX54" fmla="*/ 1583140 w 2961863"/>
                <a:gd name="connsiteY54" fmla="*/ 313899 h 818866"/>
                <a:gd name="connsiteX55" fmla="*/ 1542197 w 2961863"/>
                <a:gd name="connsiteY55" fmla="*/ 304801 h 818866"/>
                <a:gd name="connsiteX56" fmla="*/ 1514901 w 2961863"/>
                <a:gd name="connsiteY56" fmla="*/ 295702 h 818866"/>
                <a:gd name="connsiteX57" fmla="*/ 1501253 w 2961863"/>
                <a:gd name="connsiteY57" fmla="*/ 286604 h 818866"/>
                <a:gd name="connsiteX58" fmla="*/ 1473958 w 2961863"/>
                <a:gd name="connsiteY58" fmla="*/ 277505 h 818866"/>
                <a:gd name="connsiteX59" fmla="*/ 1401170 w 2961863"/>
                <a:gd name="connsiteY59" fmla="*/ 263857 h 818866"/>
                <a:gd name="connsiteX60" fmla="*/ 1373874 w 2961863"/>
                <a:gd name="connsiteY60" fmla="*/ 254759 h 818866"/>
                <a:gd name="connsiteX61" fmla="*/ 1360226 w 2961863"/>
                <a:gd name="connsiteY61" fmla="*/ 250209 h 818866"/>
                <a:gd name="connsiteX62" fmla="*/ 1319283 w 2961863"/>
                <a:gd name="connsiteY62" fmla="*/ 254759 h 818866"/>
                <a:gd name="connsiteX63" fmla="*/ 1305635 w 2961863"/>
                <a:gd name="connsiteY63" fmla="*/ 263857 h 818866"/>
                <a:gd name="connsiteX64" fmla="*/ 1287438 w 2961863"/>
                <a:gd name="connsiteY64" fmla="*/ 268407 h 818866"/>
                <a:gd name="connsiteX65" fmla="*/ 1260143 w 2961863"/>
                <a:gd name="connsiteY65" fmla="*/ 282054 h 818866"/>
                <a:gd name="connsiteX66" fmla="*/ 1232847 w 2961863"/>
                <a:gd name="connsiteY66" fmla="*/ 295702 h 818866"/>
                <a:gd name="connsiteX67" fmla="*/ 1201003 w 2961863"/>
                <a:gd name="connsiteY67" fmla="*/ 300251 h 818866"/>
                <a:gd name="connsiteX68" fmla="*/ 1146411 w 2961863"/>
                <a:gd name="connsiteY68" fmla="*/ 318448 h 818866"/>
                <a:gd name="connsiteX69" fmla="*/ 1114567 w 2961863"/>
                <a:gd name="connsiteY69" fmla="*/ 332096 h 818866"/>
                <a:gd name="connsiteX70" fmla="*/ 937146 w 2961863"/>
                <a:gd name="connsiteY70" fmla="*/ 336645 h 818866"/>
                <a:gd name="connsiteX71" fmla="*/ 909850 w 2961863"/>
                <a:gd name="connsiteY71" fmla="*/ 350293 h 818866"/>
                <a:gd name="connsiteX72" fmla="*/ 896203 w 2961863"/>
                <a:gd name="connsiteY72" fmla="*/ 354842 h 818866"/>
                <a:gd name="connsiteX73" fmla="*/ 823414 w 2961863"/>
                <a:gd name="connsiteY73" fmla="*/ 350293 h 818866"/>
                <a:gd name="connsiteX74" fmla="*/ 809767 w 2961863"/>
                <a:gd name="connsiteY74" fmla="*/ 345744 h 818866"/>
                <a:gd name="connsiteX75" fmla="*/ 764274 w 2961863"/>
                <a:gd name="connsiteY75" fmla="*/ 332096 h 818866"/>
                <a:gd name="connsiteX76" fmla="*/ 750626 w 2961863"/>
                <a:gd name="connsiteY76" fmla="*/ 327547 h 818866"/>
                <a:gd name="connsiteX77" fmla="*/ 736979 w 2961863"/>
                <a:gd name="connsiteY77" fmla="*/ 322998 h 818866"/>
                <a:gd name="connsiteX78" fmla="*/ 682388 w 2961863"/>
                <a:gd name="connsiteY78" fmla="*/ 318448 h 818866"/>
                <a:gd name="connsiteX79" fmla="*/ 632346 w 2961863"/>
                <a:gd name="connsiteY79" fmla="*/ 309350 h 818866"/>
                <a:gd name="connsiteX80" fmla="*/ 614149 w 2961863"/>
                <a:gd name="connsiteY80" fmla="*/ 304801 h 818866"/>
                <a:gd name="connsiteX81" fmla="*/ 586853 w 2961863"/>
                <a:gd name="connsiteY81" fmla="*/ 295702 h 818866"/>
                <a:gd name="connsiteX82" fmla="*/ 555009 w 2961863"/>
                <a:gd name="connsiteY82" fmla="*/ 291153 h 818866"/>
                <a:gd name="connsiteX83" fmla="*/ 532262 w 2961863"/>
                <a:gd name="connsiteY83" fmla="*/ 286604 h 818866"/>
                <a:gd name="connsiteX84" fmla="*/ 500417 w 2961863"/>
                <a:gd name="connsiteY84" fmla="*/ 282054 h 818866"/>
                <a:gd name="connsiteX85" fmla="*/ 473122 w 2961863"/>
                <a:gd name="connsiteY85" fmla="*/ 263857 h 818866"/>
                <a:gd name="connsiteX86" fmla="*/ 464023 w 2961863"/>
                <a:gd name="connsiteY86" fmla="*/ 250209 h 818866"/>
                <a:gd name="connsiteX87" fmla="*/ 445826 w 2961863"/>
                <a:gd name="connsiteY87" fmla="*/ 241111 h 818866"/>
                <a:gd name="connsiteX88" fmla="*/ 432179 w 2961863"/>
                <a:gd name="connsiteY88" fmla="*/ 232012 h 818866"/>
                <a:gd name="connsiteX89" fmla="*/ 413982 w 2961863"/>
                <a:gd name="connsiteY89" fmla="*/ 204717 h 818866"/>
                <a:gd name="connsiteX90" fmla="*/ 391235 w 2961863"/>
                <a:gd name="connsiteY90" fmla="*/ 177421 h 818866"/>
                <a:gd name="connsiteX91" fmla="*/ 363940 w 2961863"/>
                <a:gd name="connsiteY91" fmla="*/ 159224 h 818866"/>
                <a:gd name="connsiteX92" fmla="*/ 336644 w 2961863"/>
                <a:gd name="connsiteY92" fmla="*/ 141027 h 818866"/>
                <a:gd name="connsiteX93" fmla="*/ 327546 w 2961863"/>
                <a:gd name="connsiteY93" fmla="*/ 127380 h 818866"/>
                <a:gd name="connsiteX94" fmla="*/ 313898 w 2961863"/>
                <a:gd name="connsiteY94" fmla="*/ 122830 h 818866"/>
                <a:gd name="connsiteX95" fmla="*/ 300250 w 2961863"/>
                <a:gd name="connsiteY95" fmla="*/ 113732 h 818866"/>
                <a:gd name="connsiteX96" fmla="*/ 272955 w 2961863"/>
                <a:gd name="connsiteY96" fmla="*/ 104633 h 818866"/>
                <a:gd name="connsiteX97" fmla="*/ 259307 w 2961863"/>
                <a:gd name="connsiteY97" fmla="*/ 100084 h 818866"/>
                <a:gd name="connsiteX98" fmla="*/ 245659 w 2961863"/>
                <a:gd name="connsiteY98" fmla="*/ 95535 h 818866"/>
                <a:gd name="connsiteX99" fmla="*/ 232011 w 2961863"/>
                <a:gd name="connsiteY99" fmla="*/ 86436 h 818866"/>
                <a:gd name="connsiteX100" fmla="*/ 204716 w 2961863"/>
                <a:gd name="connsiteY100" fmla="*/ 77338 h 818866"/>
                <a:gd name="connsiteX101" fmla="*/ 177420 w 2961863"/>
                <a:gd name="connsiteY101" fmla="*/ 68239 h 818866"/>
                <a:gd name="connsiteX102" fmla="*/ 163773 w 2961863"/>
                <a:gd name="connsiteY102" fmla="*/ 63690 h 818866"/>
                <a:gd name="connsiteX103" fmla="*/ 0 w 2961863"/>
                <a:gd name="connsiteY103" fmla="*/ 0 h 818866"/>
                <a:gd name="connsiteX0" fmla="*/ 2888776 w 2925469"/>
                <a:gd name="connsiteY0" fmla="*/ 805218 h 805218"/>
                <a:gd name="connsiteX1" fmla="*/ 2884226 w 2925469"/>
                <a:gd name="connsiteY1" fmla="*/ 782472 h 805218"/>
                <a:gd name="connsiteX2" fmla="*/ 2879677 w 2925469"/>
                <a:gd name="connsiteY2" fmla="*/ 768824 h 805218"/>
                <a:gd name="connsiteX3" fmla="*/ 2893325 w 2925469"/>
                <a:gd name="connsiteY3" fmla="*/ 686938 h 805218"/>
                <a:gd name="connsiteX4" fmla="*/ 2906973 w 2925469"/>
                <a:gd name="connsiteY4" fmla="*/ 673290 h 805218"/>
                <a:gd name="connsiteX5" fmla="*/ 2920620 w 2925469"/>
                <a:gd name="connsiteY5" fmla="*/ 632347 h 805218"/>
                <a:gd name="connsiteX6" fmla="*/ 2925170 w 2925469"/>
                <a:gd name="connsiteY6" fmla="*/ 618699 h 805218"/>
                <a:gd name="connsiteX7" fmla="*/ 2920620 w 2925469"/>
                <a:gd name="connsiteY7" fmla="*/ 559559 h 805218"/>
                <a:gd name="connsiteX8" fmla="*/ 2879677 w 2925469"/>
                <a:gd name="connsiteY8" fmla="*/ 545911 h 805218"/>
                <a:gd name="connsiteX9" fmla="*/ 2866029 w 2925469"/>
                <a:gd name="connsiteY9" fmla="*/ 541361 h 805218"/>
                <a:gd name="connsiteX10" fmla="*/ 2852382 w 2925469"/>
                <a:gd name="connsiteY10" fmla="*/ 532263 h 805218"/>
                <a:gd name="connsiteX11" fmla="*/ 2765946 w 2925469"/>
                <a:gd name="connsiteY11" fmla="*/ 527714 h 805218"/>
                <a:gd name="connsiteX12" fmla="*/ 2715904 w 2925469"/>
                <a:gd name="connsiteY12" fmla="*/ 518615 h 805218"/>
                <a:gd name="connsiteX13" fmla="*/ 2688609 w 2925469"/>
                <a:gd name="connsiteY13" fmla="*/ 509517 h 805218"/>
                <a:gd name="connsiteX14" fmla="*/ 2647665 w 2925469"/>
                <a:gd name="connsiteY14" fmla="*/ 495869 h 805218"/>
                <a:gd name="connsiteX15" fmla="*/ 2634017 w 2925469"/>
                <a:gd name="connsiteY15" fmla="*/ 491320 h 805218"/>
                <a:gd name="connsiteX16" fmla="*/ 2556680 w 2925469"/>
                <a:gd name="connsiteY16" fmla="*/ 486770 h 805218"/>
                <a:gd name="connsiteX17" fmla="*/ 2520286 w 2925469"/>
                <a:gd name="connsiteY17" fmla="*/ 482221 h 805218"/>
                <a:gd name="connsiteX18" fmla="*/ 2374710 w 2925469"/>
                <a:gd name="connsiteY18" fmla="*/ 473123 h 805218"/>
                <a:gd name="connsiteX19" fmla="*/ 2333767 w 2925469"/>
                <a:gd name="connsiteY19" fmla="*/ 464024 h 805218"/>
                <a:gd name="connsiteX20" fmla="*/ 2306471 w 2925469"/>
                <a:gd name="connsiteY20" fmla="*/ 454926 h 805218"/>
                <a:gd name="connsiteX21" fmla="*/ 2292823 w 2925469"/>
                <a:gd name="connsiteY21" fmla="*/ 450376 h 805218"/>
                <a:gd name="connsiteX22" fmla="*/ 2251880 w 2925469"/>
                <a:gd name="connsiteY22" fmla="*/ 427630 h 805218"/>
                <a:gd name="connsiteX23" fmla="*/ 2238232 w 2925469"/>
                <a:gd name="connsiteY23" fmla="*/ 423081 h 805218"/>
                <a:gd name="connsiteX24" fmla="*/ 2224585 w 2925469"/>
                <a:gd name="connsiteY24" fmla="*/ 418532 h 805218"/>
                <a:gd name="connsiteX25" fmla="*/ 2197289 w 2925469"/>
                <a:gd name="connsiteY25" fmla="*/ 432179 h 805218"/>
                <a:gd name="connsiteX26" fmla="*/ 2183641 w 2925469"/>
                <a:gd name="connsiteY26" fmla="*/ 441278 h 805218"/>
                <a:gd name="connsiteX27" fmla="*/ 2156346 w 2925469"/>
                <a:gd name="connsiteY27" fmla="*/ 450376 h 805218"/>
                <a:gd name="connsiteX28" fmla="*/ 2142698 w 2925469"/>
                <a:gd name="connsiteY28" fmla="*/ 454926 h 805218"/>
                <a:gd name="connsiteX29" fmla="*/ 2129050 w 2925469"/>
                <a:gd name="connsiteY29" fmla="*/ 459475 h 805218"/>
                <a:gd name="connsiteX30" fmla="*/ 2088107 w 2925469"/>
                <a:gd name="connsiteY30" fmla="*/ 477672 h 805218"/>
                <a:gd name="connsiteX31" fmla="*/ 2074459 w 2925469"/>
                <a:gd name="connsiteY31" fmla="*/ 486770 h 805218"/>
                <a:gd name="connsiteX32" fmla="*/ 2060812 w 2925469"/>
                <a:gd name="connsiteY32" fmla="*/ 491320 h 805218"/>
                <a:gd name="connsiteX33" fmla="*/ 1992573 w 2925469"/>
                <a:gd name="connsiteY33" fmla="*/ 486770 h 805218"/>
                <a:gd name="connsiteX34" fmla="*/ 1974376 w 2925469"/>
                <a:gd name="connsiteY34" fmla="*/ 482221 h 805218"/>
                <a:gd name="connsiteX35" fmla="*/ 1883391 w 2925469"/>
                <a:gd name="connsiteY35" fmla="*/ 486770 h 805218"/>
                <a:gd name="connsiteX36" fmla="*/ 1856095 w 2925469"/>
                <a:gd name="connsiteY36" fmla="*/ 500418 h 805218"/>
                <a:gd name="connsiteX37" fmla="*/ 1846997 w 2925469"/>
                <a:gd name="connsiteY37" fmla="*/ 514066 h 805218"/>
                <a:gd name="connsiteX38" fmla="*/ 1819701 w 2925469"/>
                <a:gd name="connsiteY38" fmla="*/ 523164 h 805218"/>
                <a:gd name="connsiteX39" fmla="*/ 1792406 w 2925469"/>
                <a:gd name="connsiteY39" fmla="*/ 532263 h 805218"/>
                <a:gd name="connsiteX40" fmla="*/ 1778758 w 2925469"/>
                <a:gd name="connsiteY40" fmla="*/ 536812 h 805218"/>
                <a:gd name="connsiteX41" fmla="*/ 1737815 w 2925469"/>
                <a:gd name="connsiteY41" fmla="*/ 523164 h 805218"/>
                <a:gd name="connsiteX42" fmla="*/ 1733265 w 2925469"/>
                <a:gd name="connsiteY42" fmla="*/ 509517 h 805218"/>
                <a:gd name="connsiteX43" fmla="*/ 1728716 w 2925469"/>
                <a:gd name="connsiteY43" fmla="*/ 482221 h 805218"/>
                <a:gd name="connsiteX44" fmla="*/ 1715068 w 2925469"/>
                <a:gd name="connsiteY44" fmla="*/ 477672 h 805218"/>
                <a:gd name="connsiteX45" fmla="*/ 1705970 w 2925469"/>
                <a:gd name="connsiteY45" fmla="*/ 464024 h 805218"/>
                <a:gd name="connsiteX46" fmla="*/ 1692322 w 2925469"/>
                <a:gd name="connsiteY46" fmla="*/ 454926 h 805218"/>
                <a:gd name="connsiteX47" fmla="*/ 1687773 w 2925469"/>
                <a:gd name="connsiteY47" fmla="*/ 441278 h 805218"/>
                <a:gd name="connsiteX48" fmla="*/ 1669576 w 2925469"/>
                <a:gd name="connsiteY48" fmla="*/ 413982 h 805218"/>
                <a:gd name="connsiteX49" fmla="*/ 1651379 w 2925469"/>
                <a:gd name="connsiteY49" fmla="*/ 386687 h 805218"/>
                <a:gd name="connsiteX50" fmla="*/ 1637731 w 2925469"/>
                <a:gd name="connsiteY50" fmla="*/ 377588 h 805218"/>
                <a:gd name="connsiteX51" fmla="*/ 1605886 w 2925469"/>
                <a:gd name="connsiteY51" fmla="*/ 359391 h 805218"/>
                <a:gd name="connsiteX52" fmla="*/ 1592238 w 2925469"/>
                <a:gd name="connsiteY52" fmla="*/ 332096 h 805218"/>
                <a:gd name="connsiteX53" fmla="*/ 1578591 w 2925469"/>
                <a:gd name="connsiteY53" fmla="*/ 322997 h 805218"/>
                <a:gd name="connsiteX54" fmla="*/ 1546746 w 2925469"/>
                <a:gd name="connsiteY54" fmla="*/ 300251 h 805218"/>
                <a:gd name="connsiteX55" fmla="*/ 1505803 w 2925469"/>
                <a:gd name="connsiteY55" fmla="*/ 291153 h 805218"/>
                <a:gd name="connsiteX56" fmla="*/ 1478507 w 2925469"/>
                <a:gd name="connsiteY56" fmla="*/ 282054 h 805218"/>
                <a:gd name="connsiteX57" fmla="*/ 1464859 w 2925469"/>
                <a:gd name="connsiteY57" fmla="*/ 272956 h 805218"/>
                <a:gd name="connsiteX58" fmla="*/ 1437564 w 2925469"/>
                <a:gd name="connsiteY58" fmla="*/ 263857 h 805218"/>
                <a:gd name="connsiteX59" fmla="*/ 1364776 w 2925469"/>
                <a:gd name="connsiteY59" fmla="*/ 250209 h 805218"/>
                <a:gd name="connsiteX60" fmla="*/ 1337480 w 2925469"/>
                <a:gd name="connsiteY60" fmla="*/ 241111 h 805218"/>
                <a:gd name="connsiteX61" fmla="*/ 1323832 w 2925469"/>
                <a:gd name="connsiteY61" fmla="*/ 236561 h 805218"/>
                <a:gd name="connsiteX62" fmla="*/ 1282889 w 2925469"/>
                <a:gd name="connsiteY62" fmla="*/ 241111 h 805218"/>
                <a:gd name="connsiteX63" fmla="*/ 1269241 w 2925469"/>
                <a:gd name="connsiteY63" fmla="*/ 250209 h 805218"/>
                <a:gd name="connsiteX64" fmla="*/ 1251044 w 2925469"/>
                <a:gd name="connsiteY64" fmla="*/ 254759 h 805218"/>
                <a:gd name="connsiteX65" fmla="*/ 1223749 w 2925469"/>
                <a:gd name="connsiteY65" fmla="*/ 268406 h 805218"/>
                <a:gd name="connsiteX66" fmla="*/ 1196453 w 2925469"/>
                <a:gd name="connsiteY66" fmla="*/ 282054 h 805218"/>
                <a:gd name="connsiteX67" fmla="*/ 1164609 w 2925469"/>
                <a:gd name="connsiteY67" fmla="*/ 286603 h 805218"/>
                <a:gd name="connsiteX68" fmla="*/ 1110017 w 2925469"/>
                <a:gd name="connsiteY68" fmla="*/ 304800 h 805218"/>
                <a:gd name="connsiteX69" fmla="*/ 1078173 w 2925469"/>
                <a:gd name="connsiteY69" fmla="*/ 318448 h 805218"/>
                <a:gd name="connsiteX70" fmla="*/ 900752 w 2925469"/>
                <a:gd name="connsiteY70" fmla="*/ 322997 h 805218"/>
                <a:gd name="connsiteX71" fmla="*/ 873456 w 2925469"/>
                <a:gd name="connsiteY71" fmla="*/ 336645 h 805218"/>
                <a:gd name="connsiteX72" fmla="*/ 859809 w 2925469"/>
                <a:gd name="connsiteY72" fmla="*/ 341194 h 805218"/>
                <a:gd name="connsiteX73" fmla="*/ 787020 w 2925469"/>
                <a:gd name="connsiteY73" fmla="*/ 336645 h 805218"/>
                <a:gd name="connsiteX74" fmla="*/ 773373 w 2925469"/>
                <a:gd name="connsiteY74" fmla="*/ 332096 h 805218"/>
                <a:gd name="connsiteX75" fmla="*/ 727880 w 2925469"/>
                <a:gd name="connsiteY75" fmla="*/ 318448 h 805218"/>
                <a:gd name="connsiteX76" fmla="*/ 714232 w 2925469"/>
                <a:gd name="connsiteY76" fmla="*/ 313899 h 805218"/>
                <a:gd name="connsiteX77" fmla="*/ 700585 w 2925469"/>
                <a:gd name="connsiteY77" fmla="*/ 309350 h 805218"/>
                <a:gd name="connsiteX78" fmla="*/ 645994 w 2925469"/>
                <a:gd name="connsiteY78" fmla="*/ 304800 h 805218"/>
                <a:gd name="connsiteX79" fmla="*/ 595952 w 2925469"/>
                <a:gd name="connsiteY79" fmla="*/ 295702 h 805218"/>
                <a:gd name="connsiteX80" fmla="*/ 577755 w 2925469"/>
                <a:gd name="connsiteY80" fmla="*/ 291153 h 805218"/>
                <a:gd name="connsiteX81" fmla="*/ 550459 w 2925469"/>
                <a:gd name="connsiteY81" fmla="*/ 282054 h 805218"/>
                <a:gd name="connsiteX82" fmla="*/ 518615 w 2925469"/>
                <a:gd name="connsiteY82" fmla="*/ 277505 h 805218"/>
                <a:gd name="connsiteX83" fmla="*/ 495868 w 2925469"/>
                <a:gd name="connsiteY83" fmla="*/ 272956 h 805218"/>
                <a:gd name="connsiteX84" fmla="*/ 464023 w 2925469"/>
                <a:gd name="connsiteY84" fmla="*/ 268406 h 805218"/>
                <a:gd name="connsiteX85" fmla="*/ 436728 w 2925469"/>
                <a:gd name="connsiteY85" fmla="*/ 250209 h 805218"/>
                <a:gd name="connsiteX86" fmla="*/ 427629 w 2925469"/>
                <a:gd name="connsiteY86" fmla="*/ 236561 h 805218"/>
                <a:gd name="connsiteX87" fmla="*/ 409432 w 2925469"/>
                <a:gd name="connsiteY87" fmla="*/ 227463 h 805218"/>
                <a:gd name="connsiteX88" fmla="*/ 395785 w 2925469"/>
                <a:gd name="connsiteY88" fmla="*/ 218364 h 805218"/>
                <a:gd name="connsiteX89" fmla="*/ 377588 w 2925469"/>
                <a:gd name="connsiteY89" fmla="*/ 191069 h 805218"/>
                <a:gd name="connsiteX90" fmla="*/ 354841 w 2925469"/>
                <a:gd name="connsiteY90" fmla="*/ 163773 h 805218"/>
                <a:gd name="connsiteX91" fmla="*/ 327546 w 2925469"/>
                <a:gd name="connsiteY91" fmla="*/ 145576 h 805218"/>
                <a:gd name="connsiteX92" fmla="*/ 300250 w 2925469"/>
                <a:gd name="connsiteY92" fmla="*/ 127379 h 805218"/>
                <a:gd name="connsiteX93" fmla="*/ 291152 w 2925469"/>
                <a:gd name="connsiteY93" fmla="*/ 113732 h 805218"/>
                <a:gd name="connsiteX94" fmla="*/ 277504 w 2925469"/>
                <a:gd name="connsiteY94" fmla="*/ 109182 h 805218"/>
                <a:gd name="connsiteX95" fmla="*/ 263856 w 2925469"/>
                <a:gd name="connsiteY95" fmla="*/ 100084 h 805218"/>
                <a:gd name="connsiteX96" fmla="*/ 236561 w 2925469"/>
                <a:gd name="connsiteY96" fmla="*/ 90985 h 805218"/>
                <a:gd name="connsiteX97" fmla="*/ 222913 w 2925469"/>
                <a:gd name="connsiteY97" fmla="*/ 86436 h 805218"/>
                <a:gd name="connsiteX98" fmla="*/ 209265 w 2925469"/>
                <a:gd name="connsiteY98" fmla="*/ 81887 h 805218"/>
                <a:gd name="connsiteX99" fmla="*/ 195617 w 2925469"/>
                <a:gd name="connsiteY99" fmla="*/ 72788 h 805218"/>
                <a:gd name="connsiteX100" fmla="*/ 168322 w 2925469"/>
                <a:gd name="connsiteY100" fmla="*/ 63690 h 805218"/>
                <a:gd name="connsiteX101" fmla="*/ 141026 w 2925469"/>
                <a:gd name="connsiteY101" fmla="*/ 54591 h 805218"/>
                <a:gd name="connsiteX102" fmla="*/ 127379 w 2925469"/>
                <a:gd name="connsiteY102" fmla="*/ 50042 h 805218"/>
                <a:gd name="connsiteX103" fmla="*/ 0 w 2925469"/>
                <a:gd name="connsiteY103" fmla="*/ 0 h 805218"/>
                <a:gd name="connsiteX0" fmla="*/ 2884227 w 2920920"/>
                <a:gd name="connsiteY0" fmla="*/ 791570 h 791570"/>
                <a:gd name="connsiteX1" fmla="*/ 2879677 w 2920920"/>
                <a:gd name="connsiteY1" fmla="*/ 768824 h 791570"/>
                <a:gd name="connsiteX2" fmla="*/ 2875128 w 2920920"/>
                <a:gd name="connsiteY2" fmla="*/ 755176 h 791570"/>
                <a:gd name="connsiteX3" fmla="*/ 2888776 w 2920920"/>
                <a:gd name="connsiteY3" fmla="*/ 673290 h 791570"/>
                <a:gd name="connsiteX4" fmla="*/ 2902424 w 2920920"/>
                <a:gd name="connsiteY4" fmla="*/ 659642 h 791570"/>
                <a:gd name="connsiteX5" fmla="*/ 2916071 w 2920920"/>
                <a:gd name="connsiteY5" fmla="*/ 618699 h 791570"/>
                <a:gd name="connsiteX6" fmla="*/ 2920621 w 2920920"/>
                <a:gd name="connsiteY6" fmla="*/ 605051 h 791570"/>
                <a:gd name="connsiteX7" fmla="*/ 2916071 w 2920920"/>
                <a:gd name="connsiteY7" fmla="*/ 545911 h 791570"/>
                <a:gd name="connsiteX8" fmla="*/ 2875128 w 2920920"/>
                <a:gd name="connsiteY8" fmla="*/ 532263 h 791570"/>
                <a:gd name="connsiteX9" fmla="*/ 2861480 w 2920920"/>
                <a:gd name="connsiteY9" fmla="*/ 527713 h 791570"/>
                <a:gd name="connsiteX10" fmla="*/ 2847833 w 2920920"/>
                <a:gd name="connsiteY10" fmla="*/ 518615 h 791570"/>
                <a:gd name="connsiteX11" fmla="*/ 2761397 w 2920920"/>
                <a:gd name="connsiteY11" fmla="*/ 514066 h 791570"/>
                <a:gd name="connsiteX12" fmla="*/ 2711355 w 2920920"/>
                <a:gd name="connsiteY12" fmla="*/ 504967 h 791570"/>
                <a:gd name="connsiteX13" fmla="*/ 2684060 w 2920920"/>
                <a:gd name="connsiteY13" fmla="*/ 495869 h 791570"/>
                <a:gd name="connsiteX14" fmla="*/ 2643116 w 2920920"/>
                <a:gd name="connsiteY14" fmla="*/ 482221 h 791570"/>
                <a:gd name="connsiteX15" fmla="*/ 2629468 w 2920920"/>
                <a:gd name="connsiteY15" fmla="*/ 477672 h 791570"/>
                <a:gd name="connsiteX16" fmla="*/ 2552131 w 2920920"/>
                <a:gd name="connsiteY16" fmla="*/ 473122 h 791570"/>
                <a:gd name="connsiteX17" fmla="*/ 2515737 w 2920920"/>
                <a:gd name="connsiteY17" fmla="*/ 468573 h 791570"/>
                <a:gd name="connsiteX18" fmla="*/ 2370161 w 2920920"/>
                <a:gd name="connsiteY18" fmla="*/ 459475 h 791570"/>
                <a:gd name="connsiteX19" fmla="*/ 2329218 w 2920920"/>
                <a:gd name="connsiteY19" fmla="*/ 450376 h 791570"/>
                <a:gd name="connsiteX20" fmla="*/ 2301922 w 2920920"/>
                <a:gd name="connsiteY20" fmla="*/ 441278 h 791570"/>
                <a:gd name="connsiteX21" fmla="*/ 2288274 w 2920920"/>
                <a:gd name="connsiteY21" fmla="*/ 436728 h 791570"/>
                <a:gd name="connsiteX22" fmla="*/ 2247331 w 2920920"/>
                <a:gd name="connsiteY22" fmla="*/ 413982 h 791570"/>
                <a:gd name="connsiteX23" fmla="*/ 2233683 w 2920920"/>
                <a:gd name="connsiteY23" fmla="*/ 409433 h 791570"/>
                <a:gd name="connsiteX24" fmla="*/ 2220036 w 2920920"/>
                <a:gd name="connsiteY24" fmla="*/ 404884 h 791570"/>
                <a:gd name="connsiteX25" fmla="*/ 2192740 w 2920920"/>
                <a:gd name="connsiteY25" fmla="*/ 418531 h 791570"/>
                <a:gd name="connsiteX26" fmla="*/ 2179092 w 2920920"/>
                <a:gd name="connsiteY26" fmla="*/ 427630 h 791570"/>
                <a:gd name="connsiteX27" fmla="*/ 2151797 w 2920920"/>
                <a:gd name="connsiteY27" fmla="*/ 436728 h 791570"/>
                <a:gd name="connsiteX28" fmla="*/ 2138149 w 2920920"/>
                <a:gd name="connsiteY28" fmla="*/ 441278 h 791570"/>
                <a:gd name="connsiteX29" fmla="*/ 2124501 w 2920920"/>
                <a:gd name="connsiteY29" fmla="*/ 445827 h 791570"/>
                <a:gd name="connsiteX30" fmla="*/ 2083558 w 2920920"/>
                <a:gd name="connsiteY30" fmla="*/ 464024 h 791570"/>
                <a:gd name="connsiteX31" fmla="*/ 2069910 w 2920920"/>
                <a:gd name="connsiteY31" fmla="*/ 473122 h 791570"/>
                <a:gd name="connsiteX32" fmla="*/ 2056263 w 2920920"/>
                <a:gd name="connsiteY32" fmla="*/ 477672 h 791570"/>
                <a:gd name="connsiteX33" fmla="*/ 1988024 w 2920920"/>
                <a:gd name="connsiteY33" fmla="*/ 473122 h 791570"/>
                <a:gd name="connsiteX34" fmla="*/ 1969827 w 2920920"/>
                <a:gd name="connsiteY34" fmla="*/ 468573 h 791570"/>
                <a:gd name="connsiteX35" fmla="*/ 1878842 w 2920920"/>
                <a:gd name="connsiteY35" fmla="*/ 473122 h 791570"/>
                <a:gd name="connsiteX36" fmla="*/ 1851546 w 2920920"/>
                <a:gd name="connsiteY36" fmla="*/ 486770 h 791570"/>
                <a:gd name="connsiteX37" fmla="*/ 1842448 w 2920920"/>
                <a:gd name="connsiteY37" fmla="*/ 500418 h 791570"/>
                <a:gd name="connsiteX38" fmla="*/ 1815152 w 2920920"/>
                <a:gd name="connsiteY38" fmla="*/ 509516 h 791570"/>
                <a:gd name="connsiteX39" fmla="*/ 1787857 w 2920920"/>
                <a:gd name="connsiteY39" fmla="*/ 518615 h 791570"/>
                <a:gd name="connsiteX40" fmla="*/ 1774209 w 2920920"/>
                <a:gd name="connsiteY40" fmla="*/ 523164 h 791570"/>
                <a:gd name="connsiteX41" fmla="*/ 1733266 w 2920920"/>
                <a:gd name="connsiteY41" fmla="*/ 509516 h 791570"/>
                <a:gd name="connsiteX42" fmla="*/ 1728716 w 2920920"/>
                <a:gd name="connsiteY42" fmla="*/ 495869 h 791570"/>
                <a:gd name="connsiteX43" fmla="*/ 1724167 w 2920920"/>
                <a:gd name="connsiteY43" fmla="*/ 468573 h 791570"/>
                <a:gd name="connsiteX44" fmla="*/ 1710519 w 2920920"/>
                <a:gd name="connsiteY44" fmla="*/ 464024 h 791570"/>
                <a:gd name="connsiteX45" fmla="*/ 1701421 w 2920920"/>
                <a:gd name="connsiteY45" fmla="*/ 450376 h 791570"/>
                <a:gd name="connsiteX46" fmla="*/ 1687773 w 2920920"/>
                <a:gd name="connsiteY46" fmla="*/ 441278 h 791570"/>
                <a:gd name="connsiteX47" fmla="*/ 1683224 w 2920920"/>
                <a:gd name="connsiteY47" fmla="*/ 427630 h 791570"/>
                <a:gd name="connsiteX48" fmla="*/ 1665027 w 2920920"/>
                <a:gd name="connsiteY48" fmla="*/ 400334 h 791570"/>
                <a:gd name="connsiteX49" fmla="*/ 1646830 w 2920920"/>
                <a:gd name="connsiteY49" fmla="*/ 373039 h 791570"/>
                <a:gd name="connsiteX50" fmla="*/ 1633182 w 2920920"/>
                <a:gd name="connsiteY50" fmla="*/ 363940 h 791570"/>
                <a:gd name="connsiteX51" fmla="*/ 1601337 w 2920920"/>
                <a:gd name="connsiteY51" fmla="*/ 345743 h 791570"/>
                <a:gd name="connsiteX52" fmla="*/ 1587689 w 2920920"/>
                <a:gd name="connsiteY52" fmla="*/ 318448 h 791570"/>
                <a:gd name="connsiteX53" fmla="*/ 1574042 w 2920920"/>
                <a:gd name="connsiteY53" fmla="*/ 309349 h 791570"/>
                <a:gd name="connsiteX54" fmla="*/ 1542197 w 2920920"/>
                <a:gd name="connsiteY54" fmla="*/ 286603 h 791570"/>
                <a:gd name="connsiteX55" fmla="*/ 1501254 w 2920920"/>
                <a:gd name="connsiteY55" fmla="*/ 277505 h 791570"/>
                <a:gd name="connsiteX56" fmla="*/ 1473958 w 2920920"/>
                <a:gd name="connsiteY56" fmla="*/ 268406 h 791570"/>
                <a:gd name="connsiteX57" fmla="*/ 1460310 w 2920920"/>
                <a:gd name="connsiteY57" fmla="*/ 259308 h 791570"/>
                <a:gd name="connsiteX58" fmla="*/ 1433015 w 2920920"/>
                <a:gd name="connsiteY58" fmla="*/ 250209 h 791570"/>
                <a:gd name="connsiteX59" fmla="*/ 1360227 w 2920920"/>
                <a:gd name="connsiteY59" fmla="*/ 236561 h 791570"/>
                <a:gd name="connsiteX60" fmla="*/ 1332931 w 2920920"/>
                <a:gd name="connsiteY60" fmla="*/ 227463 h 791570"/>
                <a:gd name="connsiteX61" fmla="*/ 1319283 w 2920920"/>
                <a:gd name="connsiteY61" fmla="*/ 222913 h 791570"/>
                <a:gd name="connsiteX62" fmla="*/ 1278340 w 2920920"/>
                <a:gd name="connsiteY62" fmla="*/ 227463 h 791570"/>
                <a:gd name="connsiteX63" fmla="*/ 1264692 w 2920920"/>
                <a:gd name="connsiteY63" fmla="*/ 236561 h 791570"/>
                <a:gd name="connsiteX64" fmla="*/ 1246495 w 2920920"/>
                <a:gd name="connsiteY64" fmla="*/ 241111 h 791570"/>
                <a:gd name="connsiteX65" fmla="*/ 1219200 w 2920920"/>
                <a:gd name="connsiteY65" fmla="*/ 254758 h 791570"/>
                <a:gd name="connsiteX66" fmla="*/ 1191904 w 2920920"/>
                <a:gd name="connsiteY66" fmla="*/ 268406 h 791570"/>
                <a:gd name="connsiteX67" fmla="*/ 1160060 w 2920920"/>
                <a:gd name="connsiteY67" fmla="*/ 272955 h 791570"/>
                <a:gd name="connsiteX68" fmla="*/ 1105468 w 2920920"/>
                <a:gd name="connsiteY68" fmla="*/ 291152 h 791570"/>
                <a:gd name="connsiteX69" fmla="*/ 1073624 w 2920920"/>
                <a:gd name="connsiteY69" fmla="*/ 304800 h 791570"/>
                <a:gd name="connsiteX70" fmla="*/ 896203 w 2920920"/>
                <a:gd name="connsiteY70" fmla="*/ 309349 h 791570"/>
                <a:gd name="connsiteX71" fmla="*/ 868907 w 2920920"/>
                <a:gd name="connsiteY71" fmla="*/ 322997 h 791570"/>
                <a:gd name="connsiteX72" fmla="*/ 855260 w 2920920"/>
                <a:gd name="connsiteY72" fmla="*/ 327546 h 791570"/>
                <a:gd name="connsiteX73" fmla="*/ 782471 w 2920920"/>
                <a:gd name="connsiteY73" fmla="*/ 322997 h 791570"/>
                <a:gd name="connsiteX74" fmla="*/ 768824 w 2920920"/>
                <a:gd name="connsiteY74" fmla="*/ 318448 h 791570"/>
                <a:gd name="connsiteX75" fmla="*/ 723331 w 2920920"/>
                <a:gd name="connsiteY75" fmla="*/ 304800 h 791570"/>
                <a:gd name="connsiteX76" fmla="*/ 709683 w 2920920"/>
                <a:gd name="connsiteY76" fmla="*/ 300251 h 791570"/>
                <a:gd name="connsiteX77" fmla="*/ 696036 w 2920920"/>
                <a:gd name="connsiteY77" fmla="*/ 295702 h 791570"/>
                <a:gd name="connsiteX78" fmla="*/ 641445 w 2920920"/>
                <a:gd name="connsiteY78" fmla="*/ 291152 h 791570"/>
                <a:gd name="connsiteX79" fmla="*/ 591403 w 2920920"/>
                <a:gd name="connsiteY79" fmla="*/ 282054 h 791570"/>
                <a:gd name="connsiteX80" fmla="*/ 573206 w 2920920"/>
                <a:gd name="connsiteY80" fmla="*/ 277505 h 791570"/>
                <a:gd name="connsiteX81" fmla="*/ 545910 w 2920920"/>
                <a:gd name="connsiteY81" fmla="*/ 268406 h 791570"/>
                <a:gd name="connsiteX82" fmla="*/ 514066 w 2920920"/>
                <a:gd name="connsiteY82" fmla="*/ 263857 h 791570"/>
                <a:gd name="connsiteX83" fmla="*/ 491319 w 2920920"/>
                <a:gd name="connsiteY83" fmla="*/ 259308 h 791570"/>
                <a:gd name="connsiteX84" fmla="*/ 459474 w 2920920"/>
                <a:gd name="connsiteY84" fmla="*/ 254758 h 791570"/>
                <a:gd name="connsiteX85" fmla="*/ 432179 w 2920920"/>
                <a:gd name="connsiteY85" fmla="*/ 236561 h 791570"/>
                <a:gd name="connsiteX86" fmla="*/ 423080 w 2920920"/>
                <a:gd name="connsiteY86" fmla="*/ 222913 h 791570"/>
                <a:gd name="connsiteX87" fmla="*/ 404883 w 2920920"/>
                <a:gd name="connsiteY87" fmla="*/ 213815 h 791570"/>
                <a:gd name="connsiteX88" fmla="*/ 391236 w 2920920"/>
                <a:gd name="connsiteY88" fmla="*/ 204716 h 791570"/>
                <a:gd name="connsiteX89" fmla="*/ 373039 w 2920920"/>
                <a:gd name="connsiteY89" fmla="*/ 177421 h 791570"/>
                <a:gd name="connsiteX90" fmla="*/ 350292 w 2920920"/>
                <a:gd name="connsiteY90" fmla="*/ 150125 h 791570"/>
                <a:gd name="connsiteX91" fmla="*/ 322997 w 2920920"/>
                <a:gd name="connsiteY91" fmla="*/ 131928 h 791570"/>
                <a:gd name="connsiteX92" fmla="*/ 295701 w 2920920"/>
                <a:gd name="connsiteY92" fmla="*/ 113731 h 791570"/>
                <a:gd name="connsiteX93" fmla="*/ 286603 w 2920920"/>
                <a:gd name="connsiteY93" fmla="*/ 100084 h 791570"/>
                <a:gd name="connsiteX94" fmla="*/ 272955 w 2920920"/>
                <a:gd name="connsiteY94" fmla="*/ 95534 h 791570"/>
                <a:gd name="connsiteX95" fmla="*/ 259307 w 2920920"/>
                <a:gd name="connsiteY95" fmla="*/ 86436 h 791570"/>
                <a:gd name="connsiteX96" fmla="*/ 232012 w 2920920"/>
                <a:gd name="connsiteY96" fmla="*/ 77337 h 791570"/>
                <a:gd name="connsiteX97" fmla="*/ 218364 w 2920920"/>
                <a:gd name="connsiteY97" fmla="*/ 72788 h 791570"/>
                <a:gd name="connsiteX98" fmla="*/ 204716 w 2920920"/>
                <a:gd name="connsiteY98" fmla="*/ 68239 h 791570"/>
                <a:gd name="connsiteX99" fmla="*/ 191068 w 2920920"/>
                <a:gd name="connsiteY99" fmla="*/ 59140 h 791570"/>
                <a:gd name="connsiteX100" fmla="*/ 163773 w 2920920"/>
                <a:gd name="connsiteY100" fmla="*/ 50042 h 791570"/>
                <a:gd name="connsiteX101" fmla="*/ 136477 w 2920920"/>
                <a:gd name="connsiteY101" fmla="*/ 40943 h 791570"/>
                <a:gd name="connsiteX102" fmla="*/ 122830 w 2920920"/>
                <a:gd name="connsiteY102" fmla="*/ 36394 h 791570"/>
                <a:gd name="connsiteX103" fmla="*/ 0 w 2920920"/>
                <a:gd name="connsiteY103" fmla="*/ 0 h 791570"/>
                <a:gd name="connsiteX0" fmla="*/ 2984311 w 2984311"/>
                <a:gd name="connsiteY0" fmla="*/ 782471 h 782471"/>
                <a:gd name="connsiteX1" fmla="*/ 2879677 w 2984311"/>
                <a:gd name="connsiteY1" fmla="*/ 768824 h 782471"/>
                <a:gd name="connsiteX2" fmla="*/ 2875128 w 2984311"/>
                <a:gd name="connsiteY2" fmla="*/ 755176 h 782471"/>
                <a:gd name="connsiteX3" fmla="*/ 2888776 w 2984311"/>
                <a:gd name="connsiteY3" fmla="*/ 673290 h 782471"/>
                <a:gd name="connsiteX4" fmla="*/ 2902424 w 2984311"/>
                <a:gd name="connsiteY4" fmla="*/ 659642 h 782471"/>
                <a:gd name="connsiteX5" fmla="*/ 2916071 w 2984311"/>
                <a:gd name="connsiteY5" fmla="*/ 618699 h 782471"/>
                <a:gd name="connsiteX6" fmla="*/ 2920621 w 2984311"/>
                <a:gd name="connsiteY6" fmla="*/ 605051 h 782471"/>
                <a:gd name="connsiteX7" fmla="*/ 2916071 w 2984311"/>
                <a:gd name="connsiteY7" fmla="*/ 545911 h 782471"/>
                <a:gd name="connsiteX8" fmla="*/ 2875128 w 2984311"/>
                <a:gd name="connsiteY8" fmla="*/ 532263 h 782471"/>
                <a:gd name="connsiteX9" fmla="*/ 2861480 w 2984311"/>
                <a:gd name="connsiteY9" fmla="*/ 527713 h 782471"/>
                <a:gd name="connsiteX10" fmla="*/ 2847833 w 2984311"/>
                <a:gd name="connsiteY10" fmla="*/ 518615 h 782471"/>
                <a:gd name="connsiteX11" fmla="*/ 2761397 w 2984311"/>
                <a:gd name="connsiteY11" fmla="*/ 514066 h 782471"/>
                <a:gd name="connsiteX12" fmla="*/ 2711355 w 2984311"/>
                <a:gd name="connsiteY12" fmla="*/ 504967 h 782471"/>
                <a:gd name="connsiteX13" fmla="*/ 2684060 w 2984311"/>
                <a:gd name="connsiteY13" fmla="*/ 495869 h 782471"/>
                <a:gd name="connsiteX14" fmla="*/ 2643116 w 2984311"/>
                <a:gd name="connsiteY14" fmla="*/ 482221 h 782471"/>
                <a:gd name="connsiteX15" fmla="*/ 2629468 w 2984311"/>
                <a:gd name="connsiteY15" fmla="*/ 477672 h 782471"/>
                <a:gd name="connsiteX16" fmla="*/ 2552131 w 2984311"/>
                <a:gd name="connsiteY16" fmla="*/ 473122 h 782471"/>
                <a:gd name="connsiteX17" fmla="*/ 2515737 w 2984311"/>
                <a:gd name="connsiteY17" fmla="*/ 468573 h 782471"/>
                <a:gd name="connsiteX18" fmla="*/ 2370161 w 2984311"/>
                <a:gd name="connsiteY18" fmla="*/ 459475 h 782471"/>
                <a:gd name="connsiteX19" fmla="*/ 2329218 w 2984311"/>
                <a:gd name="connsiteY19" fmla="*/ 450376 h 782471"/>
                <a:gd name="connsiteX20" fmla="*/ 2301922 w 2984311"/>
                <a:gd name="connsiteY20" fmla="*/ 441278 h 782471"/>
                <a:gd name="connsiteX21" fmla="*/ 2288274 w 2984311"/>
                <a:gd name="connsiteY21" fmla="*/ 436728 h 782471"/>
                <a:gd name="connsiteX22" fmla="*/ 2247331 w 2984311"/>
                <a:gd name="connsiteY22" fmla="*/ 413982 h 782471"/>
                <a:gd name="connsiteX23" fmla="*/ 2233683 w 2984311"/>
                <a:gd name="connsiteY23" fmla="*/ 409433 h 782471"/>
                <a:gd name="connsiteX24" fmla="*/ 2220036 w 2984311"/>
                <a:gd name="connsiteY24" fmla="*/ 404884 h 782471"/>
                <a:gd name="connsiteX25" fmla="*/ 2192740 w 2984311"/>
                <a:gd name="connsiteY25" fmla="*/ 418531 h 782471"/>
                <a:gd name="connsiteX26" fmla="*/ 2179092 w 2984311"/>
                <a:gd name="connsiteY26" fmla="*/ 427630 h 782471"/>
                <a:gd name="connsiteX27" fmla="*/ 2151797 w 2984311"/>
                <a:gd name="connsiteY27" fmla="*/ 436728 h 782471"/>
                <a:gd name="connsiteX28" fmla="*/ 2138149 w 2984311"/>
                <a:gd name="connsiteY28" fmla="*/ 441278 h 782471"/>
                <a:gd name="connsiteX29" fmla="*/ 2124501 w 2984311"/>
                <a:gd name="connsiteY29" fmla="*/ 445827 h 782471"/>
                <a:gd name="connsiteX30" fmla="*/ 2083558 w 2984311"/>
                <a:gd name="connsiteY30" fmla="*/ 464024 h 782471"/>
                <a:gd name="connsiteX31" fmla="*/ 2069910 w 2984311"/>
                <a:gd name="connsiteY31" fmla="*/ 473122 h 782471"/>
                <a:gd name="connsiteX32" fmla="*/ 2056263 w 2984311"/>
                <a:gd name="connsiteY32" fmla="*/ 477672 h 782471"/>
                <a:gd name="connsiteX33" fmla="*/ 1988024 w 2984311"/>
                <a:gd name="connsiteY33" fmla="*/ 473122 h 782471"/>
                <a:gd name="connsiteX34" fmla="*/ 1969827 w 2984311"/>
                <a:gd name="connsiteY34" fmla="*/ 468573 h 782471"/>
                <a:gd name="connsiteX35" fmla="*/ 1878842 w 2984311"/>
                <a:gd name="connsiteY35" fmla="*/ 473122 h 782471"/>
                <a:gd name="connsiteX36" fmla="*/ 1851546 w 2984311"/>
                <a:gd name="connsiteY36" fmla="*/ 486770 h 782471"/>
                <a:gd name="connsiteX37" fmla="*/ 1842448 w 2984311"/>
                <a:gd name="connsiteY37" fmla="*/ 500418 h 782471"/>
                <a:gd name="connsiteX38" fmla="*/ 1815152 w 2984311"/>
                <a:gd name="connsiteY38" fmla="*/ 509516 h 782471"/>
                <a:gd name="connsiteX39" fmla="*/ 1787857 w 2984311"/>
                <a:gd name="connsiteY39" fmla="*/ 518615 h 782471"/>
                <a:gd name="connsiteX40" fmla="*/ 1774209 w 2984311"/>
                <a:gd name="connsiteY40" fmla="*/ 523164 h 782471"/>
                <a:gd name="connsiteX41" fmla="*/ 1733266 w 2984311"/>
                <a:gd name="connsiteY41" fmla="*/ 509516 h 782471"/>
                <a:gd name="connsiteX42" fmla="*/ 1728716 w 2984311"/>
                <a:gd name="connsiteY42" fmla="*/ 495869 h 782471"/>
                <a:gd name="connsiteX43" fmla="*/ 1724167 w 2984311"/>
                <a:gd name="connsiteY43" fmla="*/ 468573 h 782471"/>
                <a:gd name="connsiteX44" fmla="*/ 1710519 w 2984311"/>
                <a:gd name="connsiteY44" fmla="*/ 464024 h 782471"/>
                <a:gd name="connsiteX45" fmla="*/ 1701421 w 2984311"/>
                <a:gd name="connsiteY45" fmla="*/ 450376 h 782471"/>
                <a:gd name="connsiteX46" fmla="*/ 1687773 w 2984311"/>
                <a:gd name="connsiteY46" fmla="*/ 441278 h 782471"/>
                <a:gd name="connsiteX47" fmla="*/ 1683224 w 2984311"/>
                <a:gd name="connsiteY47" fmla="*/ 427630 h 782471"/>
                <a:gd name="connsiteX48" fmla="*/ 1665027 w 2984311"/>
                <a:gd name="connsiteY48" fmla="*/ 400334 h 782471"/>
                <a:gd name="connsiteX49" fmla="*/ 1646830 w 2984311"/>
                <a:gd name="connsiteY49" fmla="*/ 373039 h 782471"/>
                <a:gd name="connsiteX50" fmla="*/ 1633182 w 2984311"/>
                <a:gd name="connsiteY50" fmla="*/ 363940 h 782471"/>
                <a:gd name="connsiteX51" fmla="*/ 1601337 w 2984311"/>
                <a:gd name="connsiteY51" fmla="*/ 345743 h 782471"/>
                <a:gd name="connsiteX52" fmla="*/ 1587689 w 2984311"/>
                <a:gd name="connsiteY52" fmla="*/ 318448 h 782471"/>
                <a:gd name="connsiteX53" fmla="*/ 1574042 w 2984311"/>
                <a:gd name="connsiteY53" fmla="*/ 309349 h 782471"/>
                <a:gd name="connsiteX54" fmla="*/ 1542197 w 2984311"/>
                <a:gd name="connsiteY54" fmla="*/ 286603 h 782471"/>
                <a:gd name="connsiteX55" fmla="*/ 1501254 w 2984311"/>
                <a:gd name="connsiteY55" fmla="*/ 277505 h 782471"/>
                <a:gd name="connsiteX56" fmla="*/ 1473958 w 2984311"/>
                <a:gd name="connsiteY56" fmla="*/ 268406 h 782471"/>
                <a:gd name="connsiteX57" fmla="*/ 1460310 w 2984311"/>
                <a:gd name="connsiteY57" fmla="*/ 259308 h 782471"/>
                <a:gd name="connsiteX58" fmla="*/ 1433015 w 2984311"/>
                <a:gd name="connsiteY58" fmla="*/ 250209 h 782471"/>
                <a:gd name="connsiteX59" fmla="*/ 1360227 w 2984311"/>
                <a:gd name="connsiteY59" fmla="*/ 236561 h 782471"/>
                <a:gd name="connsiteX60" fmla="*/ 1332931 w 2984311"/>
                <a:gd name="connsiteY60" fmla="*/ 227463 h 782471"/>
                <a:gd name="connsiteX61" fmla="*/ 1319283 w 2984311"/>
                <a:gd name="connsiteY61" fmla="*/ 222913 h 782471"/>
                <a:gd name="connsiteX62" fmla="*/ 1278340 w 2984311"/>
                <a:gd name="connsiteY62" fmla="*/ 227463 h 782471"/>
                <a:gd name="connsiteX63" fmla="*/ 1264692 w 2984311"/>
                <a:gd name="connsiteY63" fmla="*/ 236561 h 782471"/>
                <a:gd name="connsiteX64" fmla="*/ 1246495 w 2984311"/>
                <a:gd name="connsiteY64" fmla="*/ 241111 h 782471"/>
                <a:gd name="connsiteX65" fmla="*/ 1219200 w 2984311"/>
                <a:gd name="connsiteY65" fmla="*/ 254758 h 782471"/>
                <a:gd name="connsiteX66" fmla="*/ 1191904 w 2984311"/>
                <a:gd name="connsiteY66" fmla="*/ 268406 h 782471"/>
                <a:gd name="connsiteX67" fmla="*/ 1160060 w 2984311"/>
                <a:gd name="connsiteY67" fmla="*/ 272955 h 782471"/>
                <a:gd name="connsiteX68" fmla="*/ 1105468 w 2984311"/>
                <a:gd name="connsiteY68" fmla="*/ 291152 h 782471"/>
                <a:gd name="connsiteX69" fmla="*/ 1073624 w 2984311"/>
                <a:gd name="connsiteY69" fmla="*/ 304800 h 782471"/>
                <a:gd name="connsiteX70" fmla="*/ 896203 w 2984311"/>
                <a:gd name="connsiteY70" fmla="*/ 309349 h 782471"/>
                <a:gd name="connsiteX71" fmla="*/ 868907 w 2984311"/>
                <a:gd name="connsiteY71" fmla="*/ 322997 h 782471"/>
                <a:gd name="connsiteX72" fmla="*/ 855260 w 2984311"/>
                <a:gd name="connsiteY72" fmla="*/ 327546 h 782471"/>
                <a:gd name="connsiteX73" fmla="*/ 782471 w 2984311"/>
                <a:gd name="connsiteY73" fmla="*/ 322997 h 782471"/>
                <a:gd name="connsiteX74" fmla="*/ 768824 w 2984311"/>
                <a:gd name="connsiteY74" fmla="*/ 318448 h 782471"/>
                <a:gd name="connsiteX75" fmla="*/ 723331 w 2984311"/>
                <a:gd name="connsiteY75" fmla="*/ 304800 h 782471"/>
                <a:gd name="connsiteX76" fmla="*/ 709683 w 2984311"/>
                <a:gd name="connsiteY76" fmla="*/ 300251 h 782471"/>
                <a:gd name="connsiteX77" fmla="*/ 696036 w 2984311"/>
                <a:gd name="connsiteY77" fmla="*/ 295702 h 782471"/>
                <a:gd name="connsiteX78" fmla="*/ 641445 w 2984311"/>
                <a:gd name="connsiteY78" fmla="*/ 291152 h 782471"/>
                <a:gd name="connsiteX79" fmla="*/ 591403 w 2984311"/>
                <a:gd name="connsiteY79" fmla="*/ 282054 h 782471"/>
                <a:gd name="connsiteX80" fmla="*/ 573206 w 2984311"/>
                <a:gd name="connsiteY80" fmla="*/ 277505 h 782471"/>
                <a:gd name="connsiteX81" fmla="*/ 545910 w 2984311"/>
                <a:gd name="connsiteY81" fmla="*/ 268406 h 782471"/>
                <a:gd name="connsiteX82" fmla="*/ 514066 w 2984311"/>
                <a:gd name="connsiteY82" fmla="*/ 263857 h 782471"/>
                <a:gd name="connsiteX83" fmla="*/ 491319 w 2984311"/>
                <a:gd name="connsiteY83" fmla="*/ 259308 h 782471"/>
                <a:gd name="connsiteX84" fmla="*/ 459474 w 2984311"/>
                <a:gd name="connsiteY84" fmla="*/ 254758 h 782471"/>
                <a:gd name="connsiteX85" fmla="*/ 432179 w 2984311"/>
                <a:gd name="connsiteY85" fmla="*/ 236561 h 782471"/>
                <a:gd name="connsiteX86" fmla="*/ 423080 w 2984311"/>
                <a:gd name="connsiteY86" fmla="*/ 222913 h 782471"/>
                <a:gd name="connsiteX87" fmla="*/ 404883 w 2984311"/>
                <a:gd name="connsiteY87" fmla="*/ 213815 h 782471"/>
                <a:gd name="connsiteX88" fmla="*/ 391236 w 2984311"/>
                <a:gd name="connsiteY88" fmla="*/ 204716 h 782471"/>
                <a:gd name="connsiteX89" fmla="*/ 373039 w 2984311"/>
                <a:gd name="connsiteY89" fmla="*/ 177421 h 782471"/>
                <a:gd name="connsiteX90" fmla="*/ 350292 w 2984311"/>
                <a:gd name="connsiteY90" fmla="*/ 150125 h 782471"/>
                <a:gd name="connsiteX91" fmla="*/ 322997 w 2984311"/>
                <a:gd name="connsiteY91" fmla="*/ 131928 h 782471"/>
                <a:gd name="connsiteX92" fmla="*/ 295701 w 2984311"/>
                <a:gd name="connsiteY92" fmla="*/ 113731 h 782471"/>
                <a:gd name="connsiteX93" fmla="*/ 286603 w 2984311"/>
                <a:gd name="connsiteY93" fmla="*/ 100084 h 782471"/>
                <a:gd name="connsiteX94" fmla="*/ 272955 w 2984311"/>
                <a:gd name="connsiteY94" fmla="*/ 95534 h 782471"/>
                <a:gd name="connsiteX95" fmla="*/ 259307 w 2984311"/>
                <a:gd name="connsiteY95" fmla="*/ 86436 h 782471"/>
                <a:gd name="connsiteX96" fmla="*/ 232012 w 2984311"/>
                <a:gd name="connsiteY96" fmla="*/ 77337 h 782471"/>
                <a:gd name="connsiteX97" fmla="*/ 218364 w 2984311"/>
                <a:gd name="connsiteY97" fmla="*/ 72788 h 782471"/>
                <a:gd name="connsiteX98" fmla="*/ 204716 w 2984311"/>
                <a:gd name="connsiteY98" fmla="*/ 68239 h 782471"/>
                <a:gd name="connsiteX99" fmla="*/ 191068 w 2984311"/>
                <a:gd name="connsiteY99" fmla="*/ 59140 h 782471"/>
                <a:gd name="connsiteX100" fmla="*/ 163773 w 2984311"/>
                <a:gd name="connsiteY100" fmla="*/ 50042 h 782471"/>
                <a:gd name="connsiteX101" fmla="*/ 136477 w 2984311"/>
                <a:gd name="connsiteY101" fmla="*/ 40943 h 782471"/>
                <a:gd name="connsiteX102" fmla="*/ 122830 w 2984311"/>
                <a:gd name="connsiteY102" fmla="*/ 36394 h 782471"/>
                <a:gd name="connsiteX103" fmla="*/ 0 w 2984311"/>
                <a:gd name="connsiteY103" fmla="*/ 0 h 782471"/>
                <a:gd name="connsiteX0" fmla="*/ 2984311 w 2984311"/>
                <a:gd name="connsiteY0" fmla="*/ 782471 h 782471"/>
                <a:gd name="connsiteX1" fmla="*/ 2879677 w 2984311"/>
                <a:gd name="connsiteY1" fmla="*/ 768824 h 782471"/>
                <a:gd name="connsiteX2" fmla="*/ 2888776 w 2984311"/>
                <a:gd name="connsiteY2" fmla="*/ 673290 h 782471"/>
                <a:gd name="connsiteX3" fmla="*/ 2902424 w 2984311"/>
                <a:gd name="connsiteY3" fmla="*/ 659642 h 782471"/>
                <a:gd name="connsiteX4" fmla="*/ 2916071 w 2984311"/>
                <a:gd name="connsiteY4" fmla="*/ 618699 h 782471"/>
                <a:gd name="connsiteX5" fmla="*/ 2920621 w 2984311"/>
                <a:gd name="connsiteY5" fmla="*/ 605051 h 782471"/>
                <a:gd name="connsiteX6" fmla="*/ 2916071 w 2984311"/>
                <a:gd name="connsiteY6" fmla="*/ 545911 h 782471"/>
                <a:gd name="connsiteX7" fmla="*/ 2875128 w 2984311"/>
                <a:gd name="connsiteY7" fmla="*/ 532263 h 782471"/>
                <a:gd name="connsiteX8" fmla="*/ 2861480 w 2984311"/>
                <a:gd name="connsiteY8" fmla="*/ 527713 h 782471"/>
                <a:gd name="connsiteX9" fmla="*/ 2847833 w 2984311"/>
                <a:gd name="connsiteY9" fmla="*/ 518615 h 782471"/>
                <a:gd name="connsiteX10" fmla="*/ 2761397 w 2984311"/>
                <a:gd name="connsiteY10" fmla="*/ 514066 h 782471"/>
                <a:gd name="connsiteX11" fmla="*/ 2711355 w 2984311"/>
                <a:gd name="connsiteY11" fmla="*/ 504967 h 782471"/>
                <a:gd name="connsiteX12" fmla="*/ 2684060 w 2984311"/>
                <a:gd name="connsiteY12" fmla="*/ 495869 h 782471"/>
                <a:gd name="connsiteX13" fmla="*/ 2643116 w 2984311"/>
                <a:gd name="connsiteY13" fmla="*/ 482221 h 782471"/>
                <a:gd name="connsiteX14" fmla="*/ 2629468 w 2984311"/>
                <a:gd name="connsiteY14" fmla="*/ 477672 h 782471"/>
                <a:gd name="connsiteX15" fmla="*/ 2552131 w 2984311"/>
                <a:gd name="connsiteY15" fmla="*/ 473122 h 782471"/>
                <a:gd name="connsiteX16" fmla="*/ 2515737 w 2984311"/>
                <a:gd name="connsiteY16" fmla="*/ 468573 h 782471"/>
                <a:gd name="connsiteX17" fmla="*/ 2370161 w 2984311"/>
                <a:gd name="connsiteY17" fmla="*/ 459475 h 782471"/>
                <a:gd name="connsiteX18" fmla="*/ 2329218 w 2984311"/>
                <a:gd name="connsiteY18" fmla="*/ 450376 h 782471"/>
                <a:gd name="connsiteX19" fmla="*/ 2301922 w 2984311"/>
                <a:gd name="connsiteY19" fmla="*/ 441278 h 782471"/>
                <a:gd name="connsiteX20" fmla="*/ 2288274 w 2984311"/>
                <a:gd name="connsiteY20" fmla="*/ 436728 h 782471"/>
                <a:gd name="connsiteX21" fmla="*/ 2247331 w 2984311"/>
                <a:gd name="connsiteY21" fmla="*/ 413982 h 782471"/>
                <a:gd name="connsiteX22" fmla="*/ 2233683 w 2984311"/>
                <a:gd name="connsiteY22" fmla="*/ 409433 h 782471"/>
                <a:gd name="connsiteX23" fmla="*/ 2220036 w 2984311"/>
                <a:gd name="connsiteY23" fmla="*/ 404884 h 782471"/>
                <a:gd name="connsiteX24" fmla="*/ 2192740 w 2984311"/>
                <a:gd name="connsiteY24" fmla="*/ 418531 h 782471"/>
                <a:gd name="connsiteX25" fmla="*/ 2179092 w 2984311"/>
                <a:gd name="connsiteY25" fmla="*/ 427630 h 782471"/>
                <a:gd name="connsiteX26" fmla="*/ 2151797 w 2984311"/>
                <a:gd name="connsiteY26" fmla="*/ 436728 h 782471"/>
                <a:gd name="connsiteX27" fmla="*/ 2138149 w 2984311"/>
                <a:gd name="connsiteY27" fmla="*/ 441278 h 782471"/>
                <a:gd name="connsiteX28" fmla="*/ 2124501 w 2984311"/>
                <a:gd name="connsiteY28" fmla="*/ 445827 h 782471"/>
                <a:gd name="connsiteX29" fmla="*/ 2083558 w 2984311"/>
                <a:gd name="connsiteY29" fmla="*/ 464024 h 782471"/>
                <a:gd name="connsiteX30" fmla="*/ 2069910 w 2984311"/>
                <a:gd name="connsiteY30" fmla="*/ 473122 h 782471"/>
                <a:gd name="connsiteX31" fmla="*/ 2056263 w 2984311"/>
                <a:gd name="connsiteY31" fmla="*/ 477672 h 782471"/>
                <a:gd name="connsiteX32" fmla="*/ 1988024 w 2984311"/>
                <a:gd name="connsiteY32" fmla="*/ 473122 h 782471"/>
                <a:gd name="connsiteX33" fmla="*/ 1969827 w 2984311"/>
                <a:gd name="connsiteY33" fmla="*/ 468573 h 782471"/>
                <a:gd name="connsiteX34" fmla="*/ 1878842 w 2984311"/>
                <a:gd name="connsiteY34" fmla="*/ 473122 h 782471"/>
                <a:gd name="connsiteX35" fmla="*/ 1851546 w 2984311"/>
                <a:gd name="connsiteY35" fmla="*/ 486770 h 782471"/>
                <a:gd name="connsiteX36" fmla="*/ 1842448 w 2984311"/>
                <a:gd name="connsiteY36" fmla="*/ 500418 h 782471"/>
                <a:gd name="connsiteX37" fmla="*/ 1815152 w 2984311"/>
                <a:gd name="connsiteY37" fmla="*/ 509516 h 782471"/>
                <a:gd name="connsiteX38" fmla="*/ 1787857 w 2984311"/>
                <a:gd name="connsiteY38" fmla="*/ 518615 h 782471"/>
                <a:gd name="connsiteX39" fmla="*/ 1774209 w 2984311"/>
                <a:gd name="connsiteY39" fmla="*/ 523164 h 782471"/>
                <a:gd name="connsiteX40" fmla="*/ 1733266 w 2984311"/>
                <a:gd name="connsiteY40" fmla="*/ 509516 h 782471"/>
                <a:gd name="connsiteX41" fmla="*/ 1728716 w 2984311"/>
                <a:gd name="connsiteY41" fmla="*/ 495869 h 782471"/>
                <a:gd name="connsiteX42" fmla="*/ 1724167 w 2984311"/>
                <a:gd name="connsiteY42" fmla="*/ 468573 h 782471"/>
                <a:gd name="connsiteX43" fmla="*/ 1710519 w 2984311"/>
                <a:gd name="connsiteY43" fmla="*/ 464024 h 782471"/>
                <a:gd name="connsiteX44" fmla="*/ 1701421 w 2984311"/>
                <a:gd name="connsiteY44" fmla="*/ 450376 h 782471"/>
                <a:gd name="connsiteX45" fmla="*/ 1687773 w 2984311"/>
                <a:gd name="connsiteY45" fmla="*/ 441278 h 782471"/>
                <a:gd name="connsiteX46" fmla="*/ 1683224 w 2984311"/>
                <a:gd name="connsiteY46" fmla="*/ 427630 h 782471"/>
                <a:gd name="connsiteX47" fmla="*/ 1665027 w 2984311"/>
                <a:gd name="connsiteY47" fmla="*/ 400334 h 782471"/>
                <a:gd name="connsiteX48" fmla="*/ 1646830 w 2984311"/>
                <a:gd name="connsiteY48" fmla="*/ 373039 h 782471"/>
                <a:gd name="connsiteX49" fmla="*/ 1633182 w 2984311"/>
                <a:gd name="connsiteY49" fmla="*/ 363940 h 782471"/>
                <a:gd name="connsiteX50" fmla="*/ 1601337 w 2984311"/>
                <a:gd name="connsiteY50" fmla="*/ 345743 h 782471"/>
                <a:gd name="connsiteX51" fmla="*/ 1587689 w 2984311"/>
                <a:gd name="connsiteY51" fmla="*/ 318448 h 782471"/>
                <a:gd name="connsiteX52" fmla="*/ 1574042 w 2984311"/>
                <a:gd name="connsiteY52" fmla="*/ 309349 h 782471"/>
                <a:gd name="connsiteX53" fmla="*/ 1542197 w 2984311"/>
                <a:gd name="connsiteY53" fmla="*/ 286603 h 782471"/>
                <a:gd name="connsiteX54" fmla="*/ 1501254 w 2984311"/>
                <a:gd name="connsiteY54" fmla="*/ 277505 h 782471"/>
                <a:gd name="connsiteX55" fmla="*/ 1473958 w 2984311"/>
                <a:gd name="connsiteY55" fmla="*/ 268406 h 782471"/>
                <a:gd name="connsiteX56" fmla="*/ 1460310 w 2984311"/>
                <a:gd name="connsiteY56" fmla="*/ 259308 h 782471"/>
                <a:gd name="connsiteX57" fmla="*/ 1433015 w 2984311"/>
                <a:gd name="connsiteY57" fmla="*/ 250209 h 782471"/>
                <a:gd name="connsiteX58" fmla="*/ 1360227 w 2984311"/>
                <a:gd name="connsiteY58" fmla="*/ 236561 h 782471"/>
                <a:gd name="connsiteX59" fmla="*/ 1332931 w 2984311"/>
                <a:gd name="connsiteY59" fmla="*/ 227463 h 782471"/>
                <a:gd name="connsiteX60" fmla="*/ 1319283 w 2984311"/>
                <a:gd name="connsiteY60" fmla="*/ 222913 h 782471"/>
                <a:gd name="connsiteX61" fmla="*/ 1278340 w 2984311"/>
                <a:gd name="connsiteY61" fmla="*/ 227463 h 782471"/>
                <a:gd name="connsiteX62" fmla="*/ 1264692 w 2984311"/>
                <a:gd name="connsiteY62" fmla="*/ 236561 h 782471"/>
                <a:gd name="connsiteX63" fmla="*/ 1246495 w 2984311"/>
                <a:gd name="connsiteY63" fmla="*/ 241111 h 782471"/>
                <a:gd name="connsiteX64" fmla="*/ 1219200 w 2984311"/>
                <a:gd name="connsiteY64" fmla="*/ 254758 h 782471"/>
                <a:gd name="connsiteX65" fmla="*/ 1191904 w 2984311"/>
                <a:gd name="connsiteY65" fmla="*/ 268406 h 782471"/>
                <a:gd name="connsiteX66" fmla="*/ 1160060 w 2984311"/>
                <a:gd name="connsiteY66" fmla="*/ 272955 h 782471"/>
                <a:gd name="connsiteX67" fmla="*/ 1105468 w 2984311"/>
                <a:gd name="connsiteY67" fmla="*/ 291152 h 782471"/>
                <a:gd name="connsiteX68" fmla="*/ 1073624 w 2984311"/>
                <a:gd name="connsiteY68" fmla="*/ 304800 h 782471"/>
                <a:gd name="connsiteX69" fmla="*/ 896203 w 2984311"/>
                <a:gd name="connsiteY69" fmla="*/ 309349 h 782471"/>
                <a:gd name="connsiteX70" fmla="*/ 868907 w 2984311"/>
                <a:gd name="connsiteY70" fmla="*/ 322997 h 782471"/>
                <a:gd name="connsiteX71" fmla="*/ 855260 w 2984311"/>
                <a:gd name="connsiteY71" fmla="*/ 327546 h 782471"/>
                <a:gd name="connsiteX72" fmla="*/ 782471 w 2984311"/>
                <a:gd name="connsiteY72" fmla="*/ 322997 h 782471"/>
                <a:gd name="connsiteX73" fmla="*/ 768824 w 2984311"/>
                <a:gd name="connsiteY73" fmla="*/ 318448 h 782471"/>
                <a:gd name="connsiteX74" fmla="*/ 723331 w 2984311"/>
                <a:gd name="connsiteY74" fmla="*/ 304800 h 782471"/>
                <a:gd name="connsiteX75" fmla="*/ 709683 w 2984311"/>
                <a:gd name="connsiteY75" fmla="*/ 300251 h 782471"/>
                <a:gd name="connsiteX76" fmla="*/ 696036 w 2984311"/>
                <a:gd name="connsiteY76" fmla="*/ 295702 h 782471"/>
                <a:gd name="connsiteX77" fmla="*/ 641445 w 2984311"/>
                <a:gd name="connsiteY77" fmla="*/ 291152 h 782471"/>
                <a:gd name="connsiteX78" fmla="*/ 591403 w 2984311"/>
                <a:gd name="connsiteY78" fmla="*/ 282054 h 782471"/>
                <a:gd name="connsiteX79" fmla="*/ 573206 w 2984311"/>
                <a:gd name="connsiteY79" fmla="*/ 277505 h 782471"/>
                <a:gd name="connsiteX80" fmla="*/ 545910 w 2984311"/>
                <a:gd name="connsiteY80" fmla="*/ 268406 h 782471"/>
                <a:gd name="connsiteX81" fmla="*/ 514066 w 2984311"/>
                <a:gd name="connsiteY81" fmla="*/ 263857 h 782471"/>
                <a:gd name="connsiteX82" fmla="*/ 491319 w 2984311"/>
                <a:gd name="connsiteY82" fmla="*/ 259308 h 782471"/>
                <a:gd name="connsiteX83" fmla="*/ 459474 w 2984311"/>
                <a:gd name="connsiteY83" fmla="*/ 254758 h 782471"/>
                <a:gd name="connsiteX84" fmla="*/ 432179 w 2984311"/>
                <a:gd name="connsiteY84" fmla="*/ 236561 h 782471"/>
                <a:gd name="connsiteX85" fmla="*/ 423080 w 2984311"/>
                <a:gd name="connsiteY85" fmla="*/ 222913 h 782471"/>
                <a:gd name="connsiteX86" fmla="*/ 404883 w 2984311"/>
                <a:gd name="connsiteY86" fmla="*/ 213815 h 782471"/>
                <a:gd name="connsiteX87" fmla="*/ 391236 w 2984311"/>
                <a:gd name="connsiteY87" fmla="*/ 204716 h 782471"/>
                <a:gd name="connsiteX88" fmla="*/ 373039 w 2984311"/>
                <a:gd name="connsiteY88" fmla="*/ 177421 h 782471"/>
                <a:gd name="connsiteX89" fmla="*/ 350292 w 2984311"/>
                <a:gd name="connsiteY89" fmla="*/ 150125 h 782471"/>
                <a:gd name="connsiteX90" fmla="*/ 322997 w 2984311"/>
                <a:gd name="connsiteY90" fmla="*/ 131928 h 782471"/>
                <a:gd name="connsiteX91" fmla="*/ 295701 w 2984311"/>
                <a:gd name="connsiteY91" fmla="*/ 113731 h 782471"/>
                <a:gd name="connsiteX92" fmla="*/ 286603 w 2984311"/>
                <a:gd name="connsiteY92" fmla="*/ 100084 h 782471"/>
                <a:gd name="connsiteX93" fmla="*/ 272955 w 2984311"/>
                <a:gd name="connsiteY93" fmla="*/ 95534 h 782471"/>
                <a:gd name="connsiteX94" fmla="*/ 259307 w 2984311"/>
                <a:gd name="connsiteY94" fmla="*/ 86436 h 782471"/>
                <a:gd name="connsiteX95" fmla="*/ 232012 w 2984311"/>
                <a:gd name="connsiteY95" fmla="*/ 77337 h 782471"/>
                <a:gd name="connsiteX96" fmla="*/ 218364 w 2984311"/>
                <a:gd name="connsiteY96" fmla="*/ 72788 h 782471"/>
                <a:gd name="connsiteX97" fmla="*/ 204716 w 2984311"/>
                <a:gd name="connsiteY97" fmla="*/ 68239 h 782471"/>
                <a:gd name="connsiteX98" fmla="*/ 191068 w 2984311"/>
                <a:gd name="connsiteY98" fmla="*/ 59140 h 782471"/>
                <a:gd name="connsiteX99" fmla="*/ 163773 w 2984311"/>
                <a:gd name="connsiteY99" fmla="*/ 50042 h 782471"/>
                <a:gd name="connsiteX100" fmla="*/ 136477 w 2984311"/>
                <a:gd name="connsiteY100" fmla="*/ 40943 h 782471"/>
                <a:gd name="connsiteX101" fmla="*/ 122830 w 2984311"/>
                <a:gd name="connsiteY101" fmla="*/ 36394 h 782471"/>
                <a:gd name="connsiteX102" fmla="*/ 0 w 2984311"/>
                <a:gd name="connsiteY102" fmla="*/ 0 h 782471"/>
                <a:gd name="connsiteX0" fmla="*/ 2984311 w 2984311"/>
                <a:gd name="connsiteY0" fmla="*/ 782471 h 782471"/>
                <a:gd name="connsiteX1" fmla="*/ 2879677 w 2984311"/>
                <a:gd name="connsiteY1" fmla="*/ 768824 h 782471"/>
                <a:gd name="connsiteX2" fmla="*/ 2888776 w 2984311"/>
                <a:gd name="connsiteY2" fmla="*/ 673290 h 782471"/>
                <a:gd name="connsiteX3" fmla="*/ 2902424 w 2984311"/>
                <a:gd name="connsiteY3" fmla="*/ 659642 h 782471"/>
                <a:gd name="connsiteX4" fmla="*/ 2916071 w 2984311"/>
                <a:gd name="connsiteY4" fmla="*/ 618699 h 782471"/>
                <a:gd name="connsiteX5" fmla="*/ 2920621 w 2984311"/>
                <a:gd name="connsiteY5" fmla="*/ 605051 h 782471"/>
                <a:gd name="connsiteX6" fmla="*/ 2916071 w 2984311"/>
                <a:gd name="connsiteY6" fmla="*/ 545911 h 782471"/>
                <a:gd name="connsiteX7" fmla="*/ 2875128 w 2984311"/>
                <a:gd name="connsiteY7" fmla="*/ 532263 h 782471"/>
                <a:gd name="connsiteX8" fmla="*/ 2861480 w 2984311"/>
                <a:gd name="connsiteY8" fmla="*/ 527713 h 782471"/>
                <a:gd name="connsiteX9" fmla="*/ 2847833 w 2984311"/>
                <a:gd name="connsiteY9" fmla="*/ 518615 h 782471"/>
                <a:gd name="connsiteX10" fmla="*/ 2761397 w 2984311"/>
                <a:gd name="connsiteY10" fmla="*/ 514066 h 782471"/>
                <a:gd name="connsiteX11" fmla="*/ 2711355 w 2984311"/>
                <a:gd name="connsiteY11" fmla="*/ 504967 h 782471"/>
                <a:gd name="connsiteX12" fmla="*/ 2684060 w 2984311"/>
                <a:gd name="connsiteY12" fmla="*/ 495869 h 782471"/>
                <a:gd name="connsiteX13" fmla="*/ 2643116 w 2984311"/>
                <a:gd name="connsiteY13" fmla="*/ 482221 h 782471"/>
                <a:gd name="connsiteX14" fmla="*/ 2629468 w 2984311"/>
                <a:gd name="connsiteY14" fmla="*/ 477672 h 782471"/>
                <a:gd name="connsiteX15" fmla="*/ 2552131 w 2984311"/>
                <a:gd name="connsiteY15" fmla="*/ 473122 h 782471"/>
                <a:gd name="connsiteX16" fmla="*/ 2515737 w 2984311"/>
                <a:gd name="connsiteY16" fmla="*/ 468573 h 782471"/>
                <a:gd name="connsiteX17" fmla="*/ 2370161 w 2984311"/>
                <a:gd name="connsiteY17" fmla="*/ 459475 h 782471"/>
                <a:gd name="connsiteX18" fmla="*/ 2329218 w 2984311"/>
                <a:gd name="connsiteY18" fmla="*/ 450376 h 782471"/>
                <a:gd name="connsiteX19" fmla="*/ 2301922 w 2984311"/>
                <a:gd name="connsiteY19" fmla="*/ 441278 h 782471"/>
                <a:gd name="connsiteX20" fmla="*/ 2288274 w 2984311"/>
                <a:gd name="connsiteY20" fmla="*/ 436728 h 782471"/>
                <a:gd name="connsiteX21" fmla="*/ 2247331 w 2984311"/>
                <a:gd name="connsiteY21" fmla="*/ 413982 h 782471"/>
                <a:gd name="connsiteX22" fmla="*/ 2233683 w 2984311"/>
                <a:gd name="connsiteY22" fmla="*/ 409433 h 782471"/>
                <a:gd name="connsiteX23" fmla="*/ 2220036 w 2984311"/>
                <a:gd name="connsiteY23" fmla="*/ 404884 h 782471"/>
                <a:gd name="connsiteX24" fmla="*/ 2192740 w 2984311"/>
                <a:gd name="connsiteY24" fmla="*/ 418531 h 782471"/>
                <a:gd name="connsiteX25" fmla="*/ 2179092 w 2984311"/>
                <a:gd name="connsiteY25" fmla="*/ 427630 h 782471"/>
                <a:gd name="connsiteX26" fmla="*/ 2151797 w 2984311"/>
                <a:gd name="connsiteY26" fmla="*/ 436728 h 782471"/>
                <a:gd name="connsiteX27" fmla="*/ 2138149 w 2984311"/>
                <a:gd name="connsiteY27" fmla="*/ 441278 h 782471"/>
                <a:gd name="connsiteX28" fmla="*/ 2124501 w 2984311"/>
                <a:gd name="connsiteY28" fmla="*/ 445827 h 782471"/>
                <a:gd name="connsiteX29" fmla="*/ 2083558 w 2984311"/>
                <a:gd name="connsiteY29" fmla="*/ 464024 h 782471"/>
                <a:gd name="connsiteX30" fmla="*/ 2069910 w 2984311"/>
                <a:gd name="connsiteY30" fmla="*/ 473122 h 782471"/>
                <a:gd name="connsiteX31" fmla="*/ 2056263 w 2984311"/>
                <a:gd name="connsiteY31" fmla="*/ 477672 h 782471"/>
                <a:gd name="connsiteX32" fmla="*/ 1988024 w 2984311"/>
                <a:gd name="connsiteY32" fmla="*/ 473122 h 782471"/>
                <a:gd name="connsiteX33" fmla="*/ 1969827 w 2984311"/>
                <a:gd name="connsiteY33" fmla="*/ 468573 h 782471"/>
                <a:gd name="connsiteX34" fmla="*/ 1878842 w 2984311"/>
                <a:gd name="connsiteY34" fmla="*/ 473122 h 782471"/>
                <a:gd name="connsiteX35" fmla="*/ 1851546 w 2984311"/>
                <a:gd name="connsiteY35" fmla="*/ 486770 h 782471"/>
                <a:gd name="connsiteX36" fmla="*/ 1842448 w 2984311"/>
                <a:gd name="connsiteY36" fmla="*/ 500418 h 782471"/>
                <a:gd name="connsiteX37" fmla="*/ 1815152 w 2984311"/>
                <a:gd name="connsiteY37" fmla="*/ 509516 h 782471"/>
                <a:gd name="connsiteX38" fmla="*/ 1787857 w 2984311"/>
                <a:gd name="connsiteY38" fmla="*/ 518615 h 782471"/>
                <a:gd name="connsiteX39" fmla="*/ 1774209 w 2984311"/>
                <a:gd name="connsiteY39" fmla="*/ 523164 h 782471"/>
                <a:gd name="connsiteX40" fmla="*/ 1733266 w 2984311"/>
                <a:gd name="connsiteY40" fmla="*/ 509516 h 782471"/>
                <a:gd name="connsiteX41" fmla="*/ 1728716 w 2984311"/>
                <a:gd name="connsiteY41" fmla="*/ 495869 h 782471"/>
                <a:gd name="connsiteX42" fmla="*/ 1724167 w 2984311"/>
                <a:gd name="connsiteY42" fmla="*/ 468573 h 782471"/>
                <a:gd name="connsiteX43" fmla="*/ 1710519 w 2984311"/>
                <a:gd name="connsiteY43" fmla="*/ 464024 h 782471"/>
                <a:gd name="connsiteX44" fmla="*/ 1701421 w 2984311"/>
                <a:gd name="connsiteY44" fmla="*/ 450376 h 782471"/>
                <a:gd name="connsiteX45" fmla="*/ 1687773 w 2984311"/>
                <a:gd name="connsiteY45" fmla="*/ 441278 h 782471"/>
                <a:gd name="connsiteX46" fmla="*/ 1683224 w 2984311"/>
                <a:gd name="connsiteY46" fmla="*/ 427630 h 782471"/>
                <a:gd name="connsiteX47" fmla="*/ 1665027 w 2984311"/>
                <a:gd name="connsiteY47" fmla="*/ 400334 h 782471"/>
                <a:gd name="connsiteX48" fmla="*/ 1646830 w 2984311"/>
                <a:gd name="connsiteY48" fmla="*/ 373039 h 782471"/>
                <a:gd name="connsiteX49" fmla="*/ 1633182 w 2984311"/>
                <a:gd name="connsiteY49" fmla="*/ 363940 h 782471"/>
                <a:gd name="connsiteX50" fmla="*/ 1601337 w 2984311"/>
                <a:gd name="connsiteY50" fmla="*/ 345743 h 782471"/>
                <a:gd name="connsiteX51" fmla="*/ 1587689 w 2984311"/>
                <a:gd name="connsiteY51" fmla="*/ 318448 h 782471"/>
                <a:gd name="connsiteX52" fmla="*/ 1574042 w 2984311"/>
                <a:gd name="connsiteY52" fmla="*/ 309349 h 782471"/>
                <a:gd name="connsiteX53" fmla="*/ 1542197 w 2984311"/>
                <a:gd name="connsiteY53" fmla="*/ 286603 h 782471"/>
                <a:gd name="connsiteX54" fmla="*/ 1501254 w 2984311"/>
                <a:gd name="connsiteY54" fmla="*/ 277505 h 782471"/>
                <a:gd name="connsiteX55" fmla="*/ 1473958 w 2984311"/>
                <a:gd name="connsiteY55" fmla="*/ 268406 h 782471"/>
                <a:gd name="connsiteX56" fmla="*/ 1460310 w 2984311"/>
                <a:gd name="connsiteY56" fmla="*/ 259308 h 782471"/>
                <a:gd name="connsiteX57" fmla="*/ 1433015 w 2984311"/>
                <a:gd name="connsiteY57" fmla="*/ 250209 h 782471"/>
                <a:gd name="connsiteX58" fmla="*/ 1360227 w 2984311"/>
                <a:gd name="connsiteY58" fmla="*/ 236561 h 782471"/>
                <a:gd name="connsiteX59" fmla="*/ 1332931 w 2984311"/>
                <a:gd name="connsiteY59" fmla="*/ 227463 h 782471"/>
                <a:gd name="connsiteX60" fmla="*/ 1319283 w 2984311"/>
                <a:gd name="connsiteY60" fmla="*/ 222913 h 782471"/>
                <a:gd name="connsiteX61" fmla="*/ 1278340 w 2984311"/>
                <a:gd name="connsiteY61" fmla="*/ 227463 h 782471"/>
                <a:gd name="connsiteX62" fmla="*/ 1264692 w 2984311"/>
                <a:gd name="connsiteY62" fmla="*/ 236561 h 782471"/>
                <a:gd name="connsiteX63" fmla="*/ 1246495 w 2984311"/>
                <a:gd name="connsiteY63" fmla="*/ 241111 h 782471"/>
                <a:gd name="connsiteX64" fmla="*/ 1219200 w 2984311"/>
                <a:gd name="connsiteY64" fmla="*/ 254758 h 782471"/>
                <a:gd name="connsiteX65" fmla="*/ 1191904 w 2984311"/>
                <a:gd name="connsiteY65" fmla="*/ 268406 h 782471"/>
                <a:gd name="connsiteX66" fmla="*/ 1160060 w 2984311"/>
                <a:gd name="connsiteY66" fmla="*/ 272955 h 782471"/>
                <a:gd name="connsiteX67" fmla="*/ 1105468 w 2984311"/>
                <a:gd name="connsiteY67" fmla="*/ 291152 h 782471"/>
                <a:gd name="connsiteX68" fmla="*/ 1073624 w 2984311"/>
                <a:gd name="connsiteY68" fmla="*/ 304800 h 782471"/>
                <a:gd name="connsiteX69" fmla="*/ 896203 w 2984311"/>
                <a:gd name="connsiteY69" fmla="*/ 309349 h 782471"/>
                <a:gd name="connsiteX70" fmla="*/ 868907 w 2984311"/>
                <a:gd name="connsiteY70" fmla="*/ 322997 h 782471"/>
                <a:gd name="connsiteX71" fmla="*/ 855260 w 2984311"/>
                <a:gd name="connsiteY71" fmla="*/ 327546 h 782471"/>
                <a:gd name="connsiteX72" fmla="*/ 782471 w 2984311"/>
                <a:gd name="connsiteY72" fmla="*/ 322997 h 782471"/>
                <a:gd name="connsiteX73" fmla="*/ 768824 w 2984311"/>
                <a:gd name="connsiteY73" fmla="*/ 318448 h 782471"/>
                <a:gd name="connsiteX74" fmla="*/ 723331 w 2984311"/>
                <a:gd name="connsiteY74" fmla="*/ 304800 h 782471"/>
                <a:gd name="connsiteX75" fmla="*/ 709683 w 2984311"/>
                <a:gd name="connsiteY75" fmla="*/ 300251 h 782471"/>
                <a:gd name="connsiteX76" fmla="*/ 696036 w 2984311"/>
                <a:gd name="connsiteY76" fmla="*/ 295702 h 782471"/>
                <a:gd name="connsiteX77" fmla="*/ 641445 w 2984311"/>
                <a:gd name="connsiteY77" fmla="*/ 291152 h 782471"/>
                <a:gd name="connsiteX78" fmla="*/ 591403 w 2984311"/>
                <a:gd name="connsiteY78" fmla="*/ 282054 h 782471"/>
                <a:gd name="connsiteX79" fmla="*/ 573206 w 2984311"/>
                <a:gd name="connsiteY79" fmla="*/ 277505 h 782471"/>
                <a:gd name="connsiteX80" fmla="*/ 545910 w 2984311"/>
                <a:gd name="connsiteY80" fmla="*/ 268406 h 782471"/>
                <a:gd name="connsiteX81" fmla="*/ 514066 w 2984311"/>
                <a:gd name="connsiteY81" fmla="*/ 263857 h 782471"/>
                <a:gd name="connsiteX82" fmla="*/ 491319 w 2984311"/>
                <a:gd name="connsiteY82" fmla="*/ 259308 h 782471"/>
                <a:gd name="connsiteX83" fmla="*/ 459474 w 2984311"/>
                <a:gd name="connsiteY83" fmla="*/ 254758 h 782471"/>
                <a:gd name="connsiteX84" fmla="*/ 432179 w 2984311"/>
                <a:gd name="connsiteY84" fmla="*/ 236561 h 782471"/>
                <a:gd name="connsiteX85" fmla="*/ 423080 w 2984311"/>
                <a:gd name="connsiteY85" fmla="*/ 222913 h 782471"/>
                <a:gd name="connsiteX86" fmla="*/ 404883 w 2984311"/>
                <a:gd name="connsiteY86" fmla="*/ 213815 h 782471"/>
                <a:gd name="connsiteX87" fmla="*/ 391236 w 2984311"/>
                <a:gd name="connsiteY87" fmla="*/ 204716 h 782471"/>
                <a:gd name="connsiteX88" fmla="*/ 373039 w 2984311"/>
                <a:gd name="connsiteY88" fmla="*/ 177421 h 782471"/>
                <a:gd name="connsiteX89" fmla="*/ 350292 w 2984311"/>
                <a:gd name="connsiteY89" fmla="*/ 150125 h 782471"/>
                <a:gd name="connsiteX90" fmla="*/ 322997 w 2984311"/>
                <a:gd name="connsiteY90" fmla="*/ 131928 h 782471"/>
                <a:gd name="connsiteX91" fmla="*/ 295701 w 2984311"/>
                <a:gd name="connsiteY91" fmla="*/ 113731 h 782471"/>
                <a:gd name="connsiteX92" fmla="*/ 286603 w 2984311"/>
                <a:gd name="connsiteY92" fmla="*/ 100084 h 782471"/>
                <a:gd name="connsiteX93" fmla="*/ 272955 w 2984311"/>
                <a:gd name="connsiteY93" fmla="*/ 95534 h 782471"/>
                <a:gd name="connsiteX94" fmla="*/ 259307 w 2984311"/>
                <a:gd name="connsiteY94" fmla="*/ 86436 h 782471"/>
                <a:gd name="connsiteX95" fmla="*/ 232012 w 2984311"/>
                <a:gd name="connsiteY95" fmla="*/ 77337 h 782471"/>
                <a:gd name="connsiteX96" fmla="*/ 218364 w 2984311"/>
                <a:gd name="connsiteY96" fmla="*/ 72788 h 782471"/>
                <a:gd name="connsiteX97" fmla="*/ 204716 w 2984311"/>
                <a:gd name="connsiteY97" fmla="*/ 68239 h 782471"/>
                <a:gd name="connsiteX98" fmla="*/ 191068 w 2984311"/>
                <a:gd name="connsiteY98" fmla="*/ 59140 h 782471"/>
                <a:gd name="connsiteX99" fmla="*/ 163773 w 2984311"/>
                <a:gd name="connsiteY99" fmla="*/ 50042 h 782471"/>
                <a:gd name="connsiteX100" fmla="*/ 136477 w 2984311"/>
                <a:gd name="connsiteY100" fmla="*/ 40943 h 782471"/>
                <a:gd name="connsiteX101" fmla="*/ 122830 w 2984311"/>
                <a:gd name="connsiteY101" fmla="*/ 36394 h 782471"/>
                <a:gd name="connsiteX102" fmla="*/ 0 w 2984311"/>
                <a:gd name="connsiteY102" fmla="*/ 0 h 782471"/>
                <a:gd name="connsiteX0" fmla="*/ 2984311 w 2984311"/>
                <a:gd name="connsiteY0" fmla="*/ 782471 h 782471"/>
                <a:gd name="connsiteX1" fmla="*/ 2888776 w 2984311"/>
                <a:gd name="connsiteY1" fmla="*/ 673290 h 782471"/>
                <a:gd name="connsiteX2" fmla="*/ 2902424 w 2984311"/>
                <a:gd name="connsiteY2" fmla="*/ 659642 h 782471"/>
                <a:gd name="connsiteX3" fmla="*/ 2916071 w 2984311"/>
                <a:gd name="connsiteY3" fmla="*/ 618699 h 782471"/>
                <a:gd name="connsiteX4" fmla="*/ 2920621 w 2984311"/>
                <a:gd name="connsiteY4" fmla="*/ 605051 h 782471"/>
                <a:gd name="connsiteX5" fmla="*/ 2916071 w 2984311"/>
                <a:gd name="connsiteY5" fmla="*/ 545911 h 782471"/>
                <a:gd name="connsiteX6" fmla="*/ 2875128 w 2984311"/>
                <a:gd name="connsiteY6" fmla="*/ 532263 h 782471"/>
                <a:gd name="connsiteX7" fmla="*/ 2861480 w 2984311"/>
                <a:gd name="connsiteY7" fmla="*/ 527713 h 782471"/>
                <a:gd name="connsiteX8" fmla="*/ 2847833 w 2984311"/>
                <a:gd name="connsiteY8" fmla="*/ 518615 h 782471"/>
                <a:gd name="connsiteX9" fmla="*/ 2761397 w 2984311"/>
                <a:gd name="connsiteY9" fmla="*/ 514066 h 782471"/>
                <a:gd name="connsiteX10" fmla="*/ 2711355 w 2984311"/>
                <a:gd name="connsiteY10" fmla="*/ 504967 h 782471"/>
                <a:gd name="connsiteX11" fmla="*/ 2684060 w 2984311"/>
                <a:gd name="connsiteY11" fmla="*/ 495869 h 782471"/>
                <a:gd name="connsiteX12" fmla="*/ 2643116 w 2984311"/>
                <a:gd name="connsiteY12" fmla="*/ 482221 h 782471"/>
                <a:gd name="connsiteX13" fmla="*/ 2629468 w 2984311"/>
                <a:gd name="connsiteY13" fmla="*/ 477672 h 782471"/>
                <a:gd name="connsiteX14" fmla="*/ 2552131 w 2984311"/>
                <a:gd name="connsiteY14" fmla="*/ 473122 h 782471"/>
                <a:gd name="connsiteX15" fmla="*/ 2515737 w 2984311"/>
                <a:gd name="connsiteY15" fmla="*/ 468573 h 782471"/>
                <a:gd name="connsiteX16" fmla="*/ 2370161 w 2984311"/>
                <a:gd name="connsiteY16" fmla="*/ 459475 h 782471"/>
                <a:gd name="connsiteX17" fmla="*/ 2329218 w 2984311"/>
                <a:gd name="connsiteY17" fmla="*/ 450376 h 782471"/>
                <a:gd name="connsiteX18" fmla="*/ 2301922 w 2984311"/>
                <a:gd name="connsiteY18" fmla="*/ 441278 h 782471"/>
                <a:gd name="connsiteX19" fmla="*/ 2288274 w 2984311"/>
                <a:gd name="connsiteY19" fmla="*/ 436728 h 782471"/>
                <a:gd name="connsiteX20" fmla="*/ 2247331 w 2984311"/>
                <a:gd name="connsiteY20" fmla="*/ 413982 h 782471"/>
                <a:gd name="connsiteX21" fmla="*/ 2233683 w 2984311"/>
                <a:gd name="connsiteY21" fmla="*/ 409433 h 782471"/>
                <a:gd name="connsiteX22" fmla="*/ 2220036 w 2984311"/>
                <a:gd name="connsiteY22" fmla="*/ 404884 h 782471"/>
                <a:gd name="connsiteX23" fmla="*/ 2192740 w 2984311"/>
                <a:gd name="connsiteY23" fmla="*/ 418531 h 782471"/>
                <a:gd name="connsiteX24" fmla="*/ 2179092 w 2984311"/>
                <a:gd name="connsiteY24" fmla="*/ 427630 h 782471"/>
                <a:gd name="connsiteX25" fmla="*/ 2151797 w 2984311"/>
                <a:gd name="connsiteY25" fmla="*/ 436728 h 782471"/>
                <a:gd name="connsiteX26" fmla="*/ 2138149 w 2984311"/>
                <a:gd name="connsiteY26" fmla="*/ 441278 h 782471"/>
                <a:gd name="connsiteX27" fmla="*/ 2124501 w 2984311"/>
                <a:gd name="connsiteY27" fmla="*/ 445827 h 782471"/>
                <a:gd name="connsiteX28" fmla="*/ 2083558 w 2984311"/>
                <a:gd name="connsiteY28" fmla="*/ 464024 h 782471"/>
                <a:gd name="connsiteX29" fmla="*/ 2069910 w 2984311"/>
                <a:gd name="connsiteY29" fmla="*/ 473122 h 782471"/>
                <a:gd name="connsiteX30" fmla="*/ 2056263 w 2984311"/>
                <a:gd name="connsiteY30" fmla="*/ 477672 h 782471"/>
                <a:gd name="connsiteX31" fmla="*/ 1988024 w 2984311"/>
                <a:gd name="connsiteY31" fmla="*/ 473122 h 782471"/>
                <a:gd name="connsiteX32" fmla="*/ 1969827 w 2984311"/>
                <a:gd name="connsiteY32" fmla="*/ 468573 h 782471"/>
                <a:gd name="connsiteX33" fmla="*/ 1878842 w 2984311"/>
                <a:gd name="connsiteY33" fmla="*/ 473122 h 782471"/>
                <a:gd name="connsiteX34" fmla="*/ 1851546 w 2984311"/>
                <a:gd name="connsiteY34" fmla="*/ 486770 h 782471"/>
                <a:gd name="connsiteX35" fmla="*/ 1842448 w 2984311"/>
                <a:gd name="connsiteY35" fmla="*/ 500418 h 782471"/>
                <a:gd name="connsiteX36" fmla="*/ 1815152 w 2984311"/>
                <a:gd name="connsiteY36" fmla="*/ 509516 h 782471"/>
                <a:gd name="connsiteX37" fmla="*/ 1787857 w 2984311"/>
                <a:gd name="connsiteY37" fmla="*/ 518615 h 782471"/>
                <a:gd name="connsiteX38" fmla="*/ 1774209 w 2984311"/>
                <a:gd name="connsiteY38" fmla="*/ 523164 h 782471"/>
                <a:gd name="connsiteX39" fmla="*/ 1733266 w 2984311"/>
                <a:gd name="connsiteY39" fmla="*/ 509516 h 782471"/>
                <a:gd name="connsiteX40" fmla="*/ 1728716 w 2984311"/>
                <a:gd name="connsiteY40" fmla="*/ 495869 h 782471"/>
                <a:gd name="connsiteX41" fmla="*/ 1724167 w 2984311"/>
                <a:gd name="connsiteY41" fmla="*/ 468573 h 782471"/>
                <a:gd name="connsiteX42" fmla="*/ 1710519 w 2984311"/>
                <a:gd name="connsiteY42" fmla="*/ 464024 h 782471"/>
                <a:gd name="connsiteX43" fmla="*/ 1701421 w 2984311"/>
                <a:gd name="connsiteY43" fmla="*/ 450376 h 782471"/>
                <a:gd name="connsiteX44" fmla="*/ 1687773 w 2984311"/>
                <a:gd name="connsiteY44" fmla="*/ 441278 h 782471"/>
                <a:gd name="connsiteX45" fmla="*/ 1683224 w 2984311"/>
                <a:gd name="connsiteY45" fmla="*/ 427630 h 782471"/>
                <a:gd name="connsiteX46" fmla="*/ 1665027 w 2984311"/>
                <a:gd name="connsiteY46" fmla="*/ 400334 h 782471"/>
                <a:gd name="connsiteX47" fmla="*/ 1646830 w 2984311"/>
                <a:gd name="connsiteY47" fmla="*/ 373039 h 782471"/>
                <a:gd name="connsiteX48" fmla="*/ 1633182 w 2984311"/>
                <a:gd name="connsiteY48" fmla="*/ 363940 h 782471"/>
                <a:gd name="connsiteX49" fmla="*/ 1601337 w 2984311"/>
                <a:gd name="connsiteY49" fmla="*/ 345743 h 782471"/>
                <a:gd name="connsiteX50" fmla="*/ 1587689 w 2984311"/>
                <a:gd name="connsiteY50" fmla="*/ 318448 h 782471"/>
                <a:gd name="connsiteX51" fmla="*/ 1574042 w 2984311"/>
                <a:gd name="connsiteY51" fmla="*/ 309349 h 782471"/>
                <a:gd name="connsiteX52" fmla="*/ 1542197 w 2984311"/>
                <a:gd name="connsiteY52" fmla="*/ 286603 h 782471"/>
                <a:gd name="connsiteX53" fmla="*/ 1501254 w 2984311"/>
                <a:gd name="connsiteY53" fmla="*/ 277505 h 782471"/>
                <a:gd name="connsiteX54" fmla="*/ 1473958 w 2984311"/>
                <a:gd name="connsiteY54" fmla="*/ 268406 h 782471"/>
                <a:gd name="connsiteX55" fmla="*/ 1460310 w 2984311"/>
                <a:gd name="connsiteY55" fmla="*/ 259308 h 782471"/>
                <a:gd name="connsiteX56" fmla="*/ 1433015 w 2984311"/>
                <a:gd name="connsiteY56" fmla="*/ 250209 h 782471"/>
                <a:gd name="connsiteX57" fmla="*/ 1360227 w 2984311"/>
                <a:gd name="connsiteY57" fmla="*/ 236561 h 782471"/>
                <a:gd name="connsiteX58" fmla="*/ 1332931 w 2984311"/>
                <a:gd name="connsiteY58" fmla="*/ 227463 h 782471"/>
                <a:gd name="connsiteX59" fmla="*/ 1319283 w 2984311"/>
                <a:gd name="connsiteY59" fmla="*/ 222913 h 782471"/>
                <a:gd name="connsiteX60" fmla="*/ 1278340 w 2984311"/>
                <a:gd name="connsiteY60" fmla="*/ 227463 h 782471"/>
                <a:gd name="connsiteX61" fmla="*/ 1264692 w 2984311"/>
                <a:gd name="connsiteY61" fmla="*/ 236561 h 782471"/>
                <a:gd name="connsiteX62" fmla="*/ 1246495 w 2984311"/>
                <a:gd name="connsiteY62" fmla="*/ 241111 h 782471"/>
                <a:gd name="connsiteX63" fmla="*/ 1219200 w 2984311"/>
                <a:gd name="connsiteY63" fmla="*/ 254758 h 782471"/>
                <a:gd name="connsiteX64" fmla="*/ 1191904 w 2984311"/>
                <a:gd name="connsiteY64" fmla="*/ 268406 h 782471"/>
                <a:gd name="connsiteX65" fmla="*/ 1160060 w 2984311"/>
                <a:gd name="connsiteY65" fmla="*/ 272955 h 782471"/>
                <a:gd name="connsiteX66" fmla="*/ 1105468 w 2984311"/>
                <a:gd name="connsiteY66" fmla="*/ 291152 h 782471"/>
                <a:gd name="connsiteX67" fmla="*/ 1073624 w 2984311"/>
                <a:gd name="connsiteY67" fmla="*/ 304800 h 782471"/>
                <a:gd name="connsiteX68" fmla="*/ 896203 w 2984311"/>
                <a:gd name="connsiteY68" fmla="*/ 309349 h 782471"/>
                <a:gd name="connsiteX69" fmla="*/ 868907 w 2984311"/>
                <a:gd name="connsiteY69" fmla="*/ 322997 h 782471"/>
                <a:gd name="connsiteX70" fmla="*/ 855260 w 2984311"/>
                <a:gd name="connsiteY70" fmla="*/ 327546 h 782471"/>
                <a:gd name="connsiteX71" fmla="*/ 782471 w 2984311"/>
                <a:gd name="connsiteY71" fmla="*/ 322997 h 782471"/>
                <a:gd name="connsiteX72" fmla="*/ 768824 w 2984311"/>
                <a:gd name="connsiteY72" fmla="*/ 318448 h 782471"/>
                <a:gd name="connsiteX73" fmla="*/ 723331 w 2984311"/>
                <a:gd name="connsiteY73" fmla="*/ 304800 h 782471"/>
                <a:gd name="connsiteX74" fmla="*/ 709683 w 2984311"/>
                <a:gd name="connsiteY74" fmla="*/ 300251 h 782471"/>
                <a:gd name="connsiteX75" fmla="*/ 696036 w 2984311"/>
                <a:gd name="connsiteY75" fmla="*/ 295702 h 782471"/>
                <a:gd name="connsiteX76" fmla="*/ 641445 w 2984311"/>
                <a:gd name="connsiteY76" fmla="*/ 291152 h 782471"/>
                <a:gd name="connsiteX77" fmla="*/ 591403 w 2984311"/>
                <a:gd name="connsiteY77" fmla="*/ 282054 h 782471"/>
                <a:gd name="connsiteX78" fmla="*/ 573206 w 2984311"/>
                <a:gd name="connsiteY78" fmla="*/ 277505 h 782471"/>
                <a:gd name="connsiteX79" fmla="*/ 545910 w 2984311"/>
                <a:gd name="connsiteY79" fmla="*/ 268406 h 782471"/>
                <a:gd name="connsiteX80" fmla="*/ 514066 w 2984311"/>
                <a:gd name="connsiteY80" fmla="*/ 263857 h 782471"/>
                <a:gd name="connsiteX81" fmla="*/ 491319 w 2984311"/>
                <a:gd name="connsiteY81" fmla="*/ 259308 h 782471"/>
                <a:gd name="connsiteX82" fmla="*/ 459474 w 2984311"/>
                <a:gd name="connsiteY82" fmla="*/ 254758 h 782471"/>
                <a:gd name="connsiteX83" fmla="*/ 432179 w 2984311"/>
                <a:gd name="connsiteY83" fmla="*/ 236561 h 782471"/>
                <a:gd name="connsiteX84" fmla="*/ 423080 w 2984311"/>
                <a:gd name="connsiteY84" fmla="*/ 222913 h 782471"/>
                <a:gd name="connsiteX85" fmla="*/ 404883 w 2984311"/>
                <a:gd name="connsiteY85" fmla="*/ 213815 h 782471"/>
                <a:gd name="connsiteX86" fmla="*/ 391236 w 2984311"/>
                <a:gd name="connsiteY86" fmla="*/ 204716 h 782471"/>
                <a:gd name="connsiteX87" fmla="*/ 373039 w 2984311"/>
                <a:gd name="connsiteY87" fmla="*/ 177421 h 782471"/>
                <a:gd name="connsiteX88" fmla="*/ 350292 w 2984311"/>
                <a:gd name="connsiteY88" fmla="*/ 150125 h 782471"/>
                <a:gd name="connsiteX89" fmla="*/ 322997 w 2984311"/>
                <a:gd name="connsiteY89" fmla="*/ 131928 h 782471"/>
                <a:gd name="connsiteX90" fmla="*/ 295701 w 2984311"/>
                <a:gd name="connsiteY90" fmla="*/ 113731 h 782471"/>
                <a:gd name="connsiteX91" fmla="*/ 286603 w 2984311"/>
                <a:gd name="connsiteY91" fmla="*/ 100084 h 782471"/>
                <a:gd name="connsiteX92" fmla="*/ 272955 w 2984311"/>
                <a:gd name="connsiteY92" fmla="*/ 95534 h 782471"/>
                <a:gd name="connsiteX93" fmla="*/ 259307 w 2984311"/>
                <a:gd name="connsiteY93" fmla="*/ 86436 h 782471"/>
                <a:gd name="connsiteX94" fmla="*/ 232012 w 2984311"/>
                <a:gd name="connsiteY94" fmla="*/ 77337 h 782471"/>
                <a:gd name="connsiteX95" fmla="*/ 218364 w 2984311"/>
                <a:gd name="connsiteY95" fmla="*/ 72788 h 782471"/>
                <a:gd name="connsiteX96" fmla="*/ 204716 w 2984311"/>
                <a:gd name="connsiteY96" fmla="*/ 68239 h 782471"/>
                <a:gd name="connsiteX97" fmla="*/ 191068 w 2984311"/>
                <a:gd name="connsiteY97" fmla="*/ 59140 h 782471"/>
                <a:gd name="connsiteX98" fmla="*/ 163773 w 2984311"/>
                <a:gd name="connsiteY98" fmla="*/ 50042 h 782471"/>
                <a:gd name="connsiteX99" fmla="*/ 136477 w 2984311"/>
                <a:gd name="connsiteY99" fmla="*/ 40943 h 782471"/>
                <a:gd name="connsiteX100" fmla="*/ 122830 w 2984311"/>
                <a:gd name="connsiteY100" fmla="*/ 36394 h 782471"/>
                <a:gd name="connsiteX101" fmla="*/ 0 w 2984311"/>
                <a:gd name="connsiteY101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02424 w 2984311"/>
                <a:gd name="connsiteY2" fmla="*/ 659642 h 782471"/>
                <a:gd name="connsiteX3" fmla="*/ 2916071 w 2984311"/>
                <a:gd name="connsiteY3" fmla="*/ 618699 h 782471"/>
                <a:gd name="connsiteX4" fmla="*/ 2920621 w 2984311"/>
                <a:gd name="connsiteY4" fmla="*/ 605051 h 782471"/>
                <a:gd name="connsiteX5" fmla="*/ 2916071 w 2984311"/>
                <a:gd name="connsiteY5" fmla="*/ 545911 h 782471"/>
                <a:gd name="connsiteX6" fmla="*/ 2875128 w 2984311"/>
                <a:gd name="connsiteY6" fmla="*/ 532263 h 782471"/>
                <a:gd name="connsiteX7" fmla="*/ 2861480 w 2984311"/>
                <a:gd name="connsiteY7" fmla="*/ 527713 h 782471"/>
                <a:gd name="connsiteX8" fmla="*/ 2847833 w 2984311"/>
                <a:gd name="connsiteY8" fmla="*/ 518615 h 782471"/>
                <a:gd name="connsiteX9" fmla="*/ 2761397 w 2984311"/>
                <a:gd name="connsiteY9" fmla="*/ 514066 h 782471"/>
                <a:gd name="connsiteX10" fmla="*/ 2711355 w 2984311"/>
                <a:gd name="connsiteY10" fmla="*/ 504967 h 782471"/>
                <a:gd name="connsiteX11" fmla="*/ 2684060 w 2984311"/>
                <a:gd name="connsiteY11" fmla="*/ 495869 h 782471"/>
                <a:gd name="connsiteX12" fmla="*/ 2643116 w 2984311"/>
                <a:gd name="connsiteY12" fmla="*/ 482221 h 782471"/>
                <a:gd name="connsiteX13" fmla="*/ 2629468 w 2984311"/>
                <a:gd name="connsiteY13" fmla="*/ 477672 h 782471"/>
                <a:gd name="connsiteX14" fmla="*/ 2552131 w 2984311"/>
                <a:gd name="connsiteY14" fmla="*/ 473122 h 782471"/>
                <a:gd name="connsiteX15" fmla="*/ 2515737 w 2984311"/>
                <a:gd name="connsiteY15" fmla="*/ 468573 h 782471"/>
                <a:gd name="connsiteX16" fmla="*/ 2370161 w 2984311"/>
                <a:gd name="connsiteY16" fmla="*/ 459475 h 782471"/>
                <a:gd name="connsiteX17" fmla="*/ 2329218 w 2984311"/>
                <a:gd name="connsiteY17" fmla="*/ 450376 h 782471"/>
                <a:gd name="connsiteX18" fmla="*/ 2301922 w 2984311"/>
                <a:gd name="connsiteY18" fmla="*/ 441278 h 782471"/>
                <a:gd name="connsiteX19" fmla="*/ 2288274 w 2984311"/>
                <a:gd name="connsiteY19" fmla="*/ 436728 h 782471"/>
                <a:gd name="connsiteX20" fmla="*/ 2247331 w 2984311"/>
                <a:gd name="connsiteY20" fmla="*/ 413982 h 782471"/>
                <a:gd name="connsiteX21" fmla="*/ 2233683 w 2984311"/>
                <a:gd name="connsiteY21" fmla="*/ 409433 h 782471"/>
                <a:gd name="connsiteX22" fmla="*/ 2220036 w 2984311"/>
                <a:gd name="connsiteY22" fmla="*/ 404884 h 782471"/>
                <a:gd name="connsiteX23" fmla="*/ 2192740 w 2984311"/>
                <a:gd name="connsiteY23" fmla="*/ 418531 h 782471"/>
                <a:gd name="connsiteX24" fmla="*/ 2179092 w 2984311"/>
                <a:gd name="connsiteY24" fmla="*/ 427630 h 782471"/>
                <a:gd name="connsiteX25" fmla="*/ 2151797 w 2984311"/>
                <a:gd name="connsiteY25" fmla="*/ 436728 h 782471"/>
                <a:gd name="connsiteX26" fmla="*/ 2138149 w 2984311"/>
                <a:gd name="connsiteY26" fmla="*/ 441278 h 782471"/>
                <a:gd name="connsiteX27" fmla="*/ 2124501 w 2984311"/>
                <a:gd name="connsiteY27" fmla="*/ 445827 h 782471"/>
                <a:gd name="connsiteX28" fmla="*/ 2083558 w 2984311"/>
                <a:gd name="connsiteY28" fmla="*/ 464024 h 782471"/>
                <a:gd name="connsiteX29" fmla="*/ 2069910 w 2984311"/>
                <a:gd name="connsiteY29" fmla="*/ 473122 h 782471"/>
                <a:gd name="connsiteX30" fmla="*/ 2056263 w 2984311"/>
                <a:gd name="connsiteY30" fmla="*/ 477672 h 782471"/>
                <a:gd name="connsiteX31" fmla="*/ 1988024 w 2984311"/>
                <a:gd name="connsiteY31" fmla="*/ 473122 h 782471"/>
                <a:gd name="connsiteX32" fmla="*/ 1969827 w 2984311"/>
                <a:gd name="connsiteY32" fmla="*/ 468573 h 782471"/>
                <a:gd name="connsiteX33" fmla="*/ 1878842 w 2984311"/>
                <a:gd name="connsiteY33" fmla="*/ 473122 h 782471"/>
                <a:gd name="connsiteX34" fmla="*/ 1851546 w 2984311"/>
                <a:gd name="connsiteY34" fmla="*/ 486770 h 782471"/>
                <a:gd name="connsiteX35" fmla="*/ 1842448 w 2984311"/>
                <a:gd name="connsiteY35" fmla="*/ 500418 h 782471"/>
                <a:gd name="connsiteX36" fmla="*/ 1815152 w 2984311"/>
                <a:gd name="connsiteY36" fmla="*/ 509516 h 782471"/>
                <a:gd name="connsiteX37" fmla="*/ 1787857 w 2984311"/>
                <a:gd name="connsiteY37" fmla="*/ 518615 h 782471"/>
                <a:gd name="connsiteX38" fmla="*/ 1774209 w 2984311"/>
                <a:gd name="connsiteY38" fmla="*/ 523164 h 782471"/>
                <a:gd name="connsiteX39" fmla="*/ 1733266 w 2984311"/>
                <a:gd name="connsiteY39" fmla="*/ 509516 h 782471"/>
                <a:gd name="connsiteX40" fmla="*/ 1728716 w 2984311"/>
                <a:gd name="connsiteY40" fmla="*/ 495869 h 782471"/>
                <a:gd name="connsiteX41" fmla="*/ 1724167 w 2984311"/>
                <a:gd name="connsiteY41" fmla="*/ 468573 h 782471"/>
                <a:gd name="connsiteX42" fmla="*/ 1710519 w 2984311"/>
                <a:gd name="connsiteY42" fmla="*/ 464024 h 782471"/>
                <a:gd name="connsiteX43" fmla="*/ 1701421 w 2984311"/>
                <a:gd name="connsiteY43" fmla="*/ 450376 h 782471"/>
                <a:gd name="connsiteX44" fmla="*/ 1687773 w 2984311"/>
                <a:gd name="connsiteY44" fmla="*/ 441278 h 782471"/>
                <a:gd name="connsiteX45" fmla="*/ 1683224 w 2984311"/>
                <a:gd name="connsiteY45" fmla="*/ 427630 h 782471"/>
                <a:gd name="connsiteX46" fmla="*/ 1665027 w 2984311"/>
                <a:gd name="connsiteY46" fmla="*/ 400334 h 782471"/>
                <a:gd name="connsiteX47" fmla="*/ 1646830 w 2984311"/>
                <a:gd name="connsiteY47" fmla="*/ 373039 h 782471"/>
                <a:gd name="connsiteX48" fmla="*/ 1633182 w 2984311"/>
                <a:gd name="connsiteY48" fmla="*/ 363940 h 782471"/>
                <a:gd name="connsiteX49" fmla="*/ 1601337 w 2984311"/>
                <a:gd name="connsiteY49" fmla="*/ 345743 h 782471"/>
                <a:gd name="connsiteX50" fmla="*/ 1587689 w 2984311"/>
                <a:gd name="connsiteY50" fmla="*/ 318448 h 782471"/>
                <a:gd name="connsiteX51" fmla="*/ 1574042 w 2984311"/>
                <a:gd name="connsiteY51" fmla="*/ 309349 h 782471"/>
                <a:gd name="connsiteX52" fmla="*/ 1542197 w 2984311"/>
                <a:gd name="connsiteY52" fmla="*/ 286603 h 782471"/>
                <a:gd name="connsiteX53" fmla="*/ 1501254 w 2984311"/>
                <a:gd name="connsiteY53" fmla="*/ 277505 h 782471"/>
                <a:gd name="connsiteX54" fmla="*/ 1473958 w 2984311"/>
                <a:gd name="connsiteY54" fmla="*/ 268406 h 782471"/>
                <a:gd name="connsiteX55" fmla="*/ 1460310 w 2984311"/>
                <a:gd name="connsiteY55" fmla="*/ 259308 h 782471"/>
                <a:gd name="connsiteX56" fmla="*/ 1433015 w 2984311"/>
                <a:gd name="connsiteY56" fmla="*/ 250209 h 782471"/>
                <a:gd name="connsiteX57" fmla="*/ 1360227 w 2984311"/>
                <a:gd name="connsiteY57" fmla="*/ 236561 h 782471"/>
                <a:gd name="connsiteX58" fmla="*/ 1332931 w 2984311"/>
                <a:gd name="connsiteY58" fmla="*/ 227463 h 782471"/>
                <a:gd name="connsiteX59" fmla="*/ 1319283 w 2984311"/>
                <a:gd name="connsiteY59" fmla="*/ 222913 h 782471"/>
                <a:gd name="connsiteX60" fmla="*/ 1278340 w 2984311"/>
                <a:gd name="connsiteY60" fmla="*/ 227463 h 782471"/>
                <a:gd name="connsiteX61" fmla="*/ 1264692 w 2984311"/>
                <a:gd name="connsiteY61" fmla="*/ 236561 h 782471"/>
                <a:gd name="connsiteX62" fmla="*/ 1246495 w 2984311"/>
                <a:gd name="connsiteY62" fmla="*/ 241111 h 782471"/>
                <a:gd name="connsiteX63" fmla="*/ 1219200 w 2984311"/>
                <a:gd name="connsiteY63" fmla="*/ 254758 h 782471"/>
                <a:gd name="connsiteX64" fmla="*/ 1191904 w 2984311"/>
                <a:gd name="connsiteY64" fmla="*/ 268406 h 782471"/>
                <a:gd name="connsiteX65" fmla="*/ 1160060 w 2984311"/>
                <a:gd name="connsiteY65" fmla="*/ 272955 h 782471"/>
                <a:gd name="connsiteX66" fmla="*/ 1105468 w 2984311"/>
                <a:gd name="connsiteY66" fmla="*/ 291152 h 782471"/>
                <a:gd name="connsiteX67" fmla="*/ 1073624 w 2984311"/>
                <a:gd name="connsiteY67" fmla="*/ 304800 h 782471"/>
                <a:gd name="connsiteX68" fmla="*/ 896203 w 2984311"/>
                <a:gd name="connsiteY68" fmla="*/ 309349 h 782471"/>
                <a:gd name="connsiteX69" fmla="*/ 868907 w 2984311"/>
                <a:gd name="connsiteY69" fmla="*/ 322997 h 782471"/>
                <a:gd name="connsiteX70" fmla="*/ 855260 w 2984311"/>
                <a:gd name="connsiteY70" fmla="*/ 327546 h 782471"/>
                <a:gd name="connsiteX71" fmla="*/ 782471 w 2984311"/>
                <a:gd name="connsiteY71" fmla="*/ 322997 h 782471"/>
                <a:gd name="connsiteX72" fmla="*/ 768824 w 2984311"/>
                <a:gd name="connsiteY72" fmla="*/ 318448 h 782471"/>
                <a:gd name="connsiteX73" fmla="*/ 723331 w 2984311"/>
                <a:gd name="connsiteY73" fmla="*/ 304800 h 782471"/>
                <a:gd name="connsiteX74" fmla="*/ 709683 w 2984311"/>
                <a:gd name="connsiteY74" fmla="*/ 300251 h 782471"/>
                <a:gd name="connsiteX75" fmla="*/ 696036 w 2984311"/>
                <a:gd name="connsiteY75" fmla="*/ 295702 h 782471"/>
                <a:gd name="connsiteX76" fmla="*/ 641445 w 2984311"/>
                <a:gd name="connsiteY76" fmla="*/ 291152 h 782471"/>
                <a:gd name="connsiteX77" fmla="*/ 591403 w 2984311"/>
                <a:gd name="connsiteY77" fmla="*/ 282054 h 782471"/>
                <a:gd name="connsiteX78" fmla="*/ 573206 w 2984311"/>
                <a:gd name="connsiteY78" fmla="*/ 277505 h 782471"/>
                <a:gd name="connsiteX79" fmla="*/ 545910 w 2984311"/>
                <a:gd name="connsiteY79" fmla="*/ 268406 h 782471"/>
                <a:gd name="connsiteX80" fmla="*/ 514066 w 2984311"/>
                <a:gd name="connsiteY80" fmla="*/ 263857 h 782471"/>
                <a:gd name="connsiteX81" fmla="*/ 491319 w 2984311"/>
                <a:gd name="connsiteY81" fmla="*/ 259308 h 782471"/>
                <a:gd name="connsiteX82" fmla="*/ 459474 w 2984311"/>
                <a:gd name="connsiteY82" fmla="*/ 254758 h 782471"/>
                <a:gd name="connsiteX83" fmla="*/ 432179 w 2984311"/>
                <a:gd name="connsiteY83" fmla="*/ 236561 h 782471"/>
                <a:gd name="connsiteX84" fmla="*/ 423080 w 2984311"/>
                <a:gd name="connsiteY84" fmla="*/ 222913 h 782471"/>
                <a:gd name="connsiteX85" fmla="*/ 404883 w 2984311"/>
                <a:gd name="connsiteY85" fmla="*/ 213815 h 782471"/>
                <a:gd name="connsiteX86" fmla="*/ 391236 w 2984311"/>
                <a:gd name="connsiteY86" fmla="*/ 204716 h 782471"/>
                <a:gd name="connsiteX87" fmla="*/ 373039 w 2984311"/>
                <a:gd name="connsiteY87" fmla="*/ 177421 h 782471"/>
                <a:gd name="connsiteX88" fmla="*/ 350292 w 2984311"/>
                <a:gd name="connsiteY88" fmla="*/ 150125 h 782471"/>
                <a:gd name="connsiteX89" fmla="*/ 322997 w 2984311"/>
                <a:gd name="connsiteY89" fmla="*/ 131928 h 782471"/>
                <a:gd name="connsiteX90" fmla="*/ 295701 w 2984311"/>
                <a:gd name="connsiteY90" fmla="*/ 113731 h 782471"/>
                <a:gd name="connsiteX91" fmla="*/ 286603 w 2984311"/>
                <a:gd name="connsiteY91" fmla="*/ 100084 h 782471"/>
                <a:gd name="connsiteX92" fmla="*/ 272955 w 2984311"/>
                <a:gd name="connsiteY92" fmla="*/ 95534 h 782471"/>
                <a:gd name="connsiteX93" fmla="*/ 259307 w 2984311"/>
                <a:gd name="connsiteY93" fmla="*/ 86436 h 782471"/>
                <a:gd name="connsiteX94" fmla="*/ 232012 w 2984311"/>
                <a:gd name="connsiteY94" fmla="*/ 77337 h 782471"/>
                <a:gd name="connsiteX95" fmla="*/ 218364 w 2984311"/>
                <a:gd name="connsiteY95" fmla="*/ 72788 h 782471"/>
                <a:gd name="connsiteX96" fmla="*/ 204716 w 2984311"/>
                <a:gd name="connsiteY96" fmla="*/ 68239 h 782471"/>
                <a:gd name="connsiteX97" fmla="*/ 191068 w 2984311"/>
                <a:gd name="connsiteY97" fmla="*/ 59140 h 782471"/>
                <a:gd name="connsiteX98" fmla="*/ 163773 w 2984311"/>
                <a:gd name="connsiteY98" fmla="*/ 50042 h 782471"/>
                <a:gd name="connsiteX99" fmla="*/ 136477 w 2984311"/>
                <a:gd name="connsiteY99" fmla="*/ 40943 h 782471"/>
                <a:gd name="connsiteX100" fmla="*/ 122830 w 2984311"/>
                <a:gd name="connsiteY100" fmla="*/ 36394 h 782471"/>
                <a:gd name="connsiteX101" fmla="*/ 0 w 2984311"/>
                <a:gd name="connsiteY101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16071 w 2984311"/>
                <a:gd name="connsiteY2" fmla="*/ 618699 h 782471"/>
                <a:gd name="connsiteX3" fmla="*/ 2920621 w 2984311"/>
                <a:gd name="connsiteY3" fmla="*/ 605051 h 782471"/>
                <a:gd name="connsiteX4" fmla="*/ 2916071 w 2984311"/>
                <a:gd name="connsiteY4" fmla="*/ 545911 h 782471"/>
                <a:gd name="connsiteX5" fmla="*/ 2875128 w 2984311"/>
                <a:gd name="connsiteY5" fmla="*/ 532263 h 782471"/>
                <a:gd name="connsiteX6" fmla="*/ 2861480 w 2984311"/>
                <a:gd name="connsiteY6" fmla="*/ 527713 h 782471"/>
                <a:gd name="connsiteX7" fmla="*/ 2847833 w 2984311"/>
                <a:gd name="connsiteY7" fmla="*/ 518615 h 782471"/>
                <a:gd name="connsiteX8" fmla="*/ 2761397 w 2984311"/>
                <a:gd name="connsiteY8" fmla="*/ 514066 h 782471"/>
                <a:gd name="connsiteX9" fmla="*/ 2711355 w 2984311"/>
                <a:gd name="connsiteY9" fmla="*/ 504967 h 782471"/>
                <a:gd name="connsiteX10" fmla="*/ 2684060 w 2984311"/>
                <a:gd name="connsiteY10" fmla="*/ 495869 h 782471"/>
                <a:gd name="connsiteX11" fmla="*/ 2643116 w 2984311"/>
                <a:gd name="connsiteY11" fmla="*/ 482221 h 782471"/>
                <a:gd name="connsiteX12" fmla="*/ 2629468 w 2984311"/>
                <a:gd name="connsiteY12" fmla="*/ 477672 h 782471"/>
                <a:gd name="connsiteX13" fmla="*/ 2552131 w 2984311"/>
                <a:gd name="connsiteY13" fmla="*/ 473122 h 782471"/>
                <a:gd name="connsiteX14" fmla="*/ 2515737 w 2984311"/>
                <a:gd name="connsiteY14" fmla="*/ 468573 h 782471"/>
                <a:gd name="connsiteX15" fmla="*/ 2370161 w 2984311"/>
                <a:gd name="connsiteY15" fmla="*/ 459475 h 782471"/>
                <a:gd name="connsiteX16" fmla="*/ 2329218 w 2984311"/>
                <a:gd name="connsiteY16" fmla="*/ 450376 h 782471"/>
                <a:gd name="connsiteX17" fmla="*/ 2301922 w 2984311"/>
                <a:gd name="connsiteY17" fmla="*/ 441278 h 782471"/>
                <a:gd name="connsiteX18" fmla="*/ 2288274 w 2984311"/>
                <a:gd name="connsiteY18" fmla="*/ 436728 h 782471"/>
                <a:gd name="connsiteX19" fmla="*/ 2247331 w 2984311"/>
                <a:gd name="connsiteY19" fmla="*/ 413982 h 782471"/>
                <a:gd name="connsiteX20" fmla="*/ 2233683 w 2984311"/>
                <a:gd name="connsiteY20" fmla="*/ 409433 h 782471"/>
                <a:gd name="connsiteX21" fmla="*/ 2220036 w 2984311"/>
                <a:gd name="connsiteY21" fmla="*/ 404884 h 782471"/>
                <a:gd name="connsiteX22" fmla="*/ 2192740 w 2984311"/>
                <a:gd name="connsiteY22" fmla="*/ 418531 h 782471"/>
                <a:gd name="connsiteX23" fmla="*/ 2179092 w 2984311"/>
                <a:gd name="connsiteY23" fmla="*/ 427630 h 782471"/>
                <a:gd name="connsiteX24" fmla="*/ 2151797 w 2984311"/>
                <a:gd name="connsiteY24" fmla="*/ 436728 h 782471"/>
                <a:gd name="connsiteX25" fmla="*/ 2138149 w 2984311"/>
                <a:gd name="connsiteY25" fmla="*/ 441278 h 782471"/>
                <a:gd name="connsiteX26" fmla="*/ 2124501 w 2984311"/>
                <a:gd name="connsiteY26" fmla="*/ 445827 h 782471"/>
                <a:gd name="connsiteX27" fmla="*/ 2083558 w 2984311"/>
                <a:gd name="connsiteY27" fmla="*/ 464024 h 782471"/>
                <a:gd name="connsiteX28" fmla="*/ 2069910 w 2984311"/>
                <a:gd name="connsiteY28" fmla="*/ 473122 h 782471"/>
                <a:gd name="connsiteX29" fmla="*/ 2056263 w 2984311"/>
                <a:gd name="connsiteY29" fmla="*/ 477672 h 782471"/>
                <a:gd name="connsiteX30" fmla="*/ 1988024 w 2984311"/>
                <a:gd name="connsiteY30" fmla="*/ 473122 h 782471"/>
                <a:gd name="connsiteX31" fmla="*/ 1969827 w 2984311"/>
                <a:gd name="connsiteY31" fmla="*/ 468573 h 782471"/>
                <a:gd name="connsiteX32" fmla="*/ 1878842 w 2984311"/>
                <a:gd name="connsiteY32" fmla="*/ 473122 h 782471"/>
                <a:gd name="connsiteX33" fmla="*/ 1851546 w 2984311"/>
                <a:gd name="connsiteY33" fmla="*/ 486770 h 782471"/>
                <a:gd name="connsiteX34" fmla="*/ 1842448 w 2984311"/>
                <a:gd name="connsiteY34" fmla="*/ 500418 h 782471"/>
                <a:gd name="connsiteX35" fmla="*/ 1815152 w 2984311"/>
                <a:gd name="connsiteY35" fmla="*/ 509516 h 782471"/>
                <a:gd name="connsiteX36" fmla="*/ 1787857 w 2984311"/>
                <a:gd name="connsiteY36" fmla="*/ 518615 h 782471"/>
                <a:gd name="connsiteX37" fmla="*/ 1774209 w 2984311"/>
                <a:gd name="connsiteY37" fmla="*/ 523164 h 782471"/>
                <a:gd name="connsiteX38" fmla="*/ 1733266 w 2984311"/>
                <a:gd name="connsiteY38" fmla="*/ 509516 h 782471"/>
                <a:gd name="connsiteX39" fmla="*/ 1728716 w 2984311"/>
                <a:gd name="connsiteY39" fmla="*/ 495869 h 782471"/>
                <a:gd name="connsiteX40" fmla="*/ 1724167 w 2984311"/>
                <a:gd name="connsiteY40" fmla="*/ 468573 h 782471"/>
                <a:gd name="connsiteX41" fmla="*/ 1710519 w 2984311"/>
                <a:gd name="connsiteY41" fmla="*/ 464024 h 782471"/>
                <a:gd name="connsiteX42" fmla="*/ 1701421 w 2984311"/>
                <a:gd name="connsiteY42" fmla="*/ 450376 h 782471"/>
                <a:gd name="connsiteX43" fmla="*/ 1687773 w 2984311"/>
                <a:gd name="connsiteY43" fmla="*/ 441278 h 782471"/>
                <a:gd name="connsiteX44" fmla="*/ 1683224 w 2984311"/>
                <a:gd name="connsiteY44" fmla="*/ 427630 h 782471"/>
                <a:gd name="connsiteX45" fmla="*/ 1665027 w 2984311"/>
                <a:gd name="connsiteY45" fmla="*/ 400334 h 782471"/>
                <a:gd name="connsiteX46" fmla="*/ 1646830 w 2984311"/>
                <a:gd name="connsiteY46" fmla="*/ 373039 h 782471"/>
                <a:gd name="connsiteX47" fmla="*/ 1633182 w 2984311"/>
                <a:gd name="connsiteY47" fmla="*/ 363940 h 782471"/>
                <a:gd name="connsiteX48" fmla="*/ 1601337 w 2984311"/>
                <a:gd name="connsiteY48" fmla="*/ 345743 h 782471"/>
                <a:gd name="connsiteX49" fmla="*/ 1587689 w 2984311"/>
                <a:gd name="connsiteY49" fmla="*/ 318448 h 782471"/>
                <a:gd name="connsiteX50" fmla="*/ 1574042 w 2984311"/>
                <a:gd name="connsiteY50" fmla="*/ 309349 h 782471"/>
                <a:gd name="connsiteX51" fmla="*/ 1542197 w 2984311"/>
                <a:gd name="connsiteY51" fmla="*/ 286603 h 782471"/>
                <a:gd name="connsiteX52" fmla="*/ 1501254 w 2984311"/>
                <a:gd name="connsiteY52" fmla="*/ 277505 h 782471"/>
                <a:gd name="connsiteX53" fmla="*/ 1473958 w 2984311"/>
                <a:gd name="connsiteY53" fmla="*/ 268406 h 782471"/>
                <a:gd name="connsiteX54" fmla="*/ 1460310 w 2984311"/>
                <a:gd name="connsiteY54" fmla="*/ 259308 h 782471"/>
                <a:gd name="connsiteX55" fmla="*/ 1433015 w 2984311"/>
                <a:gd name="connsiteY55" fmla="*/ 250209 h 782471"/>
                <a:gd name="connsiteX56" fmla="*/ 1360227 w 2984311"/>
                <a:gd name="connsiteY56" fmla="*/ 236561 h 782471"/>
                <a:gd name="connsiteX57" fmla="*/ 1332931 w 2984311"/>
                <a:gd name="connsiteY57" fmla="*/ 227463 h 782471"/>
                <a:gd name="connsiteX58" fmla="*/ 1319283 w 2984311"/>
                <a:gd name="connsiteY58" fmla="*/ 222913 h 782471"/>
                <a:gd name="connsiteX59" fmla="*/ 1278340 w 2984311"/>
                <a:gd name="connsiteY59" fmla="*/ 227463 h 782471"/>
                <a:gd name="connsiteX60" fmla="*/ 1264692 w 2984311"/>
                <a:gd name="connsiteY60" fmla="*/ 236561 h 782471"/>
                <a:gd name="connsiteX61" fmla="*/ 1246495 w 2984311"/>
                <a:gd name="connsiteY61" fmla="*/ 241111 h 782471"/>
                <a:gd name="connsiteX62" fmla="*/ 1219200 w 2984311"/>
                <a:gd name="connsiteY62" fmla="*/ 254758 h 782471"/>
                <a:gd name="connsiteX63" fmla="*/ 1191904 w 2984311"/>
                <a:gd name="connsiteY63" fmla="*/ 268406 h 782471"/>
                <a:gd name="connsiteX64" fmla="*/ 1160060 w 2984311"/>
                <a:gd name="connsiteY64" fmla="*/ 272955 h 782471"/>
                <a:gd name="connsiteX65" fmla="*/ 1105468 w 2984311"/>
                <a:gd name="connsiteY65" fmla="*/ 291152 h 782471"/>
                <a:gd name="connsiteX66" fmla="*/ 1073624 w 2984311"/>
                <a:gd name="connsiteY66" fmla="*/ 304800 h 782471"/>
                <a:gd name="connsiteX67" fmla="*/ 896203 w 2984311"/>
                <a:gd name="connsiteY67" fmla="*/ 309349 h 782471"/>
                <a:gd name="connsiteX68" fmla="*/ 868907 w 2984311"/>
                <a:gd name="connsiteY68" fmla="*/ 322997 h 782471"/>
                <a:gd name="connsiteX69" fmla="*/ 855260 w 2984311"/>
                <a:gd name="connsiteY69" fmla="*/ 327546 h 782471"/>
                <a:gd name="connsiteX70" fmla="*/ 782471 w 2984311"/>
                <a:gd name="connsiteY70" fmla="*/ 322997 h 782471"/>
                <a:gd name="connsiteX71" fmla="*/ 768824 w 2984311"/>
                <a:gd name="connsiteY71" fmla="*/ 318448 h 782471"/>
                <a:gd name="connsiteX72" fmla="*/ 723331 w 2984311"/>
                <a:gd name="connsiteY72" fmla="*/ 304800 h 782471"/>
                <a:gd name="connsiteX73" fmla="*/ 709683 w 2984311"/>
                <a:gd name="connsiteY73" fmla="*/ 300251 h 782471"/>
                <a:gd name="connsiteX74" fmla="*/ 696036 w 2984311"/>
                <a:gd name="connsiteY74" fmla="*/ 295702 h 782471"/>
                <a:gd name="connsiteX75" fmla="*/ 641445 w 2984311"/>
                <a:gd name="connsiteY75" fmla="*/ 291152 h 782471"/>
                <a:gd name="connsiteX76" fmla="*/ 591403 w 2984311"/>
                <a:gd name="connsiteY76" fmla="*/ 282054 h 782471"/>
                <a:gd name="connsiteX77" fmla="*/ 573206 w 2984311"/>
                <a:gd name="connsiteY77" fmla="*/ 277505 h 782471"/>
                <a:gd name="connsiteX78" fmla="*/ 545910 w 2984311"/>
                <a:gd name="connsiteY78" fmla="*/ 268406 h 782471"/>
                <a:gd name="connsiteX79" fmla="*/ 514066 w 2984311"/>
                <a:gd name="connsiteY79" fmla="*/ 263857 h 782471"/>
                <a:gd name="connsiteX80" fmla="*/ 491319 w 2984311"/>
                <a:gd name="connsiteY80" fmla="*/ 259308 h 782471"/>
                <a:gd name="connsiteX81" fmla="*/ 459474 w 2984311"/>
                <a:gd name="connsiteY81" fmla="*/ 254758 h 782471"/>
                <a:gd name="connsiteX82" fmla="*/ 432179 w 2984311"/>
                <a:gd name="connsiteY82" fmla="*/ 236561 h 782471"/>
                <a:gd name="connsiteX83" fmla="*/ 423080 w 2984311"/>
                <a:gd name="connsiteY83" fmla="*/ 222913 h 782471"/>
                <a:gd name="connsiteX84" fmla="*/ 404883 w 2984311"/>
                <a:gd name="connsiteY84" fmla="*/ 213815 h 782471"/>
                <a:gd name="connsiteX85" fmla="*/ 391236 w 2984311"/>
                <a:gd name="connsiteY85" fmla="*/ 204716 h 782471"/>
                <a:gd name="connsiteX86" fmla="*/ 373039 w 2984311"/>
                <a:gd name="connsiteY86" fmla="*/ 177421 h 782471"/>
                <a:gd name="connsiteX87" fmla="*/ 350292 w 2984311"/>
                <a:gd name="connsiteY87" fmla="*/ 150125 h 782471"/>
                <a:gd name="connsiteX88" fmla="*/ 322997 w 2984311"/>
                <a:gd name="connsiteY88" fmla="*/ 131928 h 782471"/>
                <a:gd name="connsiteX89" fmla="*/ 295701 w 2984311"/>
                <a:gd name="connsiteY89" fmla="*/ 113731 h 782471"/>
                <a:gd name="connsiteX90" fmla="*/ 286603 w 2984311"/>
                <a:gd name="connsiteY90" fmla="*/ 100084 h 782471"/>
                <a:gd name="connsiteX91" fmla="*/ 272955 w 2984311"/>
                <a:gd name="connsiteY91" fmla="*/ 95534 h 782471"/>
                <a:gd name="connsiteX92" fmla="*/ 259307 w 2984311"/>
                <a:gd name="connsiteY92" fmla="*/ 86436 h 782471"/>
                <a:gd name="connsiteX93" fmla="*/ 232012 w 2984311"/>
                <a:gd name="connsiteY93" fmla="*/ 77337 h 782471"/>
                <a:gd name="connsiteX94" fmla="*/ 218364 w 2984311"/>
                <a:gd name="connsiteY94" fmla="*/ 72788 h 782471"/>
                <a:gd name="connsiteX95" fmla="*/ 204716 w 2984311"/>
                <a:gd name="connsiteY95" fmla="*/ 68239 h 782471"/>
                <a:gd name="connsiteX96" fmla="*/ 191068 w 2984311"/>
                <a:gd name="connsiteY96" fmla="*/ 59140 h 782471"/>
                <a:gd name="connsiteX97" fmla="*/ 163773 w 2984311"/>
                <a:gd name="connsiteY97" fmla="*/ 50042 h 782471"/>
                <a:gd name="connsiteX98" fmla="*/ 136477 w 2984311"/>
                <a:gd name="connsiteY98" fmla="*/ 40943 h 782471"/>
                <a:gd name="connsiteX99" fmla="*/ 122830 w 2984311"/>
                <a:gd name="connsiteY99" fmla="*/ 36394 h 782471"/>
                <a:gd name="connsiteX100" fmla="*/ 0 w 2984311"/>
                <a:gd name="connsiteY100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16071 w 2984311"/>
                <a:gd name="connsiteY2" fmla="*/ 618699 h 782471"/>
                <a:gd name="connsiteX3" fmla="*/ 2920621 w 2984311"/>
                <a:gd name="connsiteY3" fmla="*/ 605051 h 782471"/>
                <a:gd name="connsiteX4" fmla="*/ 2916071 w 2984311"/>
                <a:gd name="connsiteY4" fmla="*/ 545911 h 782471"/>
                <a:gd name="connsiteX5" fmla="*/ 2875128 w 2984311"/>
                <a:gd name="connsiteY5" fmla="*/ 532263 h 782471"/>
                <a:gd name="connsiteX6" fmla="*/ 2861480 w 2984311"/>
                <a:gd name="connsiteY6" fmla="*/ 527713 h 782471"/>
                <a:gd name="connsiteX7" fmla="*/ 2847833 w 2984311"/>
                <a:gd name="connsiteY7" fmla="*/ 518615 h 782471"/>
                <a:gd name="connsiteX8" fmla="*/ 2761397 w 2984311"/>
                <a:gd name="connsiteY8" fmla="*/ 514066 h 782471"/>
                <a:gd name="connsiteX9" fmla="*/ 2711355 w 2984311"/>
                <a:gd name="connsiteY9" fmla="*/ 504967 h 782471"/>
                <a:gd name="connsiteX10" fmla="*/ 2684060 w 2984311"/>
                <a:gd name="connsiteY10" fmla="*/ 495869 h 782471"/>
                <a:gd name="connsiteX11" fmla="*/ 2643116 w 2984311"/>
                <a:gd name="connsiteY11" fmla="*/ 482221 h 782471"/>
                <a:gd name="connsiteX12" fmla="*/ 2629468 w 2984311"/>
                <a:gd name="connsiteY12" fmla="*/ 477672 h 782471"/>
                <a:gd name="connsiteX13" fmla="*/ 2552131 w 2984311"/>
                <a:gd name="connsiteY13" fmla="*/ 473122 h 782471"/>
                <a:gd name="connsiteX14" fmla="*/ 2515737 w 2984311"/>
                <a:gd name="connsiteY14" fmla="*/ 468573 h 782471"/>
                <a:gd name="connsiteX15" fmla="*/ 2370161 w 2984311"/>
                <a:gd name="connsiteY15" fmla="*/ 459475 h 782471"/>
                <a:gd name="connsiteX16" fmla="*/ 2329218 w 2984311"/>
                <a:gd name="connsiteY16" fmla="*/ 450376 h 782471"/>
                <a:gd name="connsiteX17" fmla="*/ 2301922 w 2984311"/>
                <a:gd name="connsiteY17" fmla="*/ 441278 h 782471"/>
                <a:gd name="connsiteX18" fmla="*/ 2288274 w 2984311"/>
                <a:gd name="connsiteY18" fmla="*/ 436728 h 782471"/>
                <a:gd name="connsiteX19" fmla="*/ 2247331 w 2984311"/>
                <a:gd name="connsiteY19" fmla="*/ 413982 h 782471"/>
                <a:gd name="connsiteX20" fmla="*/ 2233683 w 2984311"/>
                <a:gd name="connsiteY20" fmla="*/ 409433 h 782471"/>
                <a:gd name="connsiteX21" fmla="*/ 2220036 w 2984311"/>
                <a:gd name="connsiteY21" fmla="*/ 404884 h 782471"/>
                <a:gd name="connsiteX22" fmla="*/ 2192740 w 2984311"/>
                <a:gd name="connsiteY22" fmla="*/ 418531 h 782471"/>
                <a:gd name="connsiteX23" fmla="*/ 2179092 w 2984311"/>
                <a:gd name="connsiteY23" fmla="*/ 427630 h 782471"/>
                <a:gd name="connsiteX24" fmla="*/ 2151797 w 2984311"/>
                <a:gd name="connsiteY24" fmla="*/ 436728 h 782471"/>
                <a:gd name="connsiteX25" fmla="*/ 2138149 w 2984311"/>
                <a:gd name="connsiteY25" fmla="*/ 441278 h 782471"/>
                <a:gd name="connsiteX26" fmla="*/ 2124501 w 2984311"/>
                <a:gd name="connsiteY26" fmla="*/ 445827 h 782471"/>
                <a:gd name="connsiteX27" fmla="*/ 2083558 w 2984311"/>
                <a:gd name="connsiteY27" fmla="*/ 464024 h 782471"/>
                <a:gd name="connsiteX28" fmla="*/ 2069910 w 2984311"/>
                <a:gd name="connsiteY28" fmla="*/ 473122 h 782471"/>
                <a:gd name="connsiteX29" fmla="*/ 2056263 w 2984311"/>
                <a:gd name="connsiteY29" fmla="*/ 477672 h 782471"/>
                <a:gd name="connsiteX30" fmla="*/ 1988024 w 2984311"/>
                <a:gd name="connsiteY30" fmla="*/ 473122 h 782471"/>
                <a:gd name="connsiteX31" fmla="*/ 1969827 w 2984311"/>
                <a:gd name="connsiteY31" fmla="*/ 468573 h 782471"/>
                <a:gd name="connsiteX32" fmla="*/ 1878842 w 2984311"/>
                <a:gd name="connsiteY32" fmla="*/ 473122 h 782471"/>
                <a:gd name="connsiteX33" fmla="*/ 1851546 w 2984311"/>
                <a:gd name="connsiteY33" fmla="*/ 486770 h 782471"/>
                <a:gd name="connsiteX34" fmla="*/ 1842448 w 2984311"/>
                <a:gd name="connsiteY34" fmla="*/ 500418 h 782471"/>
                <a:gd name="connsiteX35" fmla="*/ 1815152 w 2984311"/>
                <a:gd name="connsiteY35" fmla="*/ 509516 h 782471"/>
                <a:gd name="connsiteX36" fmla="*/ 1787857 w 2984311"/>
                <a:gd name="connsiteY36" fmla="*/ 518615 h 782471"/>
                <a:gd name="connsiteX37" fmla="*/ 1774209 w 2984311"/>
                <a:gd name="connsiteY37" fmla="*/ 523164 h 782471"/>
                <a:gd name="connsiteX38" fmla="*/ 1733266 w 2984311"/>
                <a:gd name="connsiteY38" fmla="*/ 509516 h 782471"/>
                <a:gd name="connsiteX39" fmla="*/ 1728716 w 2984311"/>
                <a:gd name="connsiteY39" fmla="*/ 495869 h 782471"/>
                <a:gd name="connsiteX40" fmla="*/ 1724167 w 2984311"/>
                <a:gd name="connsiteY40" fmla="*/ 468573 h 782471"/>
                <a:gd name="connsiteX41" fmla="*/ 1710519 w 2984311"/>
                <a:gd name="connsiteY41" fmla="*/ 464024 h 782471"/>
                <a:gd name="connsiteX42" fmla="*/ 1701421 w 2984311"/>
                <a:gd name="connsiteY42" fmla="*/ 450376 h 782471"/>
                <a:gd name="connsiteX43" fmla="*/ 1687773 w 2984311"/>
                <a:gd name="connsiteY43" fmla="*/ 441278 h 782471"/>
                <a:gd name="connsiteX44" fmla="*/ 1683224 w 2984311"/>
                <a:gd name="connsiteY44" fmla="*/ 427630 h 782471"/>
                <a:gd name="connsiteX45" fmla="*/ 1665027 w 2984311"/>
                <a:gd name="connsiteY45" fmla="*/ 400334 h 782471"/>
                <a:gd name="connsiteX46" fmla="*/ 1646830 w 2984311"/>
                <a:gd name="connsiteY46" fmla="*/ 373039 h 782471"/>
                <a:gd name="connsiteX47" fmla="*/ 1633182 w 2984311"/>
                <a:gd name="connsiteY47" fmla="*/ 363940 h 782471"/>
                <a:gd name="connsiteX48" fmla="*/ 1601337 w 2984311"/>
                <a:gd name="connsiteY48" fmla="*/ 345743 h 782471"/>
                <a:gd name="connsiteX49" fmla="*/ 1587689 w 2984311"/>
                <a:gd name="connsiteY49" fmla="*/ 318448 h 782471"/>
                <a:gd name="connsiteX50" fmla="*/ 1574042 w 2984311"/>
                <a:gd name="connsiteY50" fmla="*/ 309349 h 782471"/>
                <a:gd name="connsiteX51" fmla="*/ 1542197 w 2984311"/>
                <a:gd name="connsiteY51" fmla="*/ 286603 h 782471"/>
                <a:gd name="connsiteX52" fmla="*/ 1501254 w 2984311"/>
                <a:gd name="connsiteY52" fmla="*/ 277505 h 782471"/>
                <a:gd name="connsiteX53" fmla="*/ 1473958 w 2984311"/>
                <a:gd name="connsiteY53" fmla="*/ 268406 h 782471"/>
                <a:gd name="connsiteX54" fmla="*/ 1460310 w 2984311"/>
                <a:gd name="connsiteY54" fmla="*/ 259308 h 782471"/>
                <a:gd name="connsiteX55" fmla="*/ 1433015 w 2984311"/>
                <a:gd name="connsiteY55" fmla="*/ 250209 h 782471"/>
                <a:gd name="connsiteX56" fmla="*/ 1360227 w 2984311"/>
                <a:gd name="connsiteY56" fmla="*/ 236561 h 782471"/>
                <a:gd name="connsiteX57" fmla="*/ 1332931 w 2984311"/>
                <a:gd name="connsiteY57" fmla="*/ 227463 h 782471"/>
                <a:gd name="connsiteX58" fmla="*/ 1319283 w 2984311"/>
                <a:gd name="connsiteY58" fmla="*/ 222913 h 782471"/>
                <a:gd name="connsiteX59" fmla="*/ 1278340 w 2984311"/>
                <a:gd name="connsiteY59" fmla="*/ 227463 h 782471"/>
                <a:gd name="connsiteX60" fmla="*/ 1264692 w 2984311"/>
                <a:gd name="connsiteY60" fmla="*/ 236561 h 782471"/>
                <a:gd name="connsiteX61" fmla="*/ 1246495 w 2984311"/>
                <a:gd name="connsiteY61" fmla="*/ 241111 h 782471"/>
                <a:gd name="connsiteX62" fmla="*/ 1219200 w 2984311"/>
                <a:gd name="connsiteY62" fmla="*/ 254758 h 782471"/>
                <a:gd name="connsiteX63" fmla="*/ 1191904 w 2984311"/>
                <a:gd name="connsiteY63" fmla="*/ 268406 h 782471"/>
                <a:gd name="connsiteX64" fmla="*/ 1160060 w 2984311"/>
                <a:gd name="connsiteY64" fmla="*/ 272955 h 782471"/>
                <a:gd name="connsiteX65" fmla="*/ 1105468 w 2984311"/>
                <a:gd name="connsiteY65" fmla="*/ 291152 h 782471"/>
                <a:gd name="connsiteX66" fmla="*/ 1073624 w 2984311"/>
                <a:gd name="connsiteY66" fmla="*/ 304800 h 782471"/>
                <a:gd name="connsiteX67" fmla="*/ 896203 w 2984311"/>
                <a:gd name="connsiteY67" fmla="*/ 309349 h 782471"/>
                <a:gd name="connsiteX68" fmla="*/ 868907 w 2984311"/>
                <a:gd name="connsiteY68" fmla="*/ 322997 h 782471"/>
                <a:gd name="connsiteX69" fmla="*/ 855260 w 2984311"/>
                <a:gd name="connsiteY69" fmla="*/ 327546 h 782471"/>
                <a:gd name="connsiteX70" fmla="*/ 782471 w 2984311"/>
                <a:gd name="connsiteY70" fmla="*/ 322997 h 782471"/>
                <a:gd name="connsiteX71" fmla="*/ 768824 w 2984311"/>
                <a:gd name="connsiteY71" fmla="*/ 318448 h 782471"/>
                <a:gd name="connsiteX72" fmla="*/ 723331 w 2984311"/>
                <a:gd name="connsiteY72" fmla="*/ 304800 h 782471"/>
                <a:gd name="connsiteX73" fmla="*/ 709683 w 2984311"/>
                <a:gd name="connsiteY73" fmla="*/ 300251 h 782471"/>
                <a:gd name="connsiteX74" fmla="*/ 696036 w 2984311"/>
                <a:gd name="connsiteY74" fmla="*/ 295702 h 782471"/>
                <a:gd name="connsiteX75" fmla="*/ 641445 w 2984311"/>
                <a:gd name="connsiteY75" fmla="*/ 291152 h 782471"/>
                <a:gd name="connsiteX76" fmla="*/ 591403 w 2984311"/>
                <a:gd name="connsiteY76" fmla="*/ 282054 h 782471"/>
                <a:gd name="connsiteX77" fmla="*/ 573206 w 2984311"/>
                <a:gd name="connsiteY77" fmla="*/ 277505 h 782471"/>
                <a:gd name="connsiteX78" fmla="*/ 545910 w 2984311"/>
                <a:gd name="connsiteY78" fmla="*/ 268406 h 782471"/>
                <a:gd name="connsiteX79" fmla="*/ 514066 w 2984311"/>
                <a:gd name="connsiteY79" fmla="*/ 263857 h 782471"/>
                <a:gd name="connsiteX80" fmla="*/ 491319 w 2984311"/>
                <a:gd name="connsiteY80" fmla="*/ 259308 h 782471"/>
                <a:gd name="connsiteX81" fmla="*/ 459474 w 2984311"/>
                <a:gd name="connsiteY81" fmla="*/ 254758 h 782471"/>
                <a:gd name="connsiteX82" fmla="*/ 432179 w 2984311"/>
                <a:gd name="connsiteY82" fmla="*/ 236561 h 782471"/>
                <a:gd name="connsiteX83" fmla="*/ 423080 w 2984311"/>
                <a:gd name="connsiteY83" fmla="*/ 222913 h 782471"/>
                <a:gd name="connsiteX84" fmla="*/ 404883 w 2984311"/>
                <a:gd name="connsiteY84" fmla="*/ 213815 h 782471"/>
                <a:gd name="connsiteX85" fmla="*/ 391236 w 2984311"/>
                <a:gd name="connsiteY85" fmla="*/ 204716 h 782471"/>
                <a:gd name="connsiteX86" fmla="*/ 373039 w 2984311"/>
                <a:gd name="connsiteY86" fmla="*/ 177421 h 782471"/>
                <a:gd name="connsiteX87" fmla="*/ 350292 w 2984311"/>
                <a:gd name="connsiteY87" fmla="*/ 150125 h 782471"/>
                <a:gd name="connsiteX88" fmla="*/ 322997 w 2984311"/>
                <a:gd name="connsiteY88" fmla="*/ 131928 h 782471"/>
                <a:gd name="connsiteX89" fmla="*/ 295701 w 2984311"/>
                <a:gd name="connsiteY89" fmla="*/ 113731 h 782471"/>
                <a:gd name="connsiteX90" fmla="*/ 286603 w 2984311"/>
                <a:gd name="connsiteY90" fmla="*/ 100084 h 782471"/>
                <a:gd name="connsiteX91" fmla="*/ 272955 w 2984311"/>
                <a:gd name="connsiteY91" fmla="*/ 95534 h 782471"/>
                <a:gd name="connsiteX92" fmla="*/ 259307 w 2984311"/>
                <a:gd name="connsiteY92" fmla="*/ 86436 h 782471"/>
                <a:gd name="connsiteX93" fmla="*/ 232012 w 2984311"/>
                <a:gd name="connsiteY93" fmla="*/ 77337 h 782471"/>
                <a:gd name="connsiteX94" fmla="*/ 218364 w 2984311"/>
                <a:gd name="connsiteY94" fmla="*/ 72788 h 782471"/>
                <a:gd name="connsiteX95" fmla="*/ 204716 w 2984311"/>
                <a:gd name="connsiteY95" fmla="*/ 68239 h 782471"/>
                <a:gd name="connsiteX96" fmla="*/ 191068 w 2984311"/>
                <a:gd name="connsiteY96" fmla="*/ 59140 h 782471"/>
                <a:gd name="connsiteX97" fmla="*/ 163773 w 2984311"/>
                <a:gd name="connsiteY97" fmla="*/ 50042 h 782471"/>
                <a:gd name="connsiteX98" fmla="*/ 136477 w 2984311"/>
                <a:gd name="connsiteY98" fmla="*/ 40943 h 782471"/>
                <a:gd name="connsiteX99" fmla="*/ 122830 w 2984311"/>
                <a:gd name="connsiteY99" fmla="*/ 36394 h 782471"/>
                <a:gd name="connsiteX100" fmla="*/ 0 w 2984311"/>
                <a:gd name="connsiteY100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16071 w 2984311"/>
                <a:gd name="connsiteY2" fmla="*/ 618699 h 782471"/>
                <a:gd name="connsiteX3" fmla="*/ 2916071 w 2984311"/>
                <a:gd name="connsiteY3" fmla="*/ 545911 h 782471"/>
                <a:gd name="connsiteX4" fmla="*/ 2875128 w 2984311"/>
                <a:gd name="connsiteY4" fmla="*/ 532263 h 782471"/>
                <a:gd name="connsiteX5" fmla="*/ 2861480 w 2984311"/>
                <a:gd name="connsiteY5" fmla="*/ 527713 h 782471"/>
                <a:gd name="connsiteX6" fmla="*/ 2847833 w 2984311"/>
                <a:gd name="connsiteY6" fmla="*/ 518615 h 782471"/>
                <a:gd name="connsiteX7" fmla="*/ 2761397 w 2984311"/>
                <a:gd name="connsiteY7" fmla="*/ 514066 h 782471"/>
                <a:gd name="connsiteX8" fmla="*/ 2711355 w 2984311"/>
                <a:gd name="connsiteY8" fmla="*/ 504967 h 782471"/>
                <a:gd name="connsiteX9" fmla="*/ 2684060 w 2984311"/>
                <a:gd name="connsiteY9" fmla="*/ 495869 h 782471"/>
                <a:gd name="connsiteX10" fmla="*/ 2643116 w 2984311"/>
                <a:gd name="connsiteY10" fmla="*/ 482221 h 782471"/>
                <a:gd name="connsiteX11" fmla="*/ 2629468 w 2984311"/>
                <a:gd name="connsiteY11" fmla="*/ 477672 h 782471"/>
                <a:gd name="connsiteX12" fmla="*/ 2552131 w 2984311"/>
                <a:gd name="connsiteY12" fmla="*/ 473122 h 782471"/>
                <a:gd name="connsiteX13" fmla="*/ 2515737 w 2984311"/>
                <a:gd name="connsiteY13" fmla="*/ 468573 h 782471"/>
                <a:gd name="connsiteX14" fmla="*/ 2370161 w 2984311"/>
                <a:gd name="connsiteY14" fmla="*/ 459475 h 782471"/>
                <a:gd name="connsiteX15" fmla="*/ 2329218 w 2984311"/>
                <a:gd name="connsiteY15" fmla="*/ 450376 h 782471"/>
                <a:gd name="connsiteX16" fmla="*/ 2301922 w 2984311"/>
                <a:gd name="connsiteY16" fmla="*/ 441278 h 782471"/>
                <a:gd name="connsiteX17" fmla="*/ 2288274 w 2984311"/>
                <a:gd name="connsiteY17" fmla="*/ 436728 h 782471"/>
                <a:gd name="connsiteX18" fmla="*/ 2247331 w 2984311"/>
                <a:gd name="connsiteY18" fmla="*/ 413982 h 782471"/>
                <a:gd name="connsiteX19" fmla="*/ 2233683 w 2984311"/>
                <a:gd name="connsiteY19" fmla="*/ 409433 h 782471"/>
                <a:gd name="connsiteX20" fmla="*/ 2220036 w 2984311"/>
                <a:gd name="connsiteY20" fmla="*/ 404884 h 782471"/>
                <a:gd name="connsiteX21" fmla="*/ 2192740 w 2984311"/>
                <a:gd name="connsiteY21" fmla="*/ 418531 h 782471"/>
                <a:gd name="connsiteX22" fmla="*/ 2179092 w 2984311"/>
                <a:gd name="connsiteY22" fmla="*/ 427630 h 782471"/>
                <a:gd name="connsiteX23" fmla="*/ 2151797 w 2984311"/>
                <a:gd name="connsiteY23" fmla="*/ 436728 h 782471"/>
                <a:gd name="connsiteX24" fmla="*/ 2138149 w 2984311"/>
                <a:gd name="connsiteY24" fmla="*/ 441278 h 782471"/>
                <a:gd name="connsiteX25" fmla="*/ 2124501 w 2984311"/>
                <a:gd name="connsiteY25" fmla="*/ 445827 h 782471"/>
                <a:gd name="connsiteX26" fmla="*/ 2083558 w 2984311"/>
                <a:gd name="connsiteY26" fmla="*/ 464024 h 782471"/>
                <a:gd name="connsiteX27" fmla="*/ 2069910 w 2984311"/>
                <a:gd name="connsiteY27" fmla="*/ 473122 h 782471"/>
                <a:gd name="connsiteX28" fmla="*/ 2056263 w 2984311"/>
                <a:gd name="connsiteY28" fmla="*/ 477672 h 782471"/>
                <a:gd name="connsiteX29" fmla="*/ 1988024 w 2984311"/>
                <a:gd name="connsiteY29" fmla="*/ 473122 h 782471"/>
                <a:gd name="connsiteX30" fmla="*/ 1969827 w 2984311"/>
                <a:gd name="connsiteY30" fmla="*/ 468573 h 782471"/>
                <a:gd name="connsiteX31" fmla="*/ 1878842 w 2984311"/>
                <a:gd name="connsiteY31" fmla="*/ 473122 h 782471"/>
                <a:gd name="connsiteX32" fmla="*/ 1851546 w 2984311"/>
                <a:gd name="connsiteY32" fmla="*/ 486770 h 782471"/>
                <a:gd name="connsiteX33" fmla="*/ 1842448 w 2984311"/>
                <a:gd name="connsiteY33" fmla="*/ 500418 h 782471"/>
                <a:gd name="connsiteX34" fmla="*/ 1815152 w 2984311"/>
                <a:gd name="connsiteY34" fmla="*/ 509516 h 782471"/>
                <a:gd name="connsiteX35" fmla="*/ 1787857 w 2984311"/>
                <a:gd name="connsiteY35" fmla="*/ 518615 h 782471"/>
                <a:gd name="connsiteX36" fmla="*/ 1774209 w 2984311"/>
                <a:gd name="connsiteY36" fmla="*/ 523164 h 782471"/>
                <a:gd name="connsiteX37" fmla="*/ 1733266 w 2984311"/>
                <a:gd name="connsiteY37" fmla="*/ 509516 h 782471"/>
                <a:gd name="connsiteX38" fmla="*/ 1728716 w 2984311"/>
                <a:gd name="connsiteY38" fmla="*/ 495869 h 782471"/>
                <a:gd name="connsiteX39" fmla="*/ 1724167 w 2984311"/>
                <a:gd name="connsiteY39" fmla="*/ 468573 h 782471"/>
                <a:gd name="connsiteX40" fmla="*/ 1710519 w 2984311"/>
                <a:gd name="connsiteY40" fmla="*/ 464024 h 782471"/>
                <a:gd name="connsiteX41" fmla="*/ 1701421 w 2984311"/>
                <a:gd name="connsiteY41" fmla="*/ 450376 h 782471"/>
                <a:gd name="connsiteX42" fmla="*/ 1687773 w 2984311"/>
                <a:gd name="connsiteY42" fmla="*/ 441278 h 782471"/>
                <a:gd name="connsiteX43" fmla="*/ 1683224 w 2984311"/>
                <a:gd name="connsiteY43" fmla="*/ 427630 h 782471"/>
                <a:gd name="connsiteX44" fmla="*/ 1665027 w 2984311"/>
                <a:gd name="connsiteY44" fmla="*/ 400334 h 782471"/>
                <a:gd name="connsiteX45" fmla="*/ 1646830 w 2984311"/>
                <a:gd name="connsiteY45" fmla="*/ 373039 h 782471"/>
                <a:gd name="connsiteX46" fmla="*/ 1633182 w 2984311"/>
                <a:gd name="connsiteY46" fmla="*/ 363940 h 782471"/>
                <a:gd name="connsiteX47" fmla="*/ 1601337 w 2984311"/>
                <a:gd name="connsiteY47" fmla="*/ 345743 h 782471"/>
                <a:gd name="connsiteX48" fmla="*/ 1587689 w 2984311"/>
                <a:gd name="connsiteY48" fmla="*/ 318448 h 782471"/>
                <a:gd name="connsiteX49" fmla="*/ 1574042 w 2984311"/>
                <a:gd name="connsiteY49" fmla="*/ 309349 h 782471"/>
                <a:gd name="connsiteX50" fmla="*/ 1542197 w 2984311"/>
                <a:gd name="connsiteY50" fmla="*/ 286603 h 782471"/>
                <a:gd name="connsiteX51" fmla="*/ 1501254 w 2984311"/>
                <a:gd name="connsiteY51" fmla="*/ 277505 h 782471"/>
                <a:gd name="connsiteX52" fmla="*/ 1473958 w 2984311"/>
                <a:gd name="connsiteY52" fmla="*/ 268406 h 782471"/>
                <a:gd name="connsiteX53" fmla="*/ 1460310 w 2984311"/>
                <a:gd name="connsiteY53" fmla="*/ 259308 h 782471"/>
                <a:gd name="connsiteX54" fmla="*/ 1433015 w 2984311"/>
                <a:gd name="connsiteY54" fmla="*/ 250209 h 782471"/>
                <a:gd name="connsiteX55" fmla="*/ 1360227 w 2984311"/>
                <a:gd name="connsiteY55" fmla="*/ 236561 h 782471"/>
                <a:gd name="connsiteX56" fmla="*/ 1332931 w 2984311"/>
                <a:gd name="connsiteY56" fmla="*/ 227463 h 782471"/>
                <a:gd name="connsiteX57" fmla="*/ 1319283 w 2984311"/>
                <a:gd name="connsiteY57" fmla="*/ 222913 h 782471"/>
                <a:gd name="connsiteX58" fmla="*/ 1278340 w 2984311"/>
                <a:gd name="connsiteY58" fmla="*/ 227463 h 782471"/>
                <a:gd name="connsiteX59" fmla="*/ 1264692 w 2984311"/>
                <a:gd name="connsiteY59" fmla="*/ 236561 h 782471"/>
                <a:gd name="connsiteX60" fmla="*/ 1246495 w 2984311"/>
                <a:gd name="connsiteY60" fmla="*/ 241111 h 782471"/>
                <a:gd name="connsiteX61" fmla="*/ 1219200 w 2984311"/>
                <a:gd name="connsiteY61" fmla="*/ 254758 h 782471"/>
                <a:gd name="connsiteX62" fmla="*/ 1191904 w 2984311"/>
                <a:gd name="connsiteY62" fmla="*/ 268406 h 782471"/>
                <a:gd name="connsiteX63" fmla="*/ 1160060 w 2984311"/>
                <a:gd name="connsiteY63" fmla="*/ 272955 h 782471"/>
                <a:gd name="connsiteX64" fmla="*/ 1105468 w 2984311"/>
                <a:gd name="connsiteY64" fmla="*/ 291152 h 782471"/>
                <a:gd name="connsiteX65" fmla="*/ 1073624 w 2984311"/>
                <a:gd name="connsiteY65" fmla="*/ 304800 h 782471"/>
                <a:gd name="connsiteX66" fmla="*/ 896203 w 2984311"/>
                <a:gd name="connsiteY66" fmla="*/ 309349 h 782471"/>
                <a:gd name="connsiteX67" fmla="*/ 868907 w 2984311"/>
                <a:gd name="connsiteY67" fmla="*/ 322997 h 782471"/>
                <a:gd name="connsiteX68" fmla="*/ 855260 w 2984311"/>
                <a:gd name="connsiteY68" fmla="*/ 327546 h 782471"/>
                <a:gd name="connsiteX69" fmla="*/ 782471 w 2984311"/>
                <a:gd name="connsiteY69" fmla="*/ 322997 h 782471"/>
                <a:gd name="connsiteX70" fmla="*/ 768824 w 2984311"/>
                <a:gd name="connsiteY70" fmla="*/ 318448 h 782471"/>
                <a:gd name="connsiteX71" fmla="*/ 723331 w 2984311"/>
                <a:gd name="connsiteY71" fmla="*/ 304800 h 782471"/>
                <a:gd name="connsiteX72" fmla="*/ 709683 w 2984311"/>
                <a:gd name="connsiteY72" fmla="*/ 300251 h 782471"/>
                <a:gd name="connsiteX73" fmla="*/ 696036 w 2984311"/>
                <a:gd name="connsiteY73" fmla="*/ 295702 h 782471"/>
                <a:gd name="connsiteX74" fmla="*/ 641445 w 2984311"/>
                <a:gd name="connsiteY74" fmla="*/ 291152 h 782471"/>
                <a:gd name="connsiteX75" fmla="*/ 591403 w 2984311"/>
                <a:gd name="connsiteY75" fmla="*/ 282054 h 782471"/>
                <a:gd name="connsiteX76" fmla="*/ 573206 w 2984311"/>
                <a:gd name="connsiteY76" fmla="*/ 277505 h 782471"/>
                <a:gd name="connsiteX77" fmla="*/ 545910 w 2984311"/>
                <a:gd name="connsiteY77" fmla="*/ 268406 h 782471"/>
                <a:gd name="connsiteX78" fmla="*/ 514066 w 2984311"/>
                <a:gd name="connsiteY78" fmla="*/ 263857 h 782471"/>
                <a:gd name="connsiteX79" fmla="*/ 491319 w 2984311"/>
                <a:gd name="connsiteY79" fmla="*/ 259308 h 782471"/>
                <a:gd name="connsiteX80" fmla="*/ 459474 w 2984311"/>
                <a:gd name="connsiteY80" fmla="*/ 254758 h 782471"/>
                <a:gd name="connsiteX81" fmla="*/ 432179 w 2984311"/>
                <a:gd name="connsiteY81" fmla="*/ 236561 h 782471"/>
                <a:gd name="connsiteX82" fmla="*/ 423080 w 2984311"/>
                <a:gd name="connsiteY82" fmla="*/ 222913 h 782471"/>
                <a:gd name="connsiteX83" fmla="*/ 404883 w 2984311"/>
                <a:gd name="connsiteY83" fmla="*/ 213815 h 782471"/>
                <a:gd name="connsiteX84" fmla="*/ 391236 w 2984311"/>
                <a:gd name="connsiteY84" fmla="*/ 204716 h 782471"/>
                <a:gd name="connsiteX85" fmla="*/ 373039 w 2984311"/>
                <a:gd name="connsiteY85" fmla="*/ 177421 h 782471"/>
                <a:gd name="connsiteX86" fmla="*/ 350292 w 2984311"/>
                <a:gd name="connsiteY86" fmla="*/ 150125 h 782471"/>
                <a:gd name="connsiteX87" fmla="*/ 322997 w 2984311"/>
                <a:gd name="connsiteY87" fmla="*/ 131928 h 782471"/>
                <a:gd name="connsiteX88" fmla="*/ 295701 w 2984311"/>
                <a:gd name="connsiteY88" fmla="*/ 113731 h 782471"/>
                <a:gd name="connsiteX89" fmla="*/ 286603 w 2984311"/>
                <a:gd name="connsiteY89" fmla="*/ 100084 h 782471"/>
                <a:gd name="connsiteX90" fmla="*/ 272955 w 2984311"/>
                <a:gd name="connsiteY90" fmla="*/ 95534 h 782471"/>
                <a:gd name="connsiteX91" fmla="*/ 259307 w 2984311"/>
                <a:gd name="connsiteY91" fmla="*/ 86436 h 782471"/>
                <a:gd name="connsiteX92" fmla="*/ 232012 w 2984311"/>
                <a:gd name="connsiteY92" fmla="*/ 77337 h 782471"/>
                <a:gd name="connsiteX93" fmla="*/ 218364 w 2984311"/>
                <a:gd name="connsiteY93" fmla="*/ 72788 h 782471"/>
                <a:gd name="connsiteX94" fmla="*/ 204716 w 2984311"/>
                <a:gd name="connsiteY94" fmla="*/ 68239 h 782471"/>
                <a:gd name="connsiteX95" fmla="*/ 191068 w 2984311"/>
                <a:gd name="connsiteY95" fmla="*/ 59140 h 782471"/>
                <a:gd name="connsiteX96" fmla="*/ 163773 w 2984311"/>
                <a:gd name="connsiteY96" fmla="*/ 50042 h 782471"/>
                <a:gd name="connsiteX97" fmla="*/ 136477 w 2984311"/>
                <a:gd name="connsiteY97" fmla="*/ 40943 h 782471"/>
                <a:gd name="connsiteX98" fmla="*/ 122830 w 2984311"/>
                <a:gd name="connsiteY98" fmla="*/ 36394 h 782471"/>
                <a:gd name="connsiteX99" fmla="*/ 0 w 2984311"/>
                <a:gd name="connsiteY99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16071 w 2984311"/>
                <a:gd name="connsiteY2" fmla="*/ 545911 h 782471"/>
                <a:gd name="connsiteX3" fmla="*/ 2875128 w 2984311"/>
                <a:gd name="connsiteY3" fmla="*/ 532263 h 782471"/>
                <a:gd name="connsiteX4" fmla="*/ 2861480 w 2984311"/>
                <a:gd name="connsiteY4" fmla="*/ 527713 h 782471"/>
                <a:gd name="connsiteX5" fmla="*/ 2847833 w 2984311"/>
                <a:gd name="connsiteY5" fmla="*/ 518615 h 782471"/>
                <a:gd name="connsiteX6" fmla="*/ 2761397 w 2984311"/>
                <a:gd name="connsiteY6" fmla="*/ 514066 h 782471"/>
                <a:gd name="connsiteX7" fmla="*/ 2711355 w 2984311"/>
                <a:gd name="connsiteY7" fmla="*/ 504967 h 782471"/>
                <a:gd name="connsiteX8" fmla="*/ 2684060 w 2984311"/>
                <a:gd name="connsiteY8" fmla="*/ 495869 h 782471"/>
                <a:gd name="connsiteX9" fmla="*/ 2643116 w 2984311"/>
                <a:gd name="connsiteY9" fmla="*/ 482221 h 782471"/>
                <a:gd name="connsiteX10" fmla="*/ 2629468 w 2984311"/>
                <a:gd name="connsiteY10" fmla="*/ 477672 h 782471"/>
                <a:gd name="connsiteX11" fmla="*/ 2552131 w 2984311"/>
                <a:gd name="connsiteY11" fmla="*/ 473122 h 782471"/>
                <a:gd name="connsiteX12" fmla="*/ 2515737 w 2984311"/>
                <a:gd name="connsiteY12" fmla="*/ 468573 h 782471"/>
                <a:gd name="connsiteX13" fmla="*/ 2370161 w 2984311"/>
                <a:gd name="connsiteY13" fmla="*/ 459475 h 782471"/>
                <a:gd name="connsiteX14" fmla="*/ 2329218 w 2984311"/>
                <a:gd name="connsiteY14" fmla="*/ 450376 h 782471"/>
                <a:gd name="connsiteX15" fmla="*/ 2301922 w 2984311"/>
                <a:gd name="connsiteY15" fmla="*/ 441278 h 782471"/>
                <a:gd name="connsiteX16" fmla="*/ 2288274 w 2984311"/>
                <a:gd name="connsiteY16" fmla="*/ 436728 h 782471"/>
                <a:gd name="connsiteX17" fmla="*/ 2247331 w 2984311"/>
                <a:gd name="connsiteY17" fmla="*/ 413982 h 782471"/>
                <a:gd name="connsiteX18" fmla="*/ 2233683 w 2984311"/>
                <a:gd name="connsiteY18" fmla="*/ 409433 h 782471"/>
                <a:gd name="connsiteX19" fmla="*/ 2220036 w 2984311"/>
                <a:gd name="connsiteY19" fmla="*/ 404884 h 782471"/>
                <a:gd name="connsiteX20" fmla="*/ 2192740 w 2984311"/>
                <a:gd name="connsiteY20" fmla="*/ 418531 h 782471"/>
                <a:gd name="connsiteX21" fmla="*/ 2179092 w 2984311"/>
                <a:gd name="connsiteY21" fmla="*/ 427630 h 782471"/>
                <a:gd name="connsiteX22" fmla="*/ 2151797 w 2984311"/>
                <a:gd name="connsiteY22" fmla="*/ 436728 h 782471"/>
                <a:gd name="connsiteX23" fmla="*/ 2138149 w 2984311"/>
                <a:gd name="connsiteY23" fmla="*/ 441278 h 782471"/>
                <a:gd name="connsiteX24" fmla="*/ 2124501 w 2984311"/>
                <a:gd name="connsiteY24" fmla="*/ 445827 h 782471"/>
                <a:gd name="connsiteX25" fmla="*/ 2083558 w 2984311"/>
                <a:gd name="connsiteY25" fmla="*/ 464024 h 782471"/>
                <a:gd name="connsiteX26" fmla="*/ 2069910 w 2984311"/>
                <a:gd name="connsiteY26" fmla="*/ 473122 h 782471"/>
                <a:gd name="connsiteX27" fmla="*/ 2056263 w 2984311"/>
                <a:gd name="connsiteY27" fmla="*/ 477672 h 782471"/>
                <a:gd name="connsiteX28" fmla="*/ 1988024 w 2984311"/>
                <a:gd name="connsiteY28" fmla="*/ 473122 h 782471"/>
                <a:gd name="connsiteX29" fmla="*/ 1969827 w 2984311"/>
                <a:gd name="connsiteY29" fmla="*/ 468573 h 782471"/>
                <a:gd name="connsiteX30" fmla="*/ 1878842 w 2984311"/>
                <a:gd name="connsiteY30" fmla="*/ 473122 h 782471"/>
                <a:gd name="connsiteX31" fmla="*/ 1851546 w 2984311"/>
                <a:gd name="connsiteY31" fmla="*/ 486770 h 782471"/>
                <a:gd name="connsiteX32" fmla="*/ 1842448 w 2984311"/>
                <a:gd name="connsiteY32" fmla="*/ 500418 h 782471"/>
                <a:gd name="connsiteX33" fmla="*/ 1815152 w 2984311"/>
                <a:gd name="connsiteY33" fmla="*/ 509516 h 782471"/>
                <a:gd name="connsiteX34" fmla="*/ 1787857 w 2984311"/>
                <a:gd name="connsiteY34" fmla="*/ 518615 h 782471"/>
                <a:gd name="connsiteX35" fmla="*/ 1774209 w 2984311"/>
                <a:gd name="connsiteY35" fmla="*/ 523164 h 782471"/>
                <a:gd name="connsiteX36" fmla="*/ 1733266 w 2984311"/>
                <a:gd name="connsiteY36" fmla="*/ 509516 h 782471"/>
                <a:gd name="connsiteX37" fmla="*/ 1728716 w 2984311"/>
                <a:gd name="connsiteY37" fmla="*/ 495869 h 782471"/>
                <a:gd name="connsiteX38" fmla="*/ 1724167 w 2984311"/>
                <a:gd name="connsiteY38" fmla="*/ 468573 h 782471"/>
                <a:gd name="connsiteX39" fmla="*/ 1710519 w 2984311"/>
                <a:gd name="connsiteY39" fmla="*/ 464024 h 782471"/>
                <a:gd name="connsiteX40" fmla="*/ 1701421 w 2984311"/>
                <a:gd name="connsiteY40" fmla="*/ 450376 h 782471"/>
                <a:gd name="connsiteX41" fmla="*/ 1687773 w 2984311"/>
                <a:gd name="connsiteY41" fmla="*/ 441278 h 782471"/>
                <a:gd name="connsiteX42" fmla="*/ 1683224 w 2984311"/>
                <a:gd name="connsiteY42" fmla="*/ 427630 h 782471"/>
                <a:gd name="connsiteX43" fmla="*/ 1665027 w 2984311"/>
                <a:gd name="connsiteY43" fmla="*/ 400334 h 782471"/>
                <a:gd name="connsiteX44" fmla="*/ 1646830 w 2984311"/>
                <a:gd name="connsiteY44" fmla="*/ 373039 h 782471"/>
                <a:gd name="connsiteX45" fmla="*/ 1633182 w 2984311"/>
                <a:gd name="connsiteY45" fmla="*/ 363940 h 782471"/>
                <a:gd name="connsiteX46" fmla="*/ 1601337 w 2984311"/>
                <a:gd name="connsiteY46" fmla="*/ 345743 h 782471"/>
                <a:gd name="connsiteX47" fmla="*/ 1587689 w 2984311"/>
                <a:gd name="connsiteY47" fmla="*/ 318448 h 782471"/>
                <a:gd name="connsiteX48" fmla="*/ 1574042 w 2984311"/>
                <a:gd name="connsiteY48" fmla="*/ 309349 h 782471"/>
                <a:gd name="connsiteX49" fmla="*/ 1542197 w 2984311"/>
                <a:gd name="connsiteY49" fmla="*/ 286603 h 782471"/>
                <a:gd name="connsiteX50" fmla="*/ 1501254 w 2984311"/>
                <a:gd name="connsiteY50" fmla="*/ 277505 h 782471"/>
                <a:gd name="connsiteX51" fmla="*/ 1473958 w 2984311"/>
                <a:gd name="connsiteY51" fmla="*/ 268406 h 782471"/>
                <a:gd name="connsiteX52" fmla="*/ 1460310 w 2984311"/>
                <a:gd name="connsiteY52" fmla="*/ 259308 h 782471"/>
                <a:gd name="connsiteX53" fmla="*/ 1433015 w 2984311"/>
                <a:gd name="connsiteY53" fmla="*/ 250209 h 782471"/>
                <a:gd name="connsiteX54" fmla="*/ 1360227 w 2984311"/>
                <a:gd name="connsiteY54" fmla="*/ 236561 h 782471"/>
                <a:gd name="connsiteX55" fmla="*/ 1332931 w 2984311"/>
                <a:gd name="connsiteY55" fmla="*/ 227463 h 782471"/>
                <a:gd name="connsiteX56" fmla="*/ 1319283 w 2984311"/>
                <a:gd name="connsiteY56" fmla="*/ 222913 h 782471"/>
                <a:gd name="connsiteX57" fmla="*/ 1278340 w 2984311"/>
                <a:gd name="connsiteY57" fmla="*/ 227463 h 782471"/>
                <a:gd name="connsiteX58" fmla="*/ 1264692 w 2984311"/>
                <a:gd name="connsiteY58" fmla="*/ 236561 h 782471"/>
                <a:gd name="connsiteX59" fmla="*/ 1246495 w 2984311"/>
                <a:gd name="connsiteY59" fmla="*/ 241111 h 782471"/>
                <a:gd name="connsiteX60" fmla="*/ 1219200 w 2984311"/>
                <a:gd name="connsiteY60" fmla="*/ 254758 h 782471"/>
                <a:gd name="connsiteX61" fmla="*/ 1191904 w 2984311"/>
                <a:gd name="connsiteY61" fmla="*/ 268406 h 782471"/>
                <a:gd name="connsiteX62" fmla="*/ 1160060 w 2984311"/>
                <a:gd name="connsiteY62" fmla="*/ 272955 h 782471"/>
                <a:gd name="connsiteX63" fmla="*/ 1105468 w 2984311"/>
                <a:gd name="connsiteY63" fmla="*/ 291152 h 782471"/>
                <a:gd name="connsiteX64" fmla="*/ 1073624 w 2984311"/>
                <a:gd name="connsiteY64" fmla="*/ 304800 h 782471"/>
                <a:gd name="connsiteX65" fmla="*/ 896203 w 2984311"/>
                <a:gd name="connsiteY65" fmla="*/ 309349 h 782471"/>
                <a:gd name="connsiteX66" fmla="*/ 868907 w 2984311"/>
                <a:gd name="connsiteY66" fmla="*/ 322997 h 782471"/>
                <a:gd name="connsiteX67" fmla="*/ 855260 w 2984311"/>
                <a:gd name="connsiteY67" fmla="*/ 327546 h 782471"/>
                <a:gd name="connsiteX68" fmla="*/ 782471 w 2984311"/>
                <a:gd name="connsiteY68" fmla="*/ 322997 h 782471"/>
                <a:gd name="connsiteX69" fmla="*/ 768824 w 2984311"/>
                <a:gd name="connsiteY69" fmla="*/ 318448 h 782471"/>
                <a:gd name="connsiteX70" fmla="*/ 723331 w 2984311"/>
                <a:gd name="connsiteY70" fmla="*/ 304800 h 782471"/>
                <a:gd name="connsiteX71" fmla="*/ 709683 w 2984311"/>
                <a:gd name="connsiteY71" fmla="*/ 300251 h 782471"/>
                <a:gd name="connsiteX72" fmla="*/ 696036 w 2984311"/>
                <a:gd name="connsiteY72" fmla="*/ 295702 h 782471"/>
                <a:gd name="connsiteX73" fmla="*/ 641445 w 2984311"/>
                <a:gd name="connsiteY73" fmla="*/ 291152 h 782471"/>
                <a:gd name="connsiteX74" fmla="*/ 591403 w 2984311"/>
                <a:gd name="connsiteY74" fmla="*/ 282054 h 782471"/>
                <a:gd name="connsiteX75" fmla="*/ 573206 w 2984311"/>
                <a:gd name="connsiteY75" fmla="*/ 277505 h 782471"/>
                <a:gd name="connsiteX76" fmla="*/ 545910 w 2984311"/>
                <a:gd name="connsiteY76" fmla="*/ 268406 h 782471"/>
                <a:gd name="connsiteX77" fmla="*/ 514066 w 2984311"/>
                <a:gd name="connsiteY77" fmla="*/ 263857 h 782471"/>
                <a:gd name="connsiteX78" fmla="*/ 491319 w 2984311"/>
                <a:gd name="connsiteY78" fmla="*/ 259308 h 782471"/>
                <a:gd name="connsiteX79" fmla="*/ 459474 w 2984311"/>
                <a:gd name="connsiteY79" fmla="*/ 254758 h 782471"/>
                <a:gd name="connsiteX80" fmla="*/ 432179 w 2984311"/>
                <a:gd name="connsiteY80" fmla="*/ 236561 h 782471"/>
                <a:gd name="connsiteX81" fmla="*/ 423080 w 2984311"/>
                <a:gd name="connsiteY81" fmla="*/ 222913 h 782471"/>
                <a:gd name="connsiteX82" fmla="*/ 404883 w 2984311"/>
                <a:gd name="connsiteY82" fmla="*/ 213815 h 782471"/>
                <a:gd name="connsiteX83" fmla="*/ 391236 w 2984311"/>
                <a:gd name="connsiteY83" fmla="*/ 204716 h 782471"/>
                <a:gd name="connsiteX84" fmla="*/ 373039 w 2984311"/>
                <a:gd name="connsiteY84" fmla="*/ 177421 h 782471"/>
                <a:gd name="connsiteX85" fmla="*/ 350292 w 2984311"/>
                <a:gd name="connsiteY85" fmla="*/ 150125 h 782471"/>
                <a:gd name="connsiteX86" fmla="*/ 322997 w 2984311"/>
                <a:gd name="connsiteY86" fmla="*/ 131928 h 782471"/>
                <a:gd name="connsiteX87" fmla="*/ 295701 w 2984311"/>
                <a:gd name="connsiteY87" fmla="*/ 113731 h 782471"/>
                <a:gd name="connsiteX88" fmla="*/ 286603 w 2984311"/>
                <a:gd name="connsiteY88" fmla="*/ 100084 h 782471"/>
                <a:gd name="connsiteX89" fmla="*/ 272955 w 2984311"/>
                <a:gd name="connsiteY89" fmla="*/ 95534 h 782471"/>
                <a:gd name="connsiteX90" fmla="*/ 259307 w 2984311"/>
                <a:gd name="connsiteY90" fmla="*/ 86436 h 782471"/>
                <a:gd name="connsiteX91" fmla="*/ 232012 w 2984311"/>
                <a:gd name="connsiteY91" fmla="*/ 77337 h 782471"/>
                <a:gd name="connsiteX92" fmla="*/ 218364 w 2984311"/>
                <a:gd name="connsiteY92" fmla="*/ 72788 h 782471"/>
                <a:gd name="connsiteX93" fmla="*/ 204716 w 2984311"/>
                <a:gd name="connsiteY93" fmla="*/ 68239 h 782471"/>
                <a:gd name="connsiteX94" fmla="*/ 191068 w 2984311"/>
                <a:gd name="connsiteY94" fmla="*/ 59140 h 782471"/>
                <a:gd name="connsiteX95" fmla="*/ 163773 w 2984311"/>
                <a:gd name="connsiteY95" fmla="*/ 50042 h 782471"/>
                <a:gd name="connsiteX96" fmla="*/ 136477 w 2984311"/>
                <a:gd name="connsiteY96" fmla="*/ 40943 h 782471"/>
                <a:gd name="connsiteX97" fmla="*/ 122830 w 2984311"/>
                <a:gd name="connsiteY97" fmla="*/ 36394 h 782471"/>
                <a:gd name="connsiteX98" fmla="*/ 0 w 2984311"/>
                <a:gd name="connsiteY98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75128 w 2984311"/>
                <a:gd name="connsiteY3" fmla="*/ 532263 h 782471"/>
                <a:gd name="connsiteX4" fmla="*/ 2861480 w 2984311"/>
                <a:gd name="connsiteY4" fmla="*/ 527713 h 782471"/>
                <a:gd name="connsiteX5" fmla="*/ 2847833 w 2984311"/>
                <a:gd name="connsiteY5" fmla="*/ 518615 h 782471"/>
                <a:gd name="connsiteX6" fmla="*/ 2761397 w 2984311"/>
                <a:gd name="connsiteY6" fmla="*/ 514066 h 782471"/>
                <a:gd name="connsiteX7" fmla="*/ 2711355 w 2984311"/>
                <a:gd name="connsiteY7" fmla="*/ 504967 h 782471"/>
                <a:gd name="connsiteX8" fmla="*/ 2684060 w 2984311"/>
                <a:gd name="connsiteY8" fmla="*/ 495869 h 782471"/>
                <a:gd name="connsiteX9" fmla="*/ 2643116 w 2984311"/>
                <a:gd name="connsiteY9" fmla="*/ 482221 h 782471"/>
                <a:gd name="connsiteX10" fmla="*/ 2629468 w 2984311"/>
                <a:gd name="connsiteY10" fmla="*/ 477672 h 782471"/>
                <a:gd name="connsiteX11" fmla="*/ 2552131 w 2984311"/>
                <a:gd name="connsiteY11" fmla="*/ 473122 h 782471"/>
                <a:gd name="connsiteX12" fmla="*/ 2515737 w 2984311"/>
                <a:gd name="connsiteY12" fmla="*/ 468573 h 782471"/>
                <a:gd name="connsiteX13" fmla="*/ 2370161 w 2984311"/>
                <a:gd name="connsiteY13" fmla="*/ 459475 h 782471"/>
                <a:gd name="connsiteX14" fmla="*/ 2329218 w 2984311"/>
                <a:gd name="connsiteY14" fmla="*/ 450376 h 782471"/>
                <a:gd name="connsiteX15" fmla="*/ 2301922 w 2984311"/>
                <a:gd name="connsiteY15" fmla="*/ 441278 h 782471"/>
                <a:gd name="connsiteX16" fmla="*/ 2288274 w 2984311"/>
                <a:gd name="connsiteY16" fmla="*/ 436728 h 782471"/>
                <a:gd name="connsiteX17" fmla="*/ 2247331 w 2984311"/>
                <a:gd name="connsiteY17" fmla="*/ 413982 h 782471"/>
                <a:gd name="connsiteX18" fmla="*/ 2233683 w 2984311"/>
                <a:gd name="connsiteY18" fmla="*/ 409433 h 782471"/>
                <a:gd name="connsiteX19" fmla="*/ 2220036 w 2984311"/>
                <a:gd name="connsiteY19" fmla="*/ 404884 h 782471"/>
                <a:gd name="connsiteX20" fmla="*/ 2192740 w 2984311"/>
                <a:gd name="connsiteY20" fmla="*/ 418531 h 782471"/>
                <a:gd name="connsiteX21" fmla="*/ 2179092 w 2984311"/>
                <a:gd name="connsiteY21" fmla="*/ 427630 h 782471"/>
                <a:gd name="connsiteX22" fmla="*/ 2151797 w 2984311"/>
                <a:gd name="connsiteY22" fmla="*/ 436728 h 782471"/>
                <a:gd name="connsiteX23" fmla="*/ 2138149 w 2984311"/>
                <a:gd name="connsiteY23" fmla="*/ 441278 h 782471"/>
                <a:gd name="connsiteX24" fmla="*/ 2124501 w 2984311"/>
                <a:gd name="connsiteY24" fmla="*/ 445827 h 782471"/>
                <a:gd name="connsiteX25" fmla="*/ 2083558 w 2984311"/>
                <a:gd name="connsiteY25" fmla="*/ 464024 h 782471"/>
                <a:gd name="connsiteX26" fmla="*/ 2069910 w 2984311"/>
                <a:gd name="connsiteY26" fmla="*/ 473122 h 782471"/>
                <a:gd name="connsiteX27" fmla="*/ 2056263 w 2984311"/>
                <a:gd name="connsiteY27" fmla="*/ 477672 h 782471"/>
                <a:gd name="connsiteX28" fmla="*/ 1988024 w 2984311"/>
                <a:gd name="connsiteY28" fmla="*/ 473122 h 782471"/>
                <a:gd name="connsiteX29" fmla="*/ 1969827 w 2984311"/>
                <a:gd name="connsiteY29" fmla="*/ 468573 h 782471"/>
                <a:gd name="connsiteX30" fmla="*/ 1878842 w 2984311"/>
                <a:gd name="connsiteY30" fmla="*/ 473122 h 782471"/>
                <a:gd name="connsiteX31" fmla="*/ 1851546 w 2984311"/>
                <a:gd name="connsiteY31" fmla="*/ 486770 h 782471"/>
                <a:gd name="connsiteX32" fmla="*/ 1842448 w 2984311"/>
                <a:gd name="connsiteY32" fmla="*/ 500418 h 782471"/>
                <a:gd name="connsiteX33" fmla="*/ 1815152 w 2984311"/>
                <a:gd name="connsiteY33" fmla="*/ 509516 h 782471"/>
                <a:gd name="connsiteX34" fmla="*/ 1787857 w 2984311"/>
                <a:gd name="connsiteY34" fmla="*/ 518615 h 782471"/>
                <a:gd name="connsiteX35" fmla="*/ 1774209 w 2984311"/>
                <a:gd name="connsiteY35" fmla="*/ 523164 h 782471"/>
                <a:gd name="connsiteX36" fmla="*/ 1733266 w 2984311"/>
                <a:gd name="connsiteY36" fmla="*/ 509516 h 782471"/>
                <a:gd name="connsiteX37" fmla="*/ 1728716 w 2984311"/>
                <a:gd name="connsiteY37" fmla="*/ 495869 h 782471"/>
                <a:gd name="connsiteX38" fmla="*/ 1724167 w 2984311"/>
                <a:gd name="connsiteY38" fmla="*/ 468573 h 782471"/>
                <a:gd name="connsiteX39" fmla="*/ 1710519 w 2984311"/>
                <a:gd name="connsiteY39" fmla="*/ 464024 h 782471"/>
                <a:gd name="connsiteX40" fmla="*/ 1701421 w 2984311"/>
                <a:gd name="connsiteY40" fmla="*/ 450376 h 782471"/>
                <a:gd name="connsiteX41" fmla="*/ 1687773 w 2984311"/>
                <a:gd name="connsiteY41" fmla="*/ 441278 h 782471"/>
                <a:gd name="connsiteX42" fmla="*/ 1683224 w 2984311"/>
                <a:gd name="connsiteY42" fmla="*/ 427630 h 782471"/>
                <a:gd name="connsiteX43" fmla="*/ 1665027 w 2984311"/>
                <a:gd name="connsiteY43" fmla="*/ 400334 h 782471"/>
                <a:gd name="connsiteX44" fmla="*/ 1646830 w 2984311"/>
                <a:gd name="connsiteY44" fmla="*/ 373039 h 782471"/>
                <a:gd name="connsiteX45" fmla="*/ 1633182 w 2984311"/>
                <a:gd name="connsiteY45" fmla="*/ 363940 h 782471"/>
                <a:gd name="connsiteX46" fmla="*/ 1601337 w 2984311"/>
                <a:gd name="connsiteY46" fmla="*/ 345743 h 782471"/>
                <a:gd name="connsiteX47" fmla="*/ 1587689 w 2984311"/>
                <a:gd name="connsiteY47" fmla="*/ 318448 h 782471"/>
                <a:gd name="connsiteX48" fmla="*/ 1574042 w 2984311"/>
                <a:gd name="connsiteY48" fmla="*/ 309349 h 782471"/>
                <a:gd name="connsiteX49" fmla="*/ 1542197 w 2984311"/>
                <a:gd name="connsiteY49" fmla="*/ 286603 h 782471"/>
                <a:gd name="connsiteX50" fmla="*/ 1501254 w 2984311"/>
                <a:gd name="connsiteY50" fmla="*/ 277505 h 782471"/>
                <a:gd name="connsiteX51" fmla="*/ 1473958 w 2984311"/>
                <a:gd name="connsiteY51" fmla="*/ 268406 h 782471"/>
                <a:gd name="connsiteX52" fmla="*/ 1460310 w 2984311"/>
                <a:gd name="connsiteY52" fmla="*/ 259308 h 782471"/>
                <a:gd name="connsiteX53" fmla="*/ 1433015 w 2984311"/>
                <a:gd name="connsiteY53" fmla="*/ 250209 h 782471"/>
                <a:gd name="connsiteX54" fmla="*/ 1360227 w 2984311"/>
                <a:gd name="connsiteY54" fmla="*/ 236561 h 782471"/>
                <a:gd name="connsiteX55" fmla="*/ 1332931 w 2984311"/>
                <a:gd name="connsiteY55" fmla="*/ 227463 h 782471"/>
                <a:gd name="connsiteX56" fmla="*/ 1319283 w 2984311"/>
                <a:gd name="connsiteY56" fmla="*/ 222913 h 782471"/>
                <a:gd name="connsiteX57" fmla="*/ 1278340 w 2984311"/>
                <a:gd name="connsiteY57" fmla="*/ 227463 h 782471"/>
                <a:gd name="connsiteX58" fmla="*/ 1264692 w 2984311"/>
                <a:gd name="connsiteY58" fmla="*/ 236561 h 782471"/>
                <a:gd name="connsiteX59" fmla="*/ 1246495 w 2984311"/>
                <a:gd name="connsiteY59" fmla="*/ 241111 h 782471"/>
                <a:gd name="connsiteX60" fmla="*/ 1219200 w 2984311"/>
                <a:gd name="connsiteY60" fmla="*/ 254758 h 782471"/>
                <a:gd name="connsiteX61" fmla="*/ 1191904 w 2984311"/>
                <a:gd name="connsiteY61" fmla="*/ 268406 h 782471"/>
                <a:gd name="connsiteX62" fmla="*/ 1160060 w 2984311"/>
                <a:gd name="connsiteY62" fmla="*/ 272955 h 782471"/>
                <a:gd name="connsiteX63" fmla="*/ 1105468 w 2984311"/>
                <a:gd name="connsiteY63" fmla="*/ 291152 h 782471"/>
                <a:gd name="connsiteX64" fmla="*/ 1073624 w 2984311"/>
                <a:gd name="connsiteY64" fmla="*/ 304800 h 782471"/>
                <a:gd name="connsiteX65" fmla="*/ 896203 w 2984311"/>
                <a:gd name="connsiteY65" fmla="*/ 309349 h 782471"/>
                <a:gd name="connsiteX66" fmla="*/ 868907 w 2984311"/>
                <a:gd name="connsiteY66" fmla="*/ 322997 h 782471"/>
                <a:gd name="connsiteX67" fmla="*/ 855260 w 2984311"/>
                <a:gd name="connsiteY67" fmla="*/ 327546 h 782471"/>
                <a:gd name="connsiteX68" fmla="*/ 782471 w 2984311"/>
                <a:gd name="connsiteY68" fmla="*/ 322997 h 782471"/>
                <a:gd name="connsiteX69" fmla="*/ 768824 w 2984311"/>
                <a:gd name="connsiteY69" fmla="*/ 318448 h 782471"/>
                <a:gd name="connsiteX70" fmla="*/ 723331 w 2984311"/>
                <a:gd name="connsiteY70" fmla="*/ 304800 h 782471"/>
                <a:gd name="connsiteX71" fmla="*/ 709683 w 2984311"/>
                <a:gd name="connsiteY71" fmla="*/ 300251 h 782471"/>
                <a:gd name="connsiteX72" fmla="*/ 696036 w 2984311"/>
                <a:gd name="connsiteY72" fmla="*/ 295702 h 782471"/>
                <a:gd name="connsiteX73" fmla="*/ 641445 w 2984311"/>
                <a:gd name="connsiteY73" fmla="*/ 291152 h 782471"/>
                <a:gd name="connsiteX74" fmla="*/ 591403 w 2984311"/>
                <a:gd name="connsiteY74" fmla="*/ 282054 h 782471"/>
                <a:gd name="connsiteX75" fmla="*/ 573206 w 2984311"/>
                <a:gd name="connsiteY75" fmla="*/ 277505 h 782471"/>
                <a:gd name="connsiteX76" fmla="*/ 545910 w 2984311"/>
                <a:gd name="connsiteY76" fmla="*/ 268406 h 782471"/>
                <a:gd name="connsiteX77" fmla="*/ 514066 w 2984311"/>
                <a:gd name="connsiteY77" fmla="*/ 263857 h 782471"/>
                <a:gd name="connsiteX78" fmla="*/ 491319 w 2984311"/>
                <a:gd name="connsiteY78" fmla="*/ 259308 h 782471"/>
                <a:gd name="connsiteX79" fmla="*/ 459474 w 2984311"/>
                <a:gd name="connsiteY79" fmla="*/ 254758 h 782471"/>
                <a:gd name="connsiteX80" fmla="*/ 432179 w 2984311"/>
                <a:gd name="connsiteY80" fmla="*/ 236561 h 782471"/>
                <a:gd name="connsiteX81" fmla="*/ 423080 w 2984311"/>
                <a:gd name="connsiteY81" fmla="*/ 222913 h 782471"/>
                <a:gd name="connsiteX82" fmla="*/ 404883 w 2984311"/>
                <a:gd name="connsiteY82" fmla="*/ 213815 h 782471"/>
                <a:gd name="connsiteX83" fmla="*/ 391236 w 2984311"/>
                <a:gd name="connsiteY83" fmla="*/ 204716 h 782471"/>
                <a:gd name="connsiteX84" fmla="*/ 373039 w 2984311"/>
                <a:gd name="connsiteY84" fmla="*/ 177421 h 782471"/>
                <a:gd name="connsiteX85" fmla="*/ 350292 w 2984311"/>
                <a:gd name="connsiteY85" fmla="*/ 150125 h 782471"/>
                <a:gd name="connsiteX86" fmla="*/ 322997 w 2984311"/>
                <a:gd name="connsiteY86" fmla="*/ 131928 h 782471"/>
                <a:gd name="connsiteX87" fmla="*/ 295701 w 2984311"/>
                <a:gd name="connsiteY87" fmla="*/ 113731 h 782471"/>
                <a:gd name="connsiteX88" fmla="*/ 286603 w 2984311"/>
                <a:gd name="connsiteY88" fmla="*/ 100084 h 782471"/>
                <a:gd name="connsiteX89" fmla="*/ 272955 w 2984311"/>
                <a:gd name="connsiteY89" fmla="*/ 95534 h 782471"/>
                <a:gd name="connsiteX90" fmla="*/ 259307 w 2984311"/>
                <a:gd name="connsiteY90" fmla="*/ 86436 h 782471"/>
                <a:gd name="connsiteX91" fmla="*/ 232012 w 2984311"/>
                <a:gd name="connsiteY91" fmla="*/ 77337 h 782471"/>
                <a:gd name="connsiteX92" fmla="*/ 218364 w 2984311"/>
                <a:gd name="connsiteY92" fmla="*/ 72788 h 782471"/>
                <a:gd name="connsiteX93" fmla="*/ 204716 w 2984311"/>
                <a:gd name="connsiteY93" fmla="*/ 68239 h 782471"/>
                <a:gd name="connsiteX94" fmla="*/ 191068 w 2984311"/>
                <a:gd name="connsiteY94" fmla="*/ 59140 h 782471"/>
                <a:gd name="connsiteX95" fmla="*/ 163773 w 2984311"/>
                <a:gd name="connsiteY95" fmla="*/ 50042 h 782471"/>
                <a:gd name="connsiteX96" fmla="*/ 136477 w 2984311"/>
                <a:gd name="connsiteY96" fmla="*/ 40943 h 782471"/>
                <a:gd name="connsiteX97" fmla="*/ 122830 w 2984311"/>
                <a:gd name="connsiteY97" fmla="*/ 36394 h 782471"/>
                <a:gd name="connsiteX98" fmla="*/ 0 w 2984311"/>
                <a:gd name="connsiteY98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75128 w 2984311"/>
                <a:gd name="connsiteY3" fmla="*/ 532263 h 782471"/>
                <a:gd name="connsiteX4" fmla="*/ 2861480 w 2984311"/>
                <a:gd name="connsiteY4" fmla="*/ 527713 h 782471"/>
                <a:gd name="connsiteX5" fmla="*/ 2847833 w 2984311"/>
                <a:gd name="connsiteY5" fmla="*/ 518615 h 782471"/>
                <a:gd name="connsiteX6" fmla="*/ 2761397 w 2984311"/>
                <a:gd name="connsiteY6" fmla="*/ 514066 h 782471"/>
                <a:gd name="connsiteX7" fmla="*/ 2711355 w 2984311"/>
                <a:gd name="connsiteY7" fmla="*/ 504967 h 782471"/>
                <a:gd name="connsiteX8" fmla="*/ 2684060 w 2984311"/>
                <a:gd name="connsiteY8" fmla="*/ 495869 h 782471"/>
                <a:gd name="connsiteX9" fmla="*/ 2643116 w 2984311"/>
                <a:gd name="connsiteY9" fmla="*/ 482221 h 782471"/>
                <a:gd name="connsiteX10" fmla="*/ 2629468 w 2984311"/>
                <a:gd name="connsiteY10" fmla="*/ 477672 h 782471"/>
                <a:gd name="connsiteX11" fmla="*/ 2552131 w 2984311"/>
                <a:gd name="connsiteY11" fmla="*/ 473122 h 782471"/>
                <a:gd name="connsiteX12" fmla="*/ 2515737 w 2984311"/>
                <a:gd name="connsiteY12" fmla="*/ 468573 h 782471"/>
                <a:gd name="connsiteX13" fmla="*/ 2370161 w 2984311"/>
                <a:gd name="connsiteY13" fmla="*/ 459475 h 782471"/>
                <a:gd name="connsiteX14" fmla="*/ 2329218 w 2984311"/>
                <a:gd name="connsiteY14" fmla="*/ 450376 h 782471"/>
                <a:gd name="connsiteX15" fmla="*/ 2301922 w 2984311"/>
                <a:gd name="connsiteY15" fmla="*/ 441278 h 782471"/>
                <a:gd name="connsiteX16" fmla="*/ 2288274 w 2984311"/>
                <a:gd name="connsiteY16" fmla="*/ 436728 h 782471"/>
                <a:gd name="connsiteX17" fmla="*/ 2247331 w 2984311"/>
                <a:gd name="connsiteY17" fmla="*/ 413982 h 782471"/>
                <a:gd name="connsiteX18" fmla="*/ 2233683 w 2984311"/>
                <a:gd name="connsiteY18" fmla="*/ 409433 h 782471"/>
                <a:gd name="connsiteX19" fmla="*/ 2220036 w 2984311"/>
                <a:gd name="connsiteY19" fmla="*/ 404884 h 782471"/>
                <a:gd name="connsiteX20" fmla="*/ 2192740 w 2984311"/>
                <a:gd name="connsiteY20" fmla="*/ 418531 h 782471"/>
                <a:gd name="connsiteX21" fmla="*/ 2179092 w 2984311"/>
                <a:gd name="connsiteY21" fmla="*/ 427630 h 782471"/>
                <a:gd name="connsiteX22" fmla="*/ 2151797 w 2984311"/>
                <a:gd name="connsiteY22" fmla="*/ 436728 h 782471"/>
                <a:gd name="connsiteX23" fmla="*/ 2138149 w 2984311"/>
                <a:gd name="connsiteY23" fmla="*/ 441278 h 782471"/>
                <a:gd name="connsiteX24" fmla="*/ 2124501 w 2984311"/>
                <a:gd name="connsiteY24" fmla="*/ 445827 h 782471"/>
                <a:gd name="connsiteX25" fmla="*/ 2083558 w 2984311"/>
                <a:gd name="connsiteY25" fmla="*/ 464024 h 782471"/>
                <a:gd name="connsiteX26" fmla="*/ 2069910 w 2984311"/>
                <a:gd name="connsiteY26" fmla="*/ 473122 h 782471"/>
                <a:gd name="connsiteX27" fmla="*/ 2056263 w 2984311"/>
                <a:gd name="connsiteY27" fmla="*/ 477672 h 782471"/>
                <a:gd name="connsiteX28" fmla="*/ 1988024 w 2984311"/>
                <a:gd name="connsiteY28" fmla="*/ 473122 h 782471"/>
                <a:gd name="connsiteX29" fmla="*/ 1969827 w 2984311"/>
                <a:gd name="connsiteY29" fmla="*/ 468573 h 782471"/>
                <a:gd name="connsiteX30" fmla="*/ 1878842 w 2984311"/>
                <a:gd name="connsiteY30" fmla="*/ 473122 h 782471"/>
                <a:gd name="connsiteX31" fmla="*/ 1851546 w 2984311"/>
                <a:gd name="connsiteY31" fmla="*/ 486770 h 782471"/>
                <a:gd name="connsiteX32" fmla="*/ 1842448 w 2984311"/>
                <a:gd name="connsiteY32" fmla="*/ 500418 h 782471"/>
                <a:gd name="connsiteX33" fmla="*/ 1815152 w 2984311"/>
                <a:gd name="connsiteY33" fmla="*/ 509516 h 782471"/>
                <a:gd name="connsiteX34" fmla="*/ 1787857 w 2984311"/>
                <a:gd name="connsiteY34" fmla="*/ 518615 h 782471"/>
                <a:gd name="connsiteX35" fmla="*/ 1774209 w 2984311"/>
                <a:gd name="connsiteY35" fmla="*/ 523164 h 782471"/>
                <a:gd name="connsiteX36" fmla="*/ 1733266 w 2984311"/>
                <a:gd name="connsiteY36" fmla="*/ 509516 h 782471"/>
                <a:gd name="connsiteX37" fmla="*/ 1728716 w 2984311"/>
                <a:gd name="connsiteY37" fmla="*/ 495869 h 782471"/>
                <a:gd name="connsiteX38" fmla="*/ 1724167 w 2984311"/>
                <a:gd name="connsiteY38" fmla="*/ 468573 h 782471"/>
                <a:gd name="connsiteX39" fmla="*/ 1710519 w 2984311"/>
                <a:gd name="connsiteY39" fmla="*/ 464024 h 782471"/>
                <a:gd name="connsiteX40" fmla="*/ 1701421 w 2984311"/>
                <a:gd name="connsiteY40" fmla="*/ 450376 h 782471"/>
                <a:gd name="connsiteX41" fmla="*/ 1687773 w 2984311"/>
                <a:gd name="connsiteY41" fmla="*/ 441278 h 782471"/>
                <a:gd name="connsiteX42" fmla="*/ 1683224 w 2984311"/>
                <a:gd name="connsiteY42" fmla="*/ 427630 h 782471"/>
                <a:gd name="connsiteX43" fmla="*/ 1665027 w 2984311"/>
                <a:gd name="connsiteY43" fmla="*/ 400334 h 782471"/>
                <a:gd name="connsiteX44" fmla="*/ 1646830 w 2984311"/>
                <a:gd name="connsiteY44" fmla="*/ 373039 h 782471"/>
                <a:gd name="connsiteX45" fmla="*/ 1633182 w 2984311"/>
                <a:gd name="connsiteY45" fmla="*/ 363940 h 782471"/>
                <a:gd name="connsiteX46" fmla="*/ 1601337 w 2984311"/>
                <a:gd name="connsiteY46" fmla="*/ 345743 h 782471"/>
                <a:gd name="connsiteX47" fmla="*/ 1587689 w 2984311"/>
                <a:gd name="connsiteY47" fmla="*/ 318448 h 782471"/>
                <a:gd name="connsiteX48" fmla="*/ 1574042 w 2984311"/>
                <a:gd name="connsiteY48" fmla="*/ 309349 h 782471"/>
                <a:gd name="connsiteX49" fmla="*/ 1542197 w 2984311"/>
                <a:gd name="connsiteY49" fmla="*/ 286603 h 782471"/>
                <a:gd name="connsiteX50" fmla="*/ 1501254 w 2984311"/>
                <a:gd name="connsiteY50" fmla="*/ 277505 h 782471"/>
                <a:gd name="connsiteX51" fmla="*/ 1473958 w 2984311"/>
                <a:gd name="connsiteY51" fmla="*/ 268406 h 782471"/>
                <a:gd name="connsiteX52" fmla="*/ 1460310 w 2984311"/>
                <a:gd name="connsiteY52" fmla="*/ 259308 h 782471"/>
                <a:gd name="connsiteX53" fmla="*/ 1433015 w 2984311"/>
                <a:gd name="connsiteY53" fmla="*/ 250209 h 782471"/>
                <a:gd name="connsiteX54" fmla="*/ 1360227 w 2984311"/>
                <a:gd name="connsiteY54" fmla="*/ 236561 h 782471"/>
                <a:gd name="connsiteX55" fmla="*/ 1332931 w 2984311"/>
                <a:gd name="connsiteY55" fmla="*/ 227463 h 782471"/>
                <a:gd name="connsiteX56" fmla="*/ 1319283 w 2984311"/>
                <a:gd name="connsiteY56" fmla="*/ 222913 h 782471"/>
                <a:gd name="connsiteX57" fmla="*/ 1278340 w 2984311"/>
                <a:gd name="connsiteY57" fmla="*/ 227463 h 782471"/>
                <a:gd name="connsiteX58" fmla="*/ 1264692 w 2984311"/>
                <a:gd name="connsiteY58" fmla="*/ 236561 h 782471"/>
                <a:gd name="connsiteX59" fmla="*/ 1246495 w 2984311"/>
                <a:gd name="connsiteY59" fmla="*/ 241111 h 782471"/>
                <a:gd name="connsiteX60" fmla="*/ 1219200 w 2984311"/>
                <a:gd name="connsiteY60" fmla="*/ 254758 h 782471"/>
                <a:gd name="connsiteX61" fmla="*/ 1191904 w 2984311"/>
                <a:gd name="connsiteY61" fmla="*/ 268406 h 782471"/>
                <a:gd name="connsiteX62" fmla="*/ 1160060 w 2984311"/>
                <a:gd name="connsiteY62" fmla="*/ 272955 h 782471"/>
                <a:gd name="connsiteX63" fmla="*/ 1105468 w 2984311"/>
                <a:gd name="connsiteY63" fmla="*/ 291152 h 782471"/>
                <a:gd name="connsiteX64" fmla="*/ 1073624 w 2984311"/>
                <a:gd name="connsiteY64" fmla="*/ 304800 h 782471"/>
                <a:gd name="connsiteX65" fmla="*/ 896203 w 2984311"/>
                <a:gd name="connsiteY65" fmla="*/ 309349 h 782471"/>
                <a:gd name="connsiteX66" fmla="*/ 868907 w 2984311"/>
                <a:gd name="connsiteY66" fmla="*/ 322997 h 782471"/>
                <a:gd name="connsiteX67" fmla="*/ 855260 w 2984311"/>
                <a:gd name="connsiteY67" fmla="*/ 327546 h 782471"/>
                <a:gd name="connsiteX68" fmla="*/ 782471 w 2984311"/>
                <a:gd name="connsiteY68" fmla="*/ 322997 h 782471"/>
                <a:gd name="connsiteX69" fmla="*/ 768824 w 2984311"/>
                <a:gd name="connsiteY69" fmla="*/ 318448 h 782471"/>
                <a:gd name="connsiteX70" fmla="*/ 723331 w 2984311"/>
                <a:gd name="connsiteY70" fmla="*/ 304800 h 782471"/>
                <a:gd name="connsiteX71" fmla="*/ 709683 w 2984311"/>
                <a:gd name="connsiteY71" fmla="*/ 300251 h 782471"/>
                <a:gd name="connsiteX72" fmla="*/ 696036 w 2984311"/>
                <a:gd name="connsiteY72" fmla="*/ 295702 h 782471"/>
                <a:gd name="connsiteX73" fmla="*/ 641445 w 2984311"/>
                <a:gd name="connsiteY73" fmla="*/ 291152 h 782471"/>
                <a:gd name="connsiteX74" fmla="*/ 591403 w 2984311"/>
                <a:gd name="connsiteY74" fmla="*/ 282054 h 782471"/>
                <a:gd name="connsiteX75" fmla="*/ 573206 w 2984311"/>
                <a:gd name="connsiteY75" fmla="*/ 277505 h 782471"/>
                <a:gd name="connsiteX76" fmla="*/ 545910 w 2984311"/>
                <a:gd name="connsiteY76" fmla="*/ 268406 h 782471"/>
                <a:gd name="connsiteX77" fmla="*/ 514066 w 2984311"/>
                <a:gd name="connsiteY77" fmla="*/ 263857 h 782471"/>
                <a:gd name="connsiteX78" fmla="*/ 491319 w 2984311"/>
                <a:gd name="connsiteY78" fmla="*/ 259308 h 782471"/>
                <a:gd name="connsiteX79" fmla="*/ 459474 w 2984311"/>
                <a:gd name="connsiteY79" fmla="*/ 254758 h 782471"/>
                <a:gd name="connsiteX80" fmla="*/ 432179 w 2984311"/>
                <a:gd name="connsiteY80" fmla="*/ 236561 h 782471"/>
                <a:gd name="connsiteX81" fmla="*/ 423080 w 2984311"/>
                <a:gd name="connsiteY81" fmla="*/ 222913 h 782471"/>
                <a:gd name="connsiteX82" fmla="*/ 404883 w 2984311"/>
                <a:gd name="connsiteY82" fmla="*/ 213815 h 782471"/>
                <a:gd name="connsiteX83" fmla="*/ 391236 w 2984311"/>
                <a:gd name="connsiteY83" fmla="*/ 204716 h 782471"/>
                <a:gd name="connsiteX84" fmla="*/ 373039 w 2984311"/>
                <a:gd name="connsiteY84" fmla="*/ 177421 h 782471"/>
                <a:gd name="connsiteX85" fmla="*/ 350292 w 2984311"/>
                <a:gd name="connsiteY85" fmla="*/ 150125 h 782471"/>
                <a:gd name="connsiteX86" fmla="*/ 322997 w 2984311"/>
                <a:gd name="connsiteY86" fmla="*/ 131928 h 782471"/>
                <a:gd name="connsiteX87" fmla="*/ 295701 w 2984311"/>
                <a:gd name="connsiteY87" fmla="*/ 113731 h 782471"/>
                <a:gd name="connsiteX88" fmla="*/ 286603 w 2984311"/>
                <a:gd name="connsiteY88" fmla="*/ 100084 h 782471"/>
                <a:gd name="connsiteX89" fmla="*/ 272955 w 2984311"/>
                <a:gd name="connsiteY89" fmla="*/ 95534 h 782471"/>
                <a:gd name="connsiteX90" fmla="*/ 259307 w 2984311"/>
                <a:gd name="connsiteY90" fmla="*/ 86436 h 782471"/>
                <a:gd name="connsiteX91" fmla="*/ 232012 w 2984311"/>
                <a:gd name="connsiteY91" fmla="*/ 77337 h 782471"/>
                <a:gd name="connsiteX92" fmla="*/ 218364 w 2984311"/>
                <a:gd name="connsiteY92" fmla="*/ 72788 h 782471"/>
                <a:gd name="connsiteX93" fmla="*/ 204716 w 2984311"/>
                <a:gd name="connsiteY93" fmla="*/ 68239 h 782471"/>
                <a:gd name="connsiteX94" fmla="*/ 191068 w 2984311"/>
                <a:gd name="connsiteY94" fmla="*/ 59140 h 782471"/>
                <a:gd name="connsiteX95" fmla="*/ 163773 w 2984311"/>
                <a:gd name="connsiteY95" fmla="*/ 50042 h 782471"/>
                <a:gd name="connsiteX96" fmla="*/ 136477 w 2984311"/>
                <a:gd name="connsiteY96" fmla="*/ 40943 h 782471"/>
                <a:gd name="connsiteX97" fmla="*/ 122830 w 2984311"/>
                <a:gd name="connsiteY97" fmla="*/ 36394 h 782471"/>
                <a:gd name="connsiteX98" fmla="*/ 0 w 2984311"/>
                <a:gd name="connsiteY98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75128 w 2984311"/>
                <a:gd name="connsiteY3" fmla="*/ 532263 h 782471"/>
                <a:gd name="connsiteX4" fmla="*/ 2861480 w 2984311"/>
                <a:gd name="connsiteY4" fmla="*/ 527713 h 782471"/>
                <a:gd name="connsiteX5" fmla="*/ 2761397 w 2984311"/>
                <a:gd name="connsiteY5" fmla="*/ 514066 h 782471"/>
                <a:gd name="connsiteX6" fmla="*/ 2711355 w 2984311"/>
                <a:gd name="connsiteY6" fmla="*/ 504967 h 782471"/>
                <a:gd name="connsiteX7" fmla="*/ 2684060 w 2984311"/>
                <a:gd name="connsiteY7" fmla="*/ 495869 h 782471"/>
                <a:gd name="connsiteX8" fmla="*/ 2643116 w 2984311"/>
                <a:gd name="connsiteY8" fmla="*/ 482221 h 782471"/>
                <a:gd name="connsiteX9" fmla="*/ 2629468 w 2984311"/>
                <a:gd name="connsiteY9" fmla="*/ 477672 h 782471"/>
                <a:gd name="connsiteX10" fmla="*/ 2552131 w 2984311"/>
                <a:gd name="connsiteY10" fmla="*/ 473122 h 782471"/>
                <a:gd name="connsiteX11" fmla="*/ 2515737 w 2984311"/>
                <a:gd name="connsiteY11" fmla="*/ 468573 h 782471"/>
                <a:gd name="connsiteX12" fmla="*/ 2370161 w 2984311"/>
                <a:gd name="connsiteY12" fmla="*/ 459475 h 782471"/>
                <a:gd name="connsiteX13" fmla="*/ 2329218 w 2984311"/>
                <a:gd name="connsiteY13" fmla="*/ 450376 h 782471"/>
                <a:gd name="connsiteX14" fmla="*/ 2301922 w 2984311"/>
                <a:gd name="connsiteY14" fmla="*/ 441278 h 782471"/>
                <a:gd name="connsiteX15" fmla="*/ 2288274 w 2984311"/>
                <a:gd name="connsiteY15" fmla="*/ 436728 h 782471"/>
                <a:gd name="connsiteX16" fmla="*/ 2247331 w 2984311"/>
                <a:gd name="connsiteY16" fmla="*/ 413982 h 782471"/>
                <a:gd name="connsiteX17" fmla="*/ 2233683 w 2984311"/>
                <a:gd name="connsiteY17" fmla="*/ 409433 h 782471"/>
                <a:gd name="connsiteX18" fmla="*/ 2220036 w 2984311"/>
                <a:gd name="connsiteY18" fmla="*/ 404884 h 782471"/>
                <a:gd name="connsiteX19" fmla="*/ 2192740 w 2984311"/>
                <a:gd name="connsiteY19" fmla="*/ 418531 h 782471"/>
                <a:gd name="connsiteX20" fmla="*/ 2179092 w 2984311"/>
                <a:gd name="connsiteY20" fmla="*/ 427630 h 782471"/>
                <a:gd name="connsiteX21" fmla="*/ 2151797 w 2984311"/>
                <a:gd name="connsiteY21" fmla="*/ 436728 h 782471"/>
                <a:gd name="connsiteX22" fmla="*/ 2138149 w 2984311"/>
                <a:gd name="connsiteY22" fmla="*/ 441278 h 782471"/>
                <a:gd name="connsiteX23" fmla="*/ 2124501 w 2984311"/>
                <a:gd name="connsiteY23" fmla="*/ 445827 h 782471"/>
                <a:gd name="connsiteX24" fmla="*/ 2083558 w 2984311"/>
                <a:gd name="connsiteY24" fmla="*/ 464024 h 782471"/>
                <a:gd name="connsiteX25" fmla="*/ 2069910 w 2984311"/>
                <a:gd name="connsiteY25" fmla="*/ 473122 h 782471"/>
                <a:gd name="connsiteX26" fmla="*/ 2056263 w 2984311"/>
                <a:gd name="connsiteY26" fmla="*/ 477672 h 782471"/>
                <a:gd name="connsiteX27" fmla="*/ 1988024 w 2984311"/>
                <a:gd name="connsiteY27" fmla="*/ 473122 h 782471"/>
                <a:gd name="connsiteX28" fmla="*/ 1969827 w 2984311"/>
                <a:gd name="connsiteY28" fmla="*/ 468573 h 782471"/>
                <a:gd name="connsiteX29" fmla="*/ 1878842 w 2984311"/>
                <a:gd name="connsiteY29" fmla="*/ 473122 h 782471"/>
                <a:gd name="connsiteX30" fmla="*/ 1851546 w 2984311"/>
                <a:gd name="connsiteY30" fmla="*/ 486770 h 782471"/>
                <a:gd name="connsiteX31" fmla="*/ 1842448 w 2984311"/>
                <a:gd name="connsiteY31" fmla="*/ 500418 h 782471"/>
                <a:gd name="connsiteX32" fmla="*/ 1815152 w 2984311"/>
                <a:gd name="connsiteY32" fmla="*/ 509516 h 782471"/>
                <a:gd name="connsiteX33" fmla="*/ 1787857 w 2984311"/>
                <a:gd name="connsiteY33" fmla="*/ 518615 h 782471"/>
                <a:gd name="connsiteX34" fmla="*/ 1774209 w 2984311"/>
                <a:gd name="connsiteY34" fmla="*/ 523164 h 782471"/>
                <a:gd name="connsiteX35" fmla="*/ 1733266 w 2984311"/>
                <a:gd name="connsiteY35" fmla="*/ 509516 h 782471"/>
                <a:gd name="connsiteX36" fmla="*/ 1728716 w 2984311"/>
                <a:gd name="connsiteY36" fmla="*/ 495869 h 782471"/>
                <a:gd name="connsiteX37" fmla="*/ 1724167 w 2984311"/>
                <a:gd name="connsiteY37" fmla="*/ 468573 h 782471"/>
                <a:gd name="connsiteX38" fmla="*/ 1710519 w 2984311"/>
                <a:gd name="connsiteY38" fmla="*/ 464024 h 782471"/>
                <a:gd name="connsiteX39" fmla="*/ 1701421 w 2984311"/>
                <a:gd name="connsiteY39" fmla="*/ 450376 h 782471"/>
                <a:gd name="connsiteX40" fmla="*/ 1687773 w 2984311"/>
                <a:gd name="connsiteY40" fmla="*/ 441278 h 782471"/>
                <a:gd name="connsiteX41" fmla="*/ 1683224 w 2984311"/>
                <a:gd name="connsiteY41" fmla="*/ 427630 h 782471"/>
                <a:gd name="connsiteX42" fmla="*/ 1665027 w 2984311"/>
                <a:gd name="connsiteY42" fmla="*/ 400334 h 782471"/>
                <a:gd name="connsiteX43" fmla="*/ 1646830 w 2984311"/>
                <a:gd name="connsiteY43" fmla="*/ 373039 h 782471"/>
                <a:gd name="connsiteX44" fmla="*/ 1633182 w 2984311"/>
                <a:gd name="connsiteY44" fmla="*/ 363940 h 782471"/>
                <a:gd name="connsiteX45" fmla="*/ 1601337 w 2984311"/>
                <a:gd name="connsiteY45" fmla="*/ 345743 h 782471"/>
                <a:gd name="connsiteX46" fmla="*/ 1587689 w 2984311"/>
                <a:gd name="connsiteY46" fmla="*/ 318448 h 782471"/>
                <a:gd name="connsiteX47" fmla="*/ 1574042 w 2984311"/>
                <a:gd name="connsiteY47" fmla="*/ 309349 h 782471"/>
                <a:gd name="connsiteX48" fmla="*/ 1542197 w 2984311"/>
                <a:gd name="connsiteY48" fmla="*/ 286603 h 782471"/>
                <a:gd name="connsiteX49" fmla="*/ 1501254 w 2984311"/>
                <a:gd name="connsiteY49" fmla="*/ 277505 h 782471"/>
                <a:gd name="connsiteX50" fmla="*/ 1473958 w 2984311"/>
                <a:gd name="connsiteY50" fmla="*/ 268406 h 782471"/>
                <a:gd name="connsiteX51" fmla="*/ 1460310 w 2984311"/>
                <a:gd name="connsiteY51" fmla="*/ 259308 h 782471"/>
                <a:gd name="connsiteX52" fmla="*/ 1433015 w 2984311"/>
                <a:gd name="connsiteY52" fmla="*/ 250209 h 782471"/>
                <a:gd name="connsiteX53" fmla="*/ 1360227 w 2984311"/>
                <a:gd name="connsiteY53" fmla="*/ 236561 h 782471"/>
                <a:gd name="connsiteX54" fmla="*/ 1332931 w 2984311"/>
                <a:gd name="connsiteY54" fmla="*/ 227463 h 782471"/>
                <a:gd name="connsiteX55" fmla="*/ 1319283 w 2984311"/>
                <a:gd name="connsiteY55" fmla="*/ 222913 h 782471"/>
                <a:gd name="connsiteX56" fmla="*/ 1278340 w 2984311"/>
                <a:gd name="connsiteY56" fmla="*/ 227463 h 782471"/>
                <a:gd name="connsiteX57" fmla="*/ 1264692 w 2984311"/>
                <a:gd name="connsiteY57" fmla="*/ 236561 h 782471"/>
                <a:gd name="connsiteX58" fmla="*/ 1246495 w 2984311"/>
                <a:gd name="connsiteY58" fmla="*/ 241111 h 782471"/>
                <a:gd name="connsiteX59" fmla="*/ 1219200 w 2984311"/>
                <a:gd name="connsiteY59" fmla="*/ 254758 h 782471"/>
                <a:gd name="connsiteX60" fmla="*/ 1191904 w 2984311"/>
                <a:gd name="connsiteY60" fmla="*/ 268406 h 782471"/>
                <a:gd name="connsiteX61" fmla="*/ 1160060 w 2984311"/>
                <a:gd name="connsiteY61" fmla="*/ 272955 h 782471"/>
                <a:gd name="connsiteX62" fmla="*/ 1105468 w 2984311"/>
                <a:gd name="connsiteY62" fmla="*/ 291152 h 782471"/>
                <a:gd name="connsiteX63" fmla="*/ 1073624 w 2984311"/>
                <a:gd name="connsiteY63" fmla="*/ 304800 h 782471"/>
                <a:gd name="connsiteX64" fmla="*/ 896203 w 2984311"/>
                <a:gd name="connsiteY64" fmla="*/ 309349 h 782471"/>
                <a:gd name="connsiteX65" fmla="*/ 868907 w 2984311"/>
                <a:gd name="connsiteY65" fmla="*/ 322997 h 782471"/>
                <a:gd name="connsiteX66" fmla="*/ 855260 w 2984311"/>
                <a:gd name="connsiteY66" fmla="*/ 327546 h 782471"/>
                <a:gd name="connsiteX67" fmla="*/ 782471 w 2984311"/>
                <a:gd name="connsiteY67" fmla="*/ 322997 h 782471"/>
                <a:gd name="connsiteX68" fmla="*/ 768824 w 2984311"/>
                <a:gd name="connsiteY68" fmla="*/ 318448 h 782471"/>
                <a:gd name="connsiteX69" fmla="*/ 723331 w 2984311"/>
                <a:gd name="connsiteY69" fmla="*/ 304800 h 782471"/>
                <a:gd name="connsiteX70" fmla="*/ 709683 w 2984311"/>
                <a:gd name="connsiteY70" fmla="*/ 300251 h 782471"/>
                <a:gd name="connsiteX71" fmla="*/ 696036 w 2984311"/>
                <a:gd name="connsiteY71" fmla="*/ 295702 h 782471"/>
                <a:gd name="connsiteX72" fmla="*/ 641445 w 2984311"/>
                <a:gd name="connsiteY72" fmla="*/ 291152 h 782471"/>
                <a:gd name="connsiteX73" fmla="*/ 591403 w 2984311"/>
                <a:gd name="connsiteY73" fmla="*/ 282054 h 782471"/>
                <a:gd name="connsiteX74" fmla="*/ 573206 w 2984311"/>
                <a:gd name="connsiteY74" fmla="*/ 277505 h 782471"/>
                <a:gd name="connsiteX75" fmla="*/ 545910 w 2984311"/>
                <a:gd name="connsiteY75" fmla="*/ 268406 h 782471"/>
                <a:gd name="connsiteX76" fmla="*/ 514066 w 2984311"/>
                <a:gd name="connsiteY76" fmla="*/ 263857 h 782471"/>
                <a:gd name="connsiteX77" fmla="*/ 491319 w 2984311"/>
                <a:gd name="connsiteY77" fmla="*/ 259308 h 782471"/>
                <a:gd name="connsiteX78" fmla="*/ 459474 w 2984311"/>
                <a:gd name="connsiteY78" fmla="*/ 254758 h 782471"/>
                <a:gd name="connsiteX79" fmla="*/ 432179 w 2984311"/>
                <a:gd name="connsiteY79" fmla="*/ 236561 h 782471"/>
                <a:gd name="connsiteX80" fmla="*/ 423080 w 2984311"/>
                <a:gd name="connsiteY80" fmla="*/ 222913 h 782471"/>
                <a:gd name="connsiteX81" fmla="*/ 404883 w 2984311"/>
                <a:gd name="connsiteY81" fmla="*/ 213815 h 782471"/>
                <a:gd name="connsiteX82" fmla="*/ 391236 w 2984311"/>
                <a:gd name="connsiteY82" fmla="*/ 204716 h 782471"/>
                <a:gd name="connsiteX83" fmla="*/ 373039 w 2984311"/>
                <a:gd name="connsiteY83" fmla="*/ 177421 h 782471"/>
                <a:gd name="connsiteX84" fmla="*/ 350292 w 2984311"/>
                <a:gd name="connsiteY84" fmla="*/ 150125 h 782471"/>
                <a:gd name="connsiteX85" fmla="*/ 322997 w 2984311"/>
                <a:gd name="connsiteY85" fmla="*/ 131928 h 782471"/>
                <a:gd name="connsiteX86" fmla="*/ 295701 w 2984311"/>
                <a:gd name="connsiteY86" fmla="*/ 113731 h 782471"/>
                <a:gd name="connsiteX87" fmla="*/ 286603 w 2984311"/>
                <a:gd name="connsiteY87" fmla="*/ 100084 h 782471"/>
                <a:gd name="connsiteX88" fmla="*/ 272955 w 2984311"/>
                <a:gd name="connsiteY88" fmla="*/ 95534 h 782471"/>
                <a:gd name="connsiteX89" fmla="*/ 259307 w 2984311"/>
                <a:gd name="connsiteY89" fmla="*/ 86436 h 782471"/>
                <a:gd name="connsiteX90" fmla="*/ 232012 w 2984311"/>
                <a:gd name="connsiteY90" fmla="*/ 77337 h 782471"/>
                <a:gd name="connsiteX91" fmla="*/ 218364 w 2984311"/>
                <a:gd name="connsiteY91" fmla="*/ 72788 h 782471"/>
                <a:gd name="connsiteX92" fmla="*/ 204716 w 2984311"/>
                <a:gd name="connsiteY92" fmla="*/ 68239 h 782471"/>
                <a:gd name="connsiteX93" fmla="*/ 191068 w 2984311"/>
                <a:gd name="connsiteY93" fmla="*/ 59140 h 782471"/>
                <a:gd name="connsiteX94" fmla="*/ 163773 w 2984311"/>
                <a:gd name="connsiteY94" fmla="*/ 50042 h 782471"/>
                <a:gd name="connsiteX95" fmla="*/ 136477 w 2984311"/>
                <a:gd name="connsiteY95" fmla="*/ 40943 h 782471"/>
                <a:gd name="connsiteX96" fmla="*/ 122830 w 2984311"/>
                <a:gd name="connsiteY96" fmla="*/ 36394 h 782471"/>
                <a:gd name="connsiteX97" fmla="*/ 0 w 2984311"/>
                <a:gd name="connsiteY97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75128 w 2984311"/>
                <a:gd name="connsiteY3" fmla="*/ 532263 h 782471"/>
                <a:gd name="connsiteX4" fmla="*/ 2761397 w 2984311"/>
                <a:gd name="connsiteY4" fmla="*/ 514066 h 782471"/>
                <a:gd name="connsiteX5" fmla="*/ 2711355 w 2984311"/>
                <a:gd name="connsiteY5" fmla="*/ 504967 h 782471"/>
                <a:gd name="connsiteX6" fmla="*/ 2684060 w 2984311"/>
                <a:gd name="connsiteY6" fmla="*/ 495869 h 782471"/>
                <a:gd name="connsiteX7" fmla="*/ 2643116 w 2984311"/>
                <a:gd name="connsiteY7" fmla="*/ 482221 h 782471"/>
                <a:gd name="connsiteX8" fmla="*/ 2629468 w 2984311"/>
                <a:gd name="connsiteY8" fmla="*/ 477672 h 782471"/>
                <a:gd name="connsiteX9" fmla="*/ 2552131 w 2984311"/>
                <a:gd name="connsiteY9" fmla="*/ 473122 h 782471"/>
                <a:gd name="connsiteX10" fmla="*/ 2515737 w 2984311"/>
                <a:gd name="connsiteY10" fmla="*/ 468573 h 782471"/>
                <a:gd name="connsiteX11" fmla="*/ 2370161 w 2984311"/>
                <a:gd name="connsiteY11" fmla="*/ 459475 h 782471"/>
                <a:gd name="connsiteX12" fmla="*/ 2329218 w 2984311"/>
                <a:gd name="connsiteY12" fmla="*/ 450376 h 782471"/>
                <a:gd name="connsiteX13" fmla="*/ 2301922 w 2984311"/>
                <a:gd name="connsiteY13" fmla="*/ 441278 h 782471"/>
                <a:gd name="connsiteX14" fmla="*/ 2288274 w 2984311"/>
                <a:gd name="connsiteY14" fmla="*/ 436728 h 782471"/>
                <a:gd name="connsiteX15" fmla="*/ 2247331 w 2984311"/>
                <a:gd name="connsiteY15" fmla="*/ 413982 h 782471"/>
                <a:gd name="connsiteX16" fmla="*/ 2233683 w 2984311"/>
                <a:gd name="connsiteY16" fmla="*/ 409433 h 782471"/>
                <a:gd name="connsiteX17" fmla="*/ 2220036 w 2984311"/>
                <a:gd name="connsiteY17" fmla="*/ 404884 h 782471"/>
                <a:gd name="connsiteX18" fmla="*/ 2192740 w 2984311"/>
                <a:gd name="connsiteY18" fmla="*/ 418531 h 782471"/>
                <a:gd name="connsiteX19" fmla="*/ 2179092 w 2984311"/>
                <a:gd name="connsiteY19" fmla="*/ 427630 h 782471"/>
                <a:gd name="connsiteX20" fmla="*/ 2151797 w 2984311"/>
                <a:gd name="connsiteY20" fmla="*/ 436728 h 782471"/>
                <a:gd name="connsiteX21" fmla="*/ 2138149 w 2984311"/>
                <a:gd name="connsiteY21" fmla="*/ 441278 h 782471"/>
                <a:gd name="connsiteX22" fmla="*/ 2124501 w 2984311"/>
                <a:gd name="connsiteY22" fmla="*/ 445827 h 782471"/>
                <a:gd name="connsiteX23" fmla="*/ 2083558 w 2984311"/>
                <a:gd name="connsiteY23" fmla="*/ 464024 h 782471"/>
                <a:gd name="connsiteX24" fmla="*/ 2069910 w 2984311"/>
                <a:gd name="connsiteY24" fmla="*/ 473122 h 782471"/>
                <a:gd name="connsiteX25" fmla="*/ 2056263 w 2984311"/>
                <a:gd name="connsiteY25" fmla="*/ 477672 h 782471"/>
                <a:gd name="connsiteX26" fmla="*/ 1988024 w 2984311"/>
                <a:gd name="connsiteY26" fmla="*/ 473122 h 782471"/>
                <a:gd name="connsiteX27" fmla="*/ 1969827 w 2984311"/>
                <a:gd name="connsiteY27" fmla="*/ 468573 h 782471"/>
                <a:gd name="connsiteX28" fmla="*/ 1878842 w 2984311"/>
                <a:gd name="connsiteY28" fmla="*/ 473122 h 782471"/>
                <a:gd name="connsiteX29" fmla="*/ 1851546 w 2984311"/>
                <a:gd name="connsiteY29" fmla="*/ 486770 h 782471"/>
                <a:gd name="connsiteX30" fmla="*/ 1842448 w 2984311"/>
                <a:gd name="connsiteY30" fmla="*/ 500418 h 782471"/>
                <a:gd name="connsiteX31" fmla="*/ 1815152 w 2984311"/>
                <a:gd name="connsiteY31" fmla="*/ 509516 h 782471"/>
                <a:gd name="connsiteX32" fmla="*/ 1787857 w 2984311"/>
                <a:gd name="connsiteY32" fmla="*/ 518615 h 782471"/>
                <a:gd name="connsiteX33" fmla="*/ 1774209 w 2984311"/>
                <a:gd name="connsiteY33" fmla="*/ 523164 h 782471"/>
                <a:gd name="connsiteX34" fmla="*/ 1733266 w 2984311"/>
                <a:gd name="connsiteY34" fmla="*/ 509516 h 782471"/>
                <a:gd name="connsiteX35" fmla="*/ 1728716 w 2984311"/>
                <a:gd name="connsiteY35" fmla="*/ 495869 h 782471"/>
                <a:gd name="connsiteX36" fmla="*/ 1724167 w 2984311"/>
                <a:gd name="connsiteY36" fmla="*/ 468573 h 782471"/>
                <a:gd name="connsiteX37" fmla="*/ 1710519 w 2984311"/>
                <a:gd name="connsiteY37" fmla="*/ 464024 h 782471"/>
                <a:gd name="connsiteX38" fmla="*/ 1701421 w 2984311"/>
                <a:gd name="connsiteY38" fmla="*/ 450376 h 782471"/>
                <a:gd name="connsiteX39" fmla="*/ 1687773 w 2984311"/>
                <a:gd name="connsiteY39" fmla="*/ 441278 h 782471"/>
                <a:gd name="connsiteX40" fmla="*/ 1683224 w 2984311"/>
                <a:gd name="connsiteY40" fmla="*/ 427630 h 782471"/>
                <a:gd name="connsiteX41" fmla="*/ 1665027 w 2984311"/>
                <a:gd name="connsiteY41" fmla="*/ 400334 h 782471"/>
                <a:gd name="connsiteX42" fmla="*/ 1646830 w 2984311"/>
                <a:gd name="connsiteY42" fmla="*/ 373039 h 782471"/>
                <a:gd name="connsiteX43" fmla="*/ 1633182 w 2984311"/>
                <a:gd name="connsiteY43" fmla="*/ 363940 h 782471"/>
                <a:gd name="connsiteX44" fmla="*/ 1601337 w 2984311"/>
                <a:gd name="connsiteY44" fmla="*/ 345743 h 782471"/>
                <a:gd name="connsiteX45" fmla="*/ 1587689 w 2984311"/>
                <a:gd name="connsiteY45" fmla="*/ 318448 h 782471"/>
                <a:gd name="connsiteX46" fmla="*/ 1574042 w 2984311"/>
                <a:gd name="connsiteY46" fmla="*/ 309349 h 782471"/>
                <a:gd name="connsiteX47" fmla="*/ 1542197 w 2984311"/>
                <a:gd name="connsiteY47" fmla="*/ 286603 h 782471"/>
                <a:gd name="connsiteX48" fmla="*/ 1501254 w 2984311"/>
                <a:gd name="connsiteY48" fmla="*/ 277505 h 782471"/>
                <a:gd name="connsiteX49" fmla="*/ 1473958 w 2984311"/>
                <a:gd name="connsiteY49" fmla="*/ 268406 h 782471"/>
                <a:gd name="connsiteX50" fmla="*/ 1460310 w 2984311"/>
                <a:gd name="connsiteY50" fmla="*/ 259308 h 782471"/>
                <a:gd name="connsiteX51" fmla="*/ 1433015 w 2984311"/>
                <a:gd name="connsiteY51" fmla="*/ 250209 h 782471"/>
                <a:gd name="connsiteX52" fmla="*/ 1360227 w 2984311"/>
                <a:gd name="connsiteY52" fmla="*/ 236561 h 782471"/>
                <a:gd name="connsiteX53" fmla="*/ 1332931 w 2984311"/>
                <a:gd name="connsiteY53" fmla="*/ 227463 h 782471"/>
                <a:gd name="connsiteX54" fmla="*/ 1319283 w 2984311"/>
                <a:gd name="connsiteY54" fmla="*/ 222913 h 782471"/>
                <a:gd name="connsiteX55" fmla="*/ 1278340 w 2984311"/>
                <a:gd name="connsiteY55" fmla="*/ 227463 h 782471"/>
                <a:gd name="connsiteX56" fmla="*/ 1264692 w 2984311"/>
                <a:gd name="connsiteY56" fmla="*/ 236561 h 782471"/>
                <a:gd name="connsiteX57" fmla="*/ 1246495 w 2984311"/>
                <a:gd name="connsiteY57" fmla="*/ 241111 h 782471"/>
                <a:gd name="connsiteX58" fmla="*/ 1219200 w 2984311"/>
                <a:gd name="connsiteY58" fmla="*/ 254758 h 782471"/>
                <a:gd name="connsiteX59" fmla="*/ 1191904 w 2984311"/>
                <a:gd name="connsiteY59" fmla="*/ 268406 h 782471"/>
                <a:gd name="connsiteX60" fmla="*/ 1160060 w 2984311"/>
                <a:gd name="connsiteY60" fmla="*/ 272955 h 782471"/>
                <a:gd name="connsiteX61" fmla="*/ 1105468 w 2984311"/>
                <a:gd name="connsiteY61" fmla="*/ 291152 h 782471"/>
                <a:gd name="connsiteX62" fmla="*/ 1073624 w 2984311"/>
                <a:gd name="connsiteY62" fmla="*/ 304800 h 782471"/>
                <a:gd name="connsiteX63" fmla="*/ 896203 w 2984311"/>
                <a:gd name="connsiteY63" fmla="*/ 309349 h 782471"/>
                <a:gd name="connsiteX64" fmla="*/ 868907 w 2984311"/>
                <a:gd name="connsiteY64" fmla="*/ 322997 h 782471"/>
                <a:gd name="connsiteX65" fmla="*/ 855260 w 2984311"/>
                <a:gd name="connsiteY65" fmla="*/ 327546 h 782471"/>
                <a:gd name="connsiteX66" fmla="*/ 782471 w 2984311"/>
                <a:gd name="connsiteY66" fmla="*/ 322997 h 782471"/>
                <a:gd name="connsiteX67" fmla="*/ 768824 w 2984311"/>
                <a:gd name="connsiteY67" fmla="*/ 318448 h 782471"/>
                <a:gd name="connsiteX68" fmla="*/ 723331 w 2984311"/>
                <a:gd name="connsiteY68" fmla="*/ 304800 h 782471"/>
                <a:gd name="connsiteX69" fmla="*/ 709683 w 2984311"/>
                <a:gd name="connsiteY69" fmla="*/ 300251 h 782471"/>
                <a:gd name="connsiteX70" fmla="*/ 696036 w 2984311"/>
                <a:gd name="connsiteY70" fmla="*/ 295702 h 782471"/>
                <a:gd name="connsiteX71" fmla="*/ 641445 w 2984311"/>
                <a:gd name="connsiteY71" fmla="*/ 291152 h 782471"/>
                <a:gd name="connsiteX72" fmla="*/ 591403 w 2984311"/>
                <a:gd name="connsiteY72" fmla="*/ 282054 h 782471"/>
                <a:gd name="connsiteX73" fmla="*/ 573206 w 2984311"/>
                <a:gd name="connsiteY73" fmla="*/ 277505 h 782471"/>
                <a:gd name="connsiteX74" fmla="*/ 545910 w 2984311"/>
                <a:gd name="connsiteY74" fmla="*/ 268406 h 782471"/>
                <a:gd name="connsiteX75" fmla="*/ 514066 w 2984311"/>
                <a:gd name="connsiteY75" fmla="*/ 263857 h 782471"/>
                <a:gd name="connsiteX76" fmla="*/ 491319 w 2984311"/>
                <a:gd name="connsiteY76" fmla="*/ 259308 h 782471"/>
                <a:gd name="connsiteX77" fmla="*/ 459474 w 2984311"/>
                <a:gd name="connsiteY77" fmla="*/ 254758 h 782471"/>
                <a:gd name="connsiteX78" fmla="*/ 432179 w 2984311"/>
                <a:gd name="connsiteY78" fmla="*/ 236561 h 782471"/>
                <a:gd name="connsiteX79" fmla="*/ 423080 w 2984311"/>
                <a:gd name="connsiteY79" fmla="*/ 222913 h 782471"/>
                <a:gd name="connsiteX80" fmla="*/ 404883 w 2984311"/>
                <a:gd name="connsiteY80" fmla="*/ 213815 h 782471"/>
                <a:gd name="connsiteX81" fmla="*/ 391236 w 2984311"/>
                <a:gd name="connsiteY81" fmla="*/ 204716 h 782471"/>
                <a:gd name="connsiteX82" fmla="*/ 373039 w 2984311"/>
                <a:gd name="connsiteY82" fmla="*/ 177421 h 782471"/>
                <a:gd name="connsiteX83" fmla="*/ 350292 w 2984311"/>
                <a:gd name="connsiteY83" fmla="*/ 150125 h 782471"/>
                <a:gd name="connsiteX84" fmla="*/ 322997 w 2984311"/>
                <a:gd name="connsiteY84" fmla="*/ 131928 h 782471"/>
                <a:gd name="connsiteX85" fmla="*/ 295701 w 2984311"/>
                <a:gd name="connsiteY85" fmla="*/ 113731 h 782471"/>
                <a:gd name="connsiteX86" fmla="*/ 286603 w 2984311"/>
                <a:gd name="connsiteY86" fmla="*/ 100084 h 782471"/>
                <a:gd name="connsiteX87" fmla="*/ 272955 w 2984311"/>
                <a:gd name="connsiteY87" fmla="*/ 95534 h 782471"/>
                <a:gd name="connsiteX88" fmla="*/ 259307 w 2984311"/>
                <a:gd name="connsiteY88" fmla="*/ 86436 h 782471"/>
                <a:gd name="connsiteX89" fmla="*/ 232012 w 2984311"/>
                <a:gd name="connsiteY89" fmla="*/ 77337 h 782471"/>
                <a:gd name="connsiteX90" fmla="*/ 218364 w 2984311"/>
                <a:gd name="connsiteY90" fmla="*/ 72788 h 782471"/>
                <a:gd name="connsiteX91" fmla="*/ 204716 w 2984311"/>
                <a:gd name="connsiteY91" fmla="*/ 68239 h 782471"/>
                <a:gd name="connsiteX92" fmla="*/ 191068 w 2984311"/>
                <a:gd name="connsiteY92" fmla="*/ 59140 h 782471"/>
                <a:gd name="connsiteX93" fmla="*/ 163773 w 2984311"/>
                <a:gd name="connsiteY93" fmla="*/ 50042 h 782471"/>
                <a:gd name="connsiteX94" fmla="*/ 136477 w 2984311"/>
                <a:gd name="connsiteY94" fmla="*/ 40943 h 782471"/>
                <a:gd name="connsiteX95" fmla="*/ 122830 w 2984311"/>
                <a:gd name="connsiteY95" fmla="*/ 36394 h 782471"/>
                <a:gd name="connsiteX96" fmla="*/ 0 w 2984311"/>
                <a:gd name="connsiteY96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711355 w 2984311"/>
                <a:gd name="connsiteY5" fmla="*/ 504967 h 782471"/>
                <a:gd name="connsiteX6" fmla="*/ 2684060 w 2984311"/>
                <a:gd name="connsiteY6" fmla="*/ 495869 h 782471"/>
                <a:gd name="connsiteX7" fmla="*/ 2643116 w 2984311"/>
                <a:gd name="connsiteY7" fmla="*/ 482221 h 782471"/>
                <a:gd name="connsiteX8" fmla="*/ 2629468 w 2984311"/>
                <a:gd name="connsiteY8" fmla="*/ 477672 h 782471"/>
                <a:gd name="connsiteX9" fmla="*/ 2552131 w 2984311"/>
                <a:gd name="connsiteY9" fmla="*/ 473122 h 782471"/>
                <a:gd name="connsiteX10" fmla="*/ 2515737 w 2984311"/>
                <a:gd name="connsiteY10" fmla="*/ 468573 h 782471"/>
                <a:gd name="connsiteX11" fmla="*/ 2370161 w 2984311"/>
                <a:gd name="connsiteY11" fmla="*/ 459475 h 782471"/>
                <a:gd name="connsiteX12" fmla="*/ 2329218 w 2984311"/>
                <a:gd name="connsiteY12" fmla="*/ 450376 h 782471"/>
                <a:gd name="connsiteX13" fmla="*/ 2301922 w 2984311"/>
                <a:gd name="connsiteY13" fmla="*/ 441278 h 782471"/>
                <a:gd name="connsiteX14" fmla="*/ 2288274 w 2984311"/>
                <a:gd name="connsiteY14" fmla="*/ 436728 h 782471"/>
                <a:gd name="connsiteX15" fmla="*/ 2247331 w 2984311"/>
                <a:gd name="connsiteY15" fmla="*/ 413982 h 782471"/>
                <a:gd name="connsiteX16" fmla="*/ 2233683 w 2984311"/>
                <a:gd name="connsiteY16" fmla="*/ 409433 h 782471"/>
                <a:gd name="connsiteX17" fmla="*/ 2220036 w 2984311"/>
                <a:gd name="connsiteY17" fmla="*/ 404884 h 782471"/>
                <a:gd name="connsiteX18" fmla="*/ 2192740 w 2984311"/>
                <a:gd name="connsiteY18" fmla="*/ 418531 h 782471"/>
                <a:gd name="connsiteX19" fmla="*/ 2179092 w 2984311"/>
                <a:gd name="connsiteY19" fmla="*/ 427630 h 782471"/>
                <a:gd name="connsiteX20" fmla="*/ 2151797 w 2984311"/>
                <a:gd name="connsiteY20" fmla="*/ 436728 h 782471"/>
                <a:gd name="connsiteX21" fmla="*/ 2138149 w 2984311"/>
                <a:gd name="connsiteY21" fmla="*/ 441278 h 782471"/>
                <a:gd name="connsiteX22" fmla="*/ 2124501 w 2984311"/>
                <a:gd name="connsiteY22" fmla="*/ 445827 h 782471"/>
                <a:gd name="connsiteX23" fmla="*/ 2083558 w 2984311"/>
                <a:gd name="connsiteY23" fmla="*/ 464024 h 782471"/>
                <a:gd name="connsiteX24" fmla="*/ 2069910 w 2984311"/>
                <a:gd name="connsiteY24" fmla="*/ 473122 h 782471"/>
                <a:gd name="connsiteX25" fmla="*/ 2056263 w 2984311"/>
                <a:gd name="connsiteY25" fmla="*/ 477672 h 782471"/>
                <a:gd name="connsiteX26" fmla="*/ 1988024 w 2984311"/>
                <a:gd name="connsiteY26" fmla="*/ 473122 h 782471"/>
                <a:gd name="connsiteX27" fmla="*/ 1969827 w 2984311"/>
                <a:gd name="connsiteY27" fmla="*/ 468573 h 782471"/>
                <a:gd name="connsiteX28" fmla="*/ 1878842 w 2984311"/>
                <a:gd name="connsiteY28" fmla="*/ 473122 h 782471"/>
                <a:gd name="connsiteX29" fmla="*/ 1851546 w 2984311"/>
                <a:gd name="connsiteY29" fmla="*/ 486770 h 782471"/>
                <a:gd name="connsiteX30" fmla="*/ 1842448 w 2984311"/>
                <a:gd name="connsiteY30" fmla="*/ 500418 h 782471"/>
                <a:gd name="connsiteX31" fmla="*/ 1815152 w 2984311"/>
                <a:gd name="connsiteY31" fmla="*/ 509516 h 782471"/>
                <a:gd name="connsiteX32" fmla="*/ 1787857 w 2984311"/>
                <a:gd name="connsiteY32" fmla="*/ 518615 h 782471"/>
                <a:gd name="connsiteX33" fmla="*/ 1774209 w 2984311"/>
                <a:gd name="connsiteY33" fmla="*/ 523164 h 782471"/>
                <a:gd name="connsiteX34" fmla="*/ 1733266 w 2984311"/>
                <a:gd name="connsiteY34" fmla="*/ 509516 h 782471"/>
                <a:gd name="connsiteX35" fmla="*/ 1728716 w 2984311"/>
                <a:gd name="connsiteY35" fmla="*/ 495869 h 782471"/>
                <a:gd name="connsiteX36" fmla="*/ 1724167 w 2984311"/>
                <a:gd name="connsiteY36" fmla="*/ 468573 h 782471"/>
                <a:gd name="connsiteX37" fmla="*/ 1710519 w 2984311"/>
                <a:gd name="connsiteY37" fmla="*/ 464024 h 782471"/>
                <a:gd name="connsiteX38" fmla="*/ 1701421 w 2984311"/>
                <a:gd name="connsiteY38" fmla="*/ 450376 h 782471"/>
                <a:gd name="connsiteX39" fmla="*/ 1687773 w 2984311"/>
                <a:gd name="connsiteY39" fmla="*/ 441278 h 782471"/>
                <a:gd name="connsiteX40" fmla="*/ 1683224 w 2984311"/>
                <a:gd name="connsiteY40" fmla="*/ 427630 h 782471"/>
                <a:gd name="connsiteX41" fmla="*/ 1665027 w 2984311"/>
                <a:gd name="connsiteY41" fmla="*/ 400334 h 782471"/>
                <a:gd name="connsiteX42" fmla="*/ 1646830 w 2984311"/>
                <a:gd name="connsiteY42" fmla="*/ 373039 h 782471"/>
                <a:gd name="connsiteX43" fmla="*/ 1633182 w 2984311"/>
                <a:gd name="connsiteY43" fmla="*/ 363940 h 782471"/>
                <a:gd name="connsiteX44" fmla="*/ 1601337 w 2984311"/>
                <a:gd name="connsiteY44" fmla="*/ 345743 h 782471"/>
                <a:gd name="connsiteX45" fmla="*/ 1587689 w 2984311"/>
                <a:gd name="connsiteY45" fmla="*/ 318448 h 782471"/>
                <a:gd name="connsiteX46" fmla="*/ 1574042 w 2984311"/>
                <a:gd name="connsiteY46" fmla="*/ 309349 h 782471"/>
                <a:gd name="connsiteX47" fmla="*/ 1542197 w 2984311"/>
                <a:gd name="connsiteY47" fmla="*/ 286603 h 782471"/>
                <a:gd name="connsiteX48" fmla="*/ 1501254 w 2984311"/>
                <a:gd name="connsiteY48" fmla="*/ 277505 h 782471"/>
                <a:gd name="connsiteX49" fmla="*/ 1473958 w 2984311"/>
                <a:gd name="connsiteY49" fmla="*/ 268406 h 782471"/>
                <a:gd name="connsiteX50" fmla="*/ 1460310 w 2984311"/>
                <a:gd name="connsiteY50" fmla="*/ 259308 h 782471"/>
                <a:gd name="connsiteX51" fmla="*/ 1433015 w 2984311"/>
                <a:gd name="connsiteY51" fmla="*/ 250209 h 782471"/>
                <a:gd name="connsiteX52" fmla="*/ 1360227 w 2984311"/>
                <a:gd name="connsiteY52" fmla="*/ 236561 h 782471"/>
                <a:gd name="connsiteX53" fmla="*/ 1332931 w 2984311"/>
                <a:gd name="connsiteY53" fmla="*/ 227463 h 782471"/>
                <a:gd name="connsiteX54" fmla="*/ 1319283 w 2984311"/>
                <a:gd name="connsiteY54" fmla="*/ 222913 h 782471"/>
                <a:gd name="connsiteX55" fmla="*/ 1278340 w 2984311"/>
                <a:gd name="connsiteY55" fmla="*/ 227463 h 782471"/>
                <a:gd name="connsiteX56" fmla="*/ 1264692 w 2984311"/>
                <a:gd name="connsiteY56" fmla="*/ 236561 h 782471"/>
                <a:gd name="connsiteX57" fmla="*/ 1246495 w 2984311"/>
                <a:gd name="connsiteY57" fmla="*/ 241111 h 782471"/>
                <a:gd name="connsiteX58" fmla="*/ 1219200 w 2984311"/>
                <a:gd name="connsiteY58" fmla="*/ 254758 h 782471"/>
                <a:gd name="connsiteX59" fmla="*/ 1191904 w 2984311"/>
                <a:gd name="connsiteY59" fmla="*/ 268406 h 782471"/>
                <a:gd name="connsiteX60" fmla="*/ 1160060 w 2984311"/>
                <a:gd name="connsiteY60" fmla="*/ 272955 h 782471"/>
                <a:gd name="connsiteX61" fmla="*/ 1105468 w 2984311"/>
                <a:gd name="connsiteY61" fmla="*/ 291152 h 782471"/>
                <a:gd name="connsiteX62" fmla="*/ 1073624 w 2984311"/>
                <a:gd name="connsiteY62" fmla="*/ 304800 h 782471"/>
                <a:gd name="connsiteX63" fmla="*/ 896203 w 2984311"/>
                <a:gd name="connsiteY63" fmla="*/ 309349 h 782471"/>
                <a:gd name="connsiteX64" fmla="*/ 868907 w 2984311"/>
                <a:gd name="connsiteY64" fmla="*/ 322997 h 782471"/>
                <a:gd name="connsiteX65" fmla="*/ 855260 w 2984311"/>
                <a:gd name="connsiteY65" fmla="*/ 327546 h 782471"/>
                <a:gd name="connsiteX66" fmla="*/ 782471 w 2984311"/>
                <a:gd name="connsiteY66" fmla="*/ 322997 h 782471"/>
                <a:gd name="connsiteX67" fmla="*/ 768824 w 2984311"/>
                <a:gd name="connsiteY67" fmla="*/ 318448 h 782471"/>
                <a:gd name="connsiteX68" fmla="*/ 723331 w 2984311"/>
                <a:gd name="connsiteY68" fmla="*/ 304800 h 782471"/>
                <a:gd name="connsiteX69" fmla="*/ 709683 w 2984311"/>
                <a:gd name="connsiteY69" fmla="*/ 300251 h 782471"/>
                <a:gd name="connsiteX70" fmla="*/ 696036 w 2984311"/>
                <a:gd name="connsiteY70" fmla="*/ 295702 h 782471"/>
                <a:gd name="connsiteX71" fmla="*/ 641445 w 2984311"/>
                <a:gd name="connsiteY71" fmla="*/ 291152 h 782471"/>
                <a:gd name="connsiteX72" fmla="*/ 591403 w 2984311"/>
                <a:gd name="connsiteY72" fmla="*/ 282054 h 782471"/>
                <a:gd name="connsiteX73" fmla="*/ 573206 w 2984311"/>
                <a:gd name="connsiteY73" fmla="*/ 277505 h 782471"/>
                <a:gd name="connsiteX74" fmla="*/ 545910 w 2984311"/>
                <a:gd name="connsiteY74" fmla="*/ 268406 h 782471"/>
                <a:gd name="connsiteX75" fmla="*/ 514066 w 2984311"/>
                <a:gd name="connsiteY75" fmla="*/ 263857 h 782471"/>
                <a:gd name="connsiteX76" fmla="*/ 491319 w 2984311"/>
                <a:gd name="connsiteY76" fmla="*/ 259308 h 782471"/>
                <a:gd name="connsiteX77" fmla="*/ 459474 w 2984311"/>
                <a:gd name="connsiteY77" fmla="*/ 254758 h 782471"/>
                <a:gd name="connsiteX78" fmla="*/ 432179 w 2984311"/>
                <a:gd name="connsiteY78" fmla="*/ 236561 h 782471"/>
                <a:gd name="connsiteX79" fmla="*/ 423080 w 2984311"/>
                <a:gd name="connsiteY79" fmla="*/ 222913 h 782471"/>
                <a:gd name="connsiteX80" fmla="*/ 404883 w 2984311"/>
                <a:gd name="connsiteY80" fmla="*/ 213815 h 782471"/>
                <a:gd name="connsiteX81" fmla="*/ 391236 w 2984311"/>
                <a:gd name="connsiteY81" fmla="*/ 204716 h 782471"/>
                <a:gd name="connsiteX82" fmla="*/ 373039 w 2984311"/>
                <a:gd name="connsiteY82" fmla="*/ 177421 h 782471"/>
                <a:gd name="connsiteX83" fmla="*/ 350292 w 2984311"/>
                <a:gd name="connsiteY83" fmla="*/ 150125 h 782471"/>
                <a:gd name="connsiteX84" fmla="*/ 322997 w 2984311"/>
                <a:gd name="connsiteY84" fmla="*/ 131928 h 782471"/>
                <a:gd name="connsiteX85" fmla="*/ 295701 w 2984311"/>
                <a:gd name="connsiteY85" fmla="*/ 113731 h 782471"/>
                <a:gd name="connsiteX86" fmla="*/ 286603 w 2984311"/>
                <a:gd name="connsiteY86" fmla="*/ 100084 h 782471"/>
                <a:gd name="connsiteX87" fmla="*/ 272955 w 2984311"/>
                <a:gd name="connsiteY87" fmla="*/ 95534 h 782471"/>
                <a:gd name="connsiteX88" fmla="*/ 259307 w 2984311"/>
                <a:gd name="connsiteY88" fmla="*/ 86436 h 782471"/>
                <a:gd name="connsiteX89" fmla="*/ 232012 w 2984311"/>
                <a:gd name="connsiteY89" fmla="*/ 77337 h 782471"/>
                <a:gd name="connsiteX90" fmla="*/ 218364 w 2984311"/>
                <a:gd name="connsiteY90" fmla="*/ 72788 h 782471"/>
                <a:gd name="connsiteX91" fmla="*/ 204716 w 2984311"/>
                <a:gd name="connsiteY91" fmla="*/ 68239 h 782471"/>
                <a:gd name="connsiteX92" fmla="*/ 191068 w 2984311"/>
                <a:gd name="connsiteY92" fmla="*/ 59140 h 782471"/>
                <a:gd name="connsiteX93" fmla="*/ 163773 w 2984311"/>
                <a:gd name="connsiteY93" fmla="*/ 50042 h 782471"/>
                <a:gd name="connsiteX94" fmla="*/ 136477 w 2984311"/>
                <a:gd name="connsiteY94" fmla="*/ 40943 h 782471"/>
                <a:gd name="connsiteX95" fmla="*/ 122830 w 2984311"/>
                <a:gd name="connsiteY95" fmla="*/ 36394 h 782471"/>
                <a:gd name="connsiteX96" fmla="*/ 0 w 2984311"/>
                <a:gd name="connsiteY96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711355 w 2984311"/>
                <a:gd name="connsiteY5" fmla="*/ 504967 h 782471"/>
                <a:gd name="connsiteX6" fmla="*/ 2643116 w 2984311"/>
                <a:gd name="connsiteY6" fmla="*/ 482221 h 782471"/>
                <a:gd name="connsiteX7" fmla="*/ 2629468 w 2984311"/>
                <a:gd name="connsiteY7" fmla="*/ 477672 h 782471"/>
                <a:gd name="connsiteX8" fmla="*/ 2552131 w 2984311"/>
                <a:gd name="connsiteY8" fmla="*/ 473122 h 782471"/>
                <a:gd name="connsiteX9" fmla="*/ 2515737 w 2984311"/>
                <a:gd name="connsiteY9" fmla="*/ 468573 h 782471"/>
                <a:gd name="connsiteX10" fmla="*/ 2370161 w 2984311"/>
                <a:gd name="connsiteY10" fmla="*/ 459475 h 782471"/>
                <a:gd name="connsiteX11" fmla="*/ 2329218 w 2984311"/>
                <a:gd name="connsiteY11" fmla="*/ 450376 h 782471"/>
                <a:gd name="connsiteX12" fmla="*/ 2301922 w 2984311"/>
                <a:gd name="connsiteY12" fmla="*/ 441278 h 782471"/>
                <a:gd name="connsiteX13" fmla="*/ 2288274 w 2984311"/>
                <a:gd name="connsiteY13" fmla="*/ 436728 h 782471"/>
                <a:gd name="connsiteX14" fmla="*/ 2247331 w 2984311"/>
                <a:gd name="connsiteY14" fmla="*/ 413982 h 782471"/>
                <a:gd name="connsiteX15" fmla="*/ 2233683 w 2984311"/>
                <a:gd name="connsiteY15" fmla="*/ 409433 h 782471"/>
                <a:gd name="connsiteX16" fmla="*/ 2220036 w 2984311"/>
                <a:gd name="connsiteY16" fmla="*/ 404884 h 782471"/>
                <a:gd name="connsiteX17" fmla="*/ 2192740 w 2984311"/>
                <a:gd name="connsiteY17" fmla="*/ 418531 h 782471"/>
                <a:gd name="connsiteX18" fmla="*/ 2179092 w 2984311"/>
                <a:gd name="connsiteY18" fmla="*/ 427630 h 782471"/>
                <a:gd name="connsiteX19" fmla="*/ 2151797 w 2984311"/>
                <a:gd name="connsiteY19" fmla="*/ 436728 h 782471"/>
                <a:gd name="connsiteX20" fmla="*/ 2138149 w 2984311"/>
                <a:gd name="connsiteY20" fmla="*/ 441278 h 782471"/>
                <a:gd name="connsiteX21" fmla="*/ 2124501 w 2984311"/>
                <a:gd name="connsiteY21" fmla="*/ 445827 h 782471"/>
                <a:gd name="connsiteX22" fmla="*/ 2083558 w 2984311"/>
                <a:gd name="connsiteY22" fmla="*/ 464024 h 782471"/>
                <a:gd name="connsiteX23" fmla="*/ 2069910 w 2984311"/>
                <a:gd name="connsiteY23" fmla="*/ 473122 h 782471"/>
                <a:gd name="connsiteX24" fmla="*/ 2056263 w 2984311"/>
                <a:gd name="connsiteY24" fmla="*/ 477672 h 782471"/>
                <a:gd name="connsiteX25" fmla="*/ 1988024 w 2984311"/>
                <a:gd name="connsiteY25" fmla="*/ 473122 h 782471"/>
                <a:gd name="connsiteX26" fmla="*/ 1969827 w 2984311"/>
                <a:gd name="connsiteY26" fmla="*/ 468573 h 782471"/>
                <a:gd name="connsiteX27" fmla="*/ 1878842 w 2984311"/>
                <a:gd name="connsiteY27" fmla="*/ 473122 h 782471"/>
                <a:gd name="connsiteX28" fmla="*/ 1851546 w 2984311"/>
                <a:gd name="connsiteY28" fmla="*/ 486770 h 782471"/>
                <a:gd name="connsiteX29" fmla="*/ 1842448 w 2984311"/>
                <a:gd name="connsiteY29" fmla="*/ 500418 h 782471"/>
                <a:gd name="connsiteX30" fmla="*/ 1815152 w 2984311"/>
                <a:gd name="connsiteY30" fmla="*/ 509516 h 782471"/>
                <a:gd name="connsiteX31" fmla="*/ 1787857 w 2984311"/>
                <a:gd name="connsiteY31" fmla="*/ 518615 h 782471"/>
                <a:gd name="connsiteX32" fmla="*/ 1774209 w 2984311"/>
                <a:gd name="connsiteY32" fmla="*/ 523164 h 782471"/>
                <a:gd name="connsiteX33" fmla="*/ 1733266 w 2984311"/>
                <a:gd name="connsiteY33" fmla="*/ 509516 h 782471"/>
                <a:gd name="connsiteX34" fmla="*/ 1728716 w 2984311"/>
                <a:gd name="connsiteY34" fmla="*/ 495869 h 782471"/>
                <a:gd name="connsiteX35" fmla="*/ 1724167 w 2984311"/>
                <a:gd name="connsiteY35" fmla="*/ 468573 h 782471"/>
                <a:gd name="connsiteX36" fmla="*/ 1710519 w 2984311"/>
                <a:gd name="connsiteY36" fmla="*/ 464024 h 782471"/>
                <a:gd name="connsiteX37" fmla="*/ 1701421 w 2984311"/>
                <a:gd name="connsiteY37" fmla="*/ 450376 h 782471"/>
                <a:gd name="connsiteX38" fmla="*/ 1687773 w 2984311"/>
                <a:gd name="connsiteY38" fmla="*/ 441278 h 782471"/>
                <a:gd name="connsiteX39" fmla="*/ 1683224 w 2984311"/>
                <a:gd name="connsiteY39" fmla="*/ 427630 h 782471"/>
                <a:gd name="connsiteX40" fmla="*/ 1665027 w 2984311"/>
                <a:gd name="connsiteY40" fmla="*/ 400334 h 782471"/>
                <a:gd name="connsiteX41" fmla="*/ 1646830 w 2984311"/>
                <a:gd name="connsiteY41" fmla="*/ 373039 h 782471"/>
                <a:gd name="connsiteX42" fmla="*/ 1633182 w 2984311"/>
                <a:gd name="connsiteY42" fmla="*/ 363940 h 782471"/>
                <a:gd name="connsiteX43" fmla="*/ 1601337 w 2984311"/>
                <a:gd name="connsiteY43" fmla="*/ 345743 h 782471"/>
                <a:gd name="connsiteX44" fmla="*/ 1587689 w 2984311"/>
                <a:gd name="connsiteY44" fmla="*/ 318448 h 782471"/>
                <a:gd name="connsiteX45" fmla="*/ 1574042 w 2984311"/>
                <a:gd name="connsiteY45" fmla="*/ 309349 h 782471"/>
                <a:gd name="connsiteX46" fmla="*/ 1542197 w 2984311"/>
                <a:gd name="connsiteY46" fmla="*/ 286603 h 782471"/>
                <a:gd name="connsiteX47" fmla="*/ 1501254 w 2984311"/>
                <a:gd name="connsiteY47" fmla="*/ 277505 h 782471"/>
                <a:gd name="connsiteX48" fmla="*/ 1473958 w 2984311"/>
                <a:gd name="connsiteY48" fmla="*/ 268406 h 782471"/>
                <a:gd name="connsiteX49" fmla="*/ 1460310 w 2984311"/>
                <a:gd name="connsiteY49" fmla="*/ 259308 h 782471"/>
                <a:gd name="connsiteX50" fmla="*/ 1433015 w 2984311"/>
                <a:gd name="connsiteY50" fmla="*/ 250209 h 782471"/>
                <a:gd name="connsiteX51" fmla="*/ 1360227 w 2984311"/>
                <a:gd name="connsiteY51" fmla="*/ 236561 h 782471"/>
                <a:gd name="connsiteX52" fmla="*/ 1332931 w 2984311"/>
                <a:gd name="connsiteY52" fmla="*/ 227463 h 782471"/>
                <a:gd name="connsiteX53" fmla="*/ 1319283 w 2984311"/>
                <a:gd name="connsiteY53" fmla="*/ 222913 h 782471"/>
                <a:gd name="connsiteX54" fmla="*/ 1278340 w 2984311"/>
                <a:gd name="connsiteY54" fmla="*/ 227463 h 782471"/>
                <a:gd name="connsiteX55" fmla="*/ 1264692 w 2984311"/>
                <a:gd name="connsiteY55" fmla="*/ 236561 h 782471"/>
                <a:gd name="connsiteX56" fmla="*/ 1246495 w 2984311"/>
                <a:gd name="connsiteY56" fmla="*/ 241111 h 782471"/>
                <a:gd name="connsiteX57" fmla="*/ 1219200 w 2984311"/>
                <a:gd name="connsiteY57" fmla="*/ 254758 h 782471"/>
                <a:gd name="connsiteX58" fmla="*/ 1191904 w 2984311"/>
                <a:gd name="connsiteY58" fmla="*/ 268406 h 782471"/>
                <a:gd name="connsiteX59" fmla="*/ 1160060 w 2984311"/>
                <a:gd name="connsiteY59" fmla="*/ 272955 h 782471"/>
                <a:gd name="connsiteX60" fmla="*/ 1105468 w 2984311"/>
                <a:gd name="connsiteY60" fmla="*/ 291152 h 782471"/>
                <a:gd name="connsiteX61" fmla="*/ 1073624 w 2984311"/>
                <a:gd name="connsiteY61" fmla="*/ 304800 h 782471"/>
                <a:gd name="connsiteX62" fmla="*/ 896203 w 2984311"/>
                <a:gd name="connsiteY62" fmla="*/ 309349 h 782471"/>
                <a:gd name="connsiteX63" fmla="*/ 868907 w 2984311"/>
                <a:gd name="connsiteY63" fmla="*/ 322997 h 782471"/>
                <a:gd name="connsiteX64" fmla="*/ 855260 w 2984311"/>
                <a:gd name="connsiteY64" fmla="*/ 327546 h 782471"/>
                <a:gd name="connsiteX65" fmla="*/ 782471 w 2984311"/>
                <a:gd name="connsiteY65" fmla="*/ 322997 h 782471"/>
                <a:gd name="connsiteX66" fmla="*/ 768824 w 2984311"/>
                <a:gd name="connsiteY66" fmla="*/ 318448 h 782471"/>
                <a:gd name="connsiteX67" fmla="*/ 723331 w 2984311"/>
                <a:gd name="connsiteY67" fmla="*/ 304800 h 782471"/>
                <a:gd name="connsiteX68" fmla="*/ 709683 w 2984311"/>
                <a:gd name="connsiteY68" fmla="*/ 300251 h 782471"/>
                <a:gd name="connsiteX69" fmla="*/ 696036 w 2984311"/>
                <a:gd name="connsiteY69" fmla="*/ 295702 h 782471"/>
                <a:gd name="connsiteX70" fmla="*/ 641445 w 2984311"/>
                <a:gd name="connsiteY70" fmla="*/ 291152 h 782471"/>
                <a:gd name="connsiteX71" fmla="*/ 591403 w 2984311"/>
                <a:gd name="connsiteY71" fmla="*/ 282054 h 782471"/>
                <a:gd name="connsiteX72" fmla="*/ 573206 w 2984311"/>
                <a:gd name="connsiteY72" fmla="*/ 277505 h 782471"/>
                <a:gd name="connsiteX73" fmla="*/ 545910 w 2984311"/>
                <a:gd name="connsiteY73" fmla="*/ 268406 h 782471"/>
                <a:gd name="connsiteX74" fmla="*/ 514066 w 2984311"/>
                <a:gd name="connsiteY74" fmla="*/ 263857 h 782471"/>
                <a:gd name="connsiteX75" fmla="*/ 491319 w 2984311"/>
                <a:gd name="connsiteY75" fmla="*/ 259308 h 782471"/>
                <a:gd name="connsiteX76" fmla="*/ 459474 w 2984311"/>
                <a:gd name="connsiteY76" fmla="*/ 254758 h 782471"/>
                <a:gd name="connsiteX77" fmla="*/ 432179 w 2984311"/>
                <a:gd name="connsiteY77" fmla="*/ 236561 h 782471"/>
                <a:gd name="connsiteX78" fmla="*/ 423080 w 2984311"/>
                <a:gd name="connsiteY78" fmla="*/ 222913 h 782471"/>
                <a:gd name="connsiteX79" fmla="*/ 404883 w 2984311"/>
                <a:gd name="connsiteY79" fmla="*/ 213815 h 782471"/>
                <a:gd name="connsiteX80" fmla="*/ 391236 w 2984311"/>
                <a:gd name="connsiteY80" fmla="*/ 204716 h 782471"/>
                <a:gd name="connsiteX81" fmla="*/ 373039 w 2984311"/>
                <a:gd name="connsiteY81" fmla="*/ 177421 h 782471"/>
                <a:gd name="connsiteX82" fmla="*/ 350292 w 2984311"/>
                <a:gd name="connsiteY82" fmla="*/ 150125 h 782471"/>
                <a:gd name="connsiteX83" fmla="*/ 322997 w 2984311"/>
                <a:gd name="connsiteY83" fmla="*/ 131928 h 782471"/>
                <a:gd name="connsiteX84" fmla="*/ 295701 w 2984311"/>
                <a:gd name="connsiteY84" fmla="*/ 113731 h 782471"/>
                <a:gd name="connsiteX85" fmla="*/ 286603 w 2984311"/>
                <a:gd name="connsiteY85" fmla="*/ 100084 h 782471"/>
                <a:gd name="connsiteX86" fmla="*/ 272955 w 2984311"/>
                <a:gd name="connsiteY86" fmla="*/ 95534 h 782471"/>
                <a:gd name="connsiteX87" fmla="*/ 259307 w 2984311"/>
                <a:gd name="connsiteY87" fmla="*/ 86436 h 782471"/>
                <a:gd name="connsiteX88" fmla="*/ 232012 w 2984311"/>
                <a:gd name="connsiteY88" fmla="*/ 77337 h 782471"/>
                <a:gd name="connsiteX89" fmla="*/ 218364 w 2984311"/>
                <a:gd name="connsiteY89" fmla="*/ 72788 h 782471"/>
                <a:gd name="connsiteX90" fmla="*/ 204716 w 2984311"/>
                <a:gd name="connsiteY90" fmla="*/ 68239 h 782471"/>
                <a:gd name="connsiteX91" fmla="*/ 191068 w 2984311"/>
                <a:gd name="connsiteY91" fmla="*/ 59140 h 782471"/>
                <a:gd name="connsiteX92" fmla="*/ 163773 w 2984311"/>
                <a:gd name="connsiteY92" fmla="*/ 50042 h 782471"/>
                <a:gd name="connsiteX93" fmla="*/ 136477 w 2984311"/>
                <a:gd name="connsiteY93" fmla="*/ 40943 h 782471"/>
                <a:gd name="connsiteX94" fmla="*/ 122830 w 2984311"/>
                <a:gd name="connsiteY94" fmla="*/ 36394 h 782471"/>
                <a:gd name="connsiteX95" fmla="*/ 0 w 2984311"/>
                <a:gd name="connsiteY95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43116 w 2984311"/>
                <a:gd name="connsiteY5" fmla="*/ 482221 h 782471"/>
                <a:gd name="connsiteX6" fmla="*/ 2629468 w 2984311"/>
                <a:gd name="connsiteY6" fmla="*/ 477672 h 782471"/>
                <a:gd name="connsiteX7" fmla="*/ 2552131 w 2984311"/>
                <a:gd name="connsiteY7" fmla="*/ 473122 h 782471"/>
                <a:gd name="connsiteX8" fmla="*/ 2515737 w 2984311"/>
                <a:gd name="connsiteY8" fmla="*/ 468573 h 782471"/>
                <a:gd name="connsiteX9" fmla="*/ 2370161 w 2984311"/>
                <a:gd name="connsiteY9" fmla="*/ 459475 h 782471"/>
                <a:gd name="connsiteX10" fmla="*/ 2329218 w 2984311"/>
                <a:gd name="connsiteY10" fmla="*/ 450376 h 782471"/>
                <a:gd name="connsiteX11" fmla="*/ 2301922 w 2984311"/>
                <a:gd name="connsiteY11" fmla="*/ 441278 h 782471"/>
                <a:gd name="connsiteX12" fmla="*/ 2288274 w 2984311"/>
                <a:gd name="connsiteY12" fmla="*/ 436728 h 782471"/>
                <a:gd name="connsiteX13" fmla="*/ 2247331 w 2984311"/>
                <a:gd name="connsiteY13" fmla="*/ 413982 h 782471"/>
                <a:gd name="connsiteX14" fmla="*/ 2233683 w 2984311"/>
                <a:gd name="connsiteY14" fmla="*/ 409433 h 782471"/>
                <a:gd name="connsiteX15" fmla="*/ 2220036 w 2984311"/>
                <a:gd name="connsiteY15" fmla="*/ 404884 h 782471"/>
                <a:gd name="connsiteX16" fmla="*/ 2192740 w 2984311"/>
                <a:gd name="connsiteY16" fmla="*/ 418531 h 782471"/>
                <a:gd name="connsiteX17" fmla="*/ 2179092 w 2984311"/>
                <a:gd name="connsiteY17" fmla="*/ 427630 h 782471"/>
                <a:gd name="connsiteX18" fmla="*/ 2151797 w 2984311"/>
                <a:gd name="connsiteY18" fmla="*/ 436728 h 782471"/>
                <a:gd name="connsiteX19" fmla="*/ 2138149 w 2984311"/>
                <a:gd name="connsiteY19" fmla="*/ 441278 h 782471"/>
                <a:gd name="connsiteX20" fmla="*/ 2124501 w 2984311"/>
                <a:gd name="connsiteY20" fmla="*/ 445827 h 782471"/>
                <a:gd name="connsiteX21" fmla="*/ 2083558 w 2984311"/>
                <a:gd name="connsiteY21" fmla="*/ 464024 h 782471"/>
                <a:gd name="connsiteX22" fmla="*/ 2069910 w 2984311"/>
                <a:gd name="connsiteY22" fmla="*/ 473122 h 782471"/>
                <a:gd name="connsiteX23" fmla="*/ 2056263 w 2984311"/>
                <a:gd name="connsiteY23" fmla="*/ 477672 h 782471"/>
                <a:gd name="connsiteX24" fmla="*/ 1988024 w 2984311"/>
                <a:gd name="connsiteY24" fmla="*/ 473122 h 782471"/>
                <a:gd name="connsiteX25" fmla="*/ 1969827 w 2984311"/>
                <a:gd name="connsiteY25" fmla="*/ 468573 h 782471"/>
                <a:gd name="connsiteX26" fmla="*/ 1878842 w 2984311"/>
                <a:gd name="connsiteY26" fmla="*/ 473122 h 782471"/>
                <a:gd name="connsiteX27" fmla="*/ 1851546 w 2984311"/>
                <a:gd name="connsiteY27" fmla="*/ 486770 h 782471"/>
                <a:gd name="connsiteX28" fmla="*/ 1842448 w 2984311"/>
                <a:gd name="connsiteY28" fmla="*/ 500418 h 782471"/>
                <a:gd name="connsiteX29" fmla="*/ 1815152 w 2984311"/>
                <a:gd name="connsiteY29" fmla="*/ 509516 h 782471"/>
                <a:gd name="connsiteX30" fmla="*/ 1787857 w 2984311"/>
                <a:gd name="connsiteY30" fmla="*/ 518615 h 782471"/>
                <a:gd name="connsiteX31" fmla="*/ 1774209 w 2984311"/>
                <a:gd name="connsiteY31" fmla="*/ 523164 h 782471"/>
                <a:gd name="connsiteX32" fmla="*/ 1733266 w 2984311"/>
                <a:gd name="connsiteY32" fmla="*/ 509516 h 782471"/>
                <a:gd name="connsiteX33" fmla="*/ 1728716 w 2984311"/>
                <a:gd name="connsiteY33" fmla="*/ 495869 h 782471"/>
                <a:gd name="connsiteX34" fmla="*/ 1724167 w 2984311"/>
                <a:gd name="connsiteY34" fmla="*/ 468573 h 782471"/>
                <a:gd name="connsiteX35" fmla="*/ 1710519 w 2984311"/>
                <a:gd name="connsiteY35" fmla="*/ 464024 h 782471"/>
                <a:gd name="connsiteX36" fmla="*/ 1701421 w 2984311"/>
                <a:gd name="connsiteY36" fmla="*/ 450376 h 782471"/>
                <a:gd name="connsiteX37" fmla="*/ 1687773 w 2984311"/>
                <a:gd name="connsiteY37" fmla="*/ 441278 h 782471"/>
                <a:gd name="connsiteX38" fmla="*/ 1683224 w 2984311"/>
                <a:gd name="connsiteY38" fmla="*/ 427630 h 782471"/>
                <a:gd name="connsiteX39" fmla="*/ 1665027 w 2984311"/>
                <a:gd name="connsiteY39" fmla="*/ 400334 h 782471"/>
                <a:gd name="connsiteX40" fmla="*/ 1646830 w 2984311"/>
                <a:gd name="connsiteY40" fmla="*/ 373039 h 782471"/>
                <a:gd name="connsiteX41" fmla="*/ 1633182 w 2984311"/>
                <a:gd name="connsiteY41" fmla="*/ 363940 h 782471"/>
                <a:gd name="connsiteX42" fmla="*/ 1601337 w 2984311"/>
                <a:gd name="connsiteY42" fmla="*/ 345743 h 782471"/>
                <a:gd name="connsiteX43" fmla="*/ 1587689 w 2984311"/>
                <a:gd name="connsiteY43" fmla="*/ 318448 h 782471"/>
                <a:gd name="connsiteX44" fmla="*/ 1574042 w 2984311"/>
                <a:gd name="connsiteY44" fmla="*/ 309349 h 782471"/>
                <a:gd name="connsiteX45" fmla="*/ 1542197 w 2984311"/>
                <a:gd name="connsiteY45" fmla="*/ 286603 h 782471"/>
                <a:gd name="connsiteX46" fmla="*/ 1501254 w 2984311"/>
                <a:gd name="connsiteY46" fmla="*/ 277505 h 782471"/>
                <a:gd name="connsiteX47" fmla="*/ 1473958 w 2984311"/>
                <a:gd name="connsiteY47" fmla="*/ 268406 h 782471"/>
                <a:gd name="connsiteX48" fmla="*/ 1460310 w 2984311"/>
                <a:gd name="connsiteY48" fmla="*/ 259308 h 782471"/>
                <a:gd name="connsiteX49" fmla="*/ 1433015 w 2984311"/>
                <a:gd name="connsiteY49" fmla="*/ 250209 h 782471"/>
                <a:gd name="connsiteX50" fmla="*/ 1360227 w 2984311"/>
                <a:gd name="connsiteY50" fmla="*/ 236561 h 782471"/>
                <a:gd name="connsiteX51" fmla="*/ 1332931 w 2984311"/>
                <a:gd name="connsiteY51" fmla="*/ 227463 h 782471"/>
                <a:gd name="connsiteX52" fmla="*/ 1319283 w 2984311"/>
                <a:gd name="connsiteY52" fmla="*/ 222913 h 782471"/>
                <a:gd name="connsiteX53" fmla="*/ 1278340 w 2984311"/>
                <a:gd name="connsiteY53" fmla="*/ 227463 h 782471"/>
                <a:gd name="connsiteX54" fmla="*/ 1264692 w 2984311"/>
                <a:gd name="connsiteY54" fmla="*/ 236561 h 782471"/>
                <a:gd name="connsiteX55" fmla="*/ 1246495 w 2984311"/>
                <a:gd name="connsiteY55" fmla="*/ 241111 h 782471"/>
                <a:gd name="connsiteX56" fmla="*/ 1219200 w 2984311"/>
                <a:gd name="connsiteY56" fmla="*/ 254758 h 782471"/>
                <a:gd name="connsiteX57" fmla="*/ 1191904 w 2984311"/>
                <a:gd name="connsiteY57" fmla="*/ 268406 h 782471"/>
                <a:gd name="connsiteX58" fmla="*/ 1160060 w 2984311"/>
                <a:gd name="connsiteY58" fmla="*/ 272955 h 782471"/>
                <a:gd name="connsiteX59" fmla="*/ 1105468 w 2984311"/>
                <a:gd name="connsiteY59" fmla="*/ 291152 h 782471"/>
                <a:gd name="connsiteX60" fmla="*/ 1073624 w 2984311"/>
                <a:gd name="connsiteY60" fmla="*/ 304800 h 782471"/>
                <a:gd name="connsiteX61" fmla="*/ 896203 w 2984311"/>
                <a:gd name="connsiteY61" fmla="*/ 309349 h 782471"/>
                <a:gd name="connsiteX62" fmla="*/ 868907 w 2984311"/>
                <a:gd name="connsiteY62" fmla="*/ 322997 h 782471"/>
                <a:gd name="connsiteX63" fmla="*/ 855260 w 2984311"/>
                <a:gd name="connsiteY63" fmla="*/ 327546 h 782471"/>
                <a:gd name="connsiteX64" fmla="*/ 782471 w 2984311"/>
                <a:gd name="connsiteY64" fmla="*/ 322997 h 782471"/>
                <a:gd name="connsiteX65" fmla="*/ 768824 w 2984311"/>
                <a:gd name="connsiteY65" fmla="*/ 318448 h 782471"/>
                <a:gd name="connsiteX66" fmla="*/ 723331 w 2984311"/>
                <a:gd name="connsiteY66" fmla="*/ 304800 h 782471"/>
                <a:gd name="connsiteX67" fmla="*/ 709683 w 2984311"/>
                <a:gd name="connsiteY67" fmla="*/ 300251 h 782471"/>
                <a:gd name="connsiteX68" fmla="*/ 696036 w 2984311"/>
                <a:gd name="connsiteY68" fmla="*/ 295702 h 782471"/>
                <a:gd name="connsiteX69" fmla="*/ 641445 w 2984311"/>
                <a:gd name="connsiteY69" fmla="*/ 291152 h 782471"/>
                <a:gd name="connsiteX70" fmla="*/ 591403 w 2984311"/>
                <a:gd name="connsiteY70" fmla="*/ 282054 h 782471"/>
                <a:gd name="connsiteX71" fmla="*/ 573206 w 2984311"/>
                <a:gd name="connsiteY71" fmla="*/ 277505 h 782471"/>
                <a:gd name="connsiteX72" fmla="*/ 545910 w 2984311"/>
                <a:gd name="connsiteY72" fmla="*/ 268406 h 782471"/>
                <a:gd name="connsiteX73" fmla="*/ 514066 w 2984311"/>
                <a:gd name="connsiteY73" fmla="*/ 263857 h 782471"/>
                <a:gd name="connsiteX74" fmla="*/ 491319 w 2984311"/>
                <a:gd name="connsiteY74" fmla="*/ 259308 h 782471"/>
                <a:gd name="connsiteX75" fmla="*/ 459474 w 2984311"/>
                <a:gd name="connsiteY75" fmla="*/ 254758 h 782471"/>
                <a:gd name="connsiteX76" fmla="*/ 432179 w 2984311"/>
                <a:gd name="connsiteY76" fmla="*/ 236561 h 782471"/>
                <a:gd name="connsiteX77" fmla="*/ 423080 w 2984311"/>
                <a:gd name="connsiteY77" fmla="*/ 222913 h 782471"/>
                <a:gd name="connsiteX78" fmla="*/ 404883 w 2984311"/>
                <a:gd name="connsiteY78" fmla="*/ 213815 h 782471"/>
                <a:gd name="connsiteX79" fmla="*/ 391236 w 2984311"/>
                <a:gd name="connsiteY79" fmla="*/ 204716 h 782471"/>
                <a:gd name="connsiteX80" fmla="*/ 373039 w 2984311"/>
                <a:gd name="connsiteY80" fmla="*/ 177421 h 782471"/>
                <a:gd name="connsiteX81" fmla="*/ 350292 w 2984311"/>
                <a:gd name="connsiteY81" fmla="*/ 150125 h 782471"/>
                <a:gd name="connsiteX82" fmla="*/ 322997 w 2984311"/>
                <a:gd name="connsiteY82" fmla="*/ 131928 h 782471"/>
                <a:gd name="connsiteX83" fmla="*/ 295701 w 2984311"/>
                <a:gd name="connsiteY83" fmla="*/ 113731 h 782471"/>
                <a:gd name="connsiteX84" fmla="*/ 286603 w 2984311"/>
                <a:gd name="connsiteY84" fmla="*/ 100084 h 782471"/>
                <a:gd name="connsiteX85" fmla="*/ 272955 w 2984311"/>
                <a:gd name="connsiteY85" fmla="*/ 95534 h 782471"/>
                <a:gd name="connsiteX86" fmla="*/ 259307 w 2984311"/>
                <a:gd name="connsiteY86" fmla="*/ 86436 h 782471"/>
                <a:gd name="connsiteX87" fmla="*/ 232012 w 2984311"/>
                <a:gd name="connsiteY87" fmla="*/ 77337 h 782471"/>
                <a:gd name="connsiteX88" fmla="*/ 218364 w 2984311"/>
                <a:gd name="connsiteY88" fmla="*/ 72788 h 782471"/>
                <a:gd name="connsiteX89" fmla="*/ 204716 w 2984311"/>
                <a:gd name="connsiteY89" fmla="*/ 68239 h 782471"/>
                <a:gd name="connsiteX90" fmla="*/ 191068 w 2984311"/>
                <a:gd name="connsiteY90" fmla="*/ 59140 h 782471"/>
                <a:gd name="connsiteX91" fmla="*/ 163773 w 2984311"/>
                <a:gd name="connsiteY91" fmla="*/ 50042 h 782471"/>
                <a:gd name="connsiteX92" fmla="*/ 136477 w 2984311"/>
                <a:gd name="connsiteY92" fmla="*/ 40943 h 782471"/>
                <a:gd name="connsiteX93" fmla="*/ 122830 w 2984311"/>
                <a:gd name="connsiteY93" fmla="*/ 36394 h 782471"/>
                <a:gd name="connsiteX94" fmla="*/ 0 w 2984311"/>
                <a:gd name="connsiteY94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43116 w 2984311"/>
                <a:gd name="connsiteY5" fmla="*/ 482221 h 782471"/>
                <a:gd name="connsiteX6" fmla="*/ 2629468 w 2984311"/>
                <a:gd name="connsiteY6" fmla="*/ 477672 h 782471"/>
                <a:gd name="connsiteX7" fmla="*/ 2515737 w 2984311"/>
                <a:gd name="connsiteY7" fmla="*/ 468573 h 782471"/>
                <a:gd name="connsiteX8" fmla="*/ 2370161 w 2984311"/>
                <a:gd name="connsiteY8" fmla="*/ 459475 h 782471"/>
                <a:gd name="connsiteX9" fmla="*/ 2329218 w 2984311"/>
                <a:gd name="connsiteY9" fmla="*/ 450376 h 782471"/>
                <a:gd name="connsiteX10" fmla="*/ 2301922 w 2984311"/>
                <a:gd name="connsiteY10" fmla="*/ 441278 h 782471"/>
                <a:gd name="connsiteX11" fmla="*/ 2288274 w 2984311"/>
                <a:gd name="connsiteY11" fmla="*/ 436728 h 782471"/>
                <a:gd name="connsiteX12" fmla="*/ 2247331 w 2984311"/>
                <a:gd name="connsiteY12" fmla="*/ 413982 h 782471"/>
                <a:gd name="connsiteX13" fmla="*/ 2233683 w 2984311"/>
                <a:gd name="connsiteY13" fmla="*/ 409433 h 782471"/>
                <a:gd name="connsiteX14" fmla="*/ 2220036 w 2984311"/>
                <a:gd name="connsiteY14" fmla="*/ 404884 h 782471"/>
                <a:gd name="connsiteX15" fmla="*/ 2192740 w 2984311"/>
                <a:gd name="connsiteY15" fmla="*/ 418531 h 782471"/>
                <a:gd name="connsiteX16" fmla="*/ 2179092 w 2984311"/>
                <a:gd name="connsiteY16" fmla="*/ 427630 h 782471"/>
                <a:gd name="connsiteX17" fmla="*/ 2151797 w 2984311"/>
                <a:gd name="connsiteY17" fmla="*/ 436728 h 782471"/>
                <a:gd name="connsiteX18" fmla="*/ 2138149 w 2984311"/>
                <a:gd name="connsiteY18" fmla="*/ 441278 h 782471"/>
                <a:gd name="connsiteX19" fmla="*/ 2124501 w 2984311"/>
                <a:gd name="connsiteY19" fmla="*/ 445827 h 782471"/>
                <a:gd name="connsiteX20" fmla="*/ 2083558 w 2984311"/>
                <a:gd name="connsiteY20" fmla="*/ 464024 h 782471"/>
                <a:gd name="connsiteX21" fmla="*/ 2069910 w 2984311"/>
                <a:gd name="connsiteY21" fmla="*/ 473122 h 782471"/>
                <a:gd name="connsiteX22" fmla="*/ 2056263 w 2984311"/>
                <a:gd name="connsiteY22" fmla="*/ 477672 h 782471"/>
                <a:gd name="connsiteX23" fmla="*/ 1988024 w 2984311"/>
                <a:gd name="connsiteY23" fmla="*/ 473122 h 782471"/>
                <a:gd name="connsiteX24" fmla="*/ 1969827 w 2984311"/>
                <a:gd name="connsiteY24" fmla="*/ 468573 h 782471"/>
                <a:gd name="connsiteX25" fmla="*/ 1878842 w 2984311"/>
                <a:gd name="connsiteY25" fmla="*/ 473122 h 782471"/>
                <a:gd name="connsiteX26" fmla="*/ 1851546 w 2984311"/>
                <a:gd name="connsiteY26" fmla="*/ 486770 h 782471"/>
                <a:gd name="connsiteX27" fmla="*/ 1842448 w 2984311"/>
                <a:gd name="connsiteY27" fmla="*/ 500418 h 782471"/>
                <a:gd name="connsiteX28" fmla="*/ 1815152 w 2984311"/>
                <a:gd name="connsiteY28" fmla="*/ 509516 h 782471"/>
                <a:gd name="connsiteX29" fmla="*/ 1787857 w 2984311"/>
                <a:gd name="connsiteY29" fmla="*/ 518615 h 782471"/>
                <a:gd name="connsiteX30" fmla="*/ 1774209 w 2984311"/>
                <a:gd name="connsiteY30" fmla="*/ 523164 h 782471"/>
                <a:gd name="connsiteX31" fmla="*/ 1733266 w 2984311"/>
                <a:gd name="connsiteY31" fmla="*/ 509516 h 782471"/>
                <a:gd name="connsiteX32" fmla="*/ 1728716 w 2984311"/>
                <a:gd name="connsiteY32" fmla="*/ 495869 h 782471"/>
                <a:gd name="connsiteX33" fmla="*/ 1724167 w 2984311"/>
                <a:gd name="connsiteY33" fmla="*/ 468573 h 782471"/>
                <a:gd name="connsiteX34" fmla="*/ 1710519 w 2984311"/>
                <a:gd name="connsiteY34" fmla="*/ 464024 h 782471"/>
                <a:gd name="connsiteX35" fmla="*/ 1701421 w 2984311"/>
                <a:gd name="connsiteY35" fmla="*/ 450376 h 782471"/>
                <a:gd name="connsiteX36" fmla="*/ 1687773 w 2984311"/>
                <a:gd name="connsiteY36" fmla="*/ 441278 h 782471"/>
                <a:gd name="connsiteX37" fmla="*/ 1683224 w 2984311"/>
                <a:gd name="connsiteY37" fmla="*/ 427630 h 782471"/>
                <a:gd name="connsiteX38" fmla="*/ 1665027 w 2984311"/>
                <a:gd name="connsiteY38" fmla="*/ 400334 h 782471"/>
                <a:gd name="connsiteX39" fmla="*/ 1646830 w 2984311"/>
                <a:gd name="connsiteY39" fmla="*/ 373039 h 782471"/>
                <a:gd name="connsiteX40" fmla="*/ 1633182 w 2984311"/>
                <a:gd name="connsiteY40" fmla="*/ 363940 h 782471"/>
                <a:gd name="connsiteX41" fmla="*/ 1601337 w 2984311"/>
                <a:gd name="connsiteY41" fmla="*/ 345743 h 782471"/>
                <a:gd name="connsiteX42" fmla="*/ 1587689 w 2984311"/>
                <a:gd name="connsiteY42" fmla="*/ 318448 h 782471"/>
                <a:gd name="connsiteX43" fmla="*/ 1574042 w 2984311"/>
                <a:gd name="connsiteY43" fmla="*/ 309349 h 782471"/>
                <a:gd name="connsiteX44" fmla="*/ 1542197 w 2984311"/>
                <a:gd name="connsiteY44" fmla="*/ 286603 h 782471"/>
                <a:gd name="connsiteX45" fmla="*/ 1501254 w 2984311"/>
                <a:gd name="connsiteY45" fmla="*/ 277505 h 782471"/>
                <a:gd name="connsiteX46" fmla="*/ 1473958 w 2984311"/>
                <a:gd name="connsiteY46" fmla="*/ 268406 h 782471"/>
                <a:gd name="connsiteX47" fmla="*/ 1460310 w 2984311"/>
                <a:gd name="connsiteY47" fmla="*/ 259308 h 782471"/>
                <a:gd name="connsiteX48" fmla="*/ 1433015 w 2984311"/>
                <a:gd name="connsiteY48" fmla="*/ 250209 h 782471"/>
                <a:gd name="connsiteX49" fmla="*/ 1360227 w 2984311"/>
                <a:gd name="connsiteY49" fmla="*/ 236561 h 782471"/>
                <a:gd name="connsiteX50" fmla="*/ 1332931 w 2984311"/>
                <a:gd name="connsiteY50" fmla="*/ 227463 h 782471"/>
                <a:gd name="connsiteX51" fmla="*/ 1319283 w 2984311"/>
                <a:gd name="connsiteY51" fmla="*/ 222913 h 782471"/>
                <a:gd name="connsiteX52" fmla="*/ 1278340 w 2984311"/>
                <a:gd name="connsiteY52" fmla="*/ 227463 h 782471"/>
                <a:gd name="connsiteX53" fmla="*/ 1264692 w 2984311"/>
                <a:gd name="connsiteY53" fmla="*/ 236561 h 782471"/>
                <a:gd name="connsiteX54" fmla="*/ 1246495 w 2984311"/>
                <a:gd name="connsiteY54" fmla="*/ 241111 h 782471"/>
                <a:gd name="connsiteX55" fmla="*/ 1219200 w 2984311"/>
                <a:gd name="connsiteY55" fmla="*/ 254758 h 782471"/>
                <a:gd name="connsiteX56" fmla="*/ 1191904 w 2984311"/>
                <a:gd name="connsiteY56" fmla="*/ 268406 h 782471"/>
                <a:gd name="connsiteX57" fmla="*/ 1160060 w 2984311"/>
                <a:gd name="connsiteY57" fmla="*/ 272955 h 782471"/>
                <a:gd name="connsiteX58" fmla="*/ 1105468 w 2984311"/>
                <a:gd name="connsiteY58" fmla="*/ 291152 h 782471"/>
                <a:gd name="connsiteX59" fmla="*/ 1073624 w 2984311"/>
                <a:gd name="connsiteY59" fmla="*/ 304800 h 782471"/>
                <a:gd name="connsiteX60" fmla="*/ 896203 w 2984311"/>
                <a:gd name="connsiteY60" fmla="*/ 309349 h 782471"/>
                <a:gd name="connsiteX61" fmla="*/ 868907 w 2984311"/>
                <a:gd name="connsiteY61" fmla="*/ 322997 h 782471"/>
                <a:gd name="connsiteX62" fmla="*/ 855260 w 2984311"/>
                <a:gd name="connsiteY62" fmla="*/ 327546 h 782471"/>
                <a:gd name="connsiteX63" fmla="*/ 782471 w 2984311"/>
                <a:gd name="connsiteY63" fmla="*/ 322997 h 782471"/>
                <a:gd name="connsiteX64" fmla="*/ 768824 w 2984311"/>
                <a:gd name="connsiteY64" fmla="*/ 318448 h 782471"/>
                <a:gd name="connsiteX65" fmla="*/ 723331 w 2984311"/>
                <a:gd name="connsiteY65" fmla="*/ 304800 h 782471"/>
                <a:gd name="connsiteX66" fmla="*/ 709683 w 2984311"/>
                <a:gd name="connsiteY66" fmla="*/ 300251 h 782471"/>
                <a:gd name="connsiteX67" fmla="*/ 696036 w 2984311"/>
                <a:gd name="connsiteY67" fmla="*/ 295702 h 782471"/>
                <a:gd name="connsiteX68" fmla="*/ 641445 w 2984311"/>
                <a:gd name="connsiteY68" fmla="*/ 291152 h 782471"/>
                <a:gd name="connsiteX69" fmla="*/ 591403 w 2984311"/>
                <a:gd name="connsiteY69" fmla="*/ 282054 h 782471"/>
                <a:gd name="connsiteX70" fmla="*/ 573206 w 2984311"/>
                <a:gd name="connsiteY70" fmla="*/ 277505 h 782471"/>
                <a:gd name="connsiteX71" fmla="*/ 545910 w 2984311"/>
                <a:gd name="connsiteY71" fmla="*/ 268406 h 782471"/>
                <a:gd name="connsiteX72" fmla="*/ 514066 w 2984311"/>
                <a:gd name="connsiteY72" fmla="*/ 263857 h 782471"/>
                <a:gd name="connsiteX73" fmla="*/ 491319 w 2984311"/>
                <a:gd name="connsiteY73" fmla="*/ 259308 h 782471"/>
                <a:gd name="connsiteX74" fmla="*/ 459474 w 2984311"/>
                <a:gd name="connsiteY74" fmla="*/ 254758 h 782471"/>
                <a:gd name="connsiteX75" fmla="*/ 432179 w 2984311"/>
                <a:gd name="connsiteY75" fmla="*/ 236561 h 782471"/>
                <a:gd name="connsiteX76" fmla="*/ 423080 w 2984311"/>
                <a:gd name="connsiteY76" fmla="*/ 222913 h 782471"/>
                <a:gd name="connsiteX77" fmla="*/ 404883 w 2984311"/>
                <a:gd name="connsiteY77" fmla="*/ 213815 h 782471"/>
                <a:gd name="connsiteX78" fmla="*/ 391236 w 2984311"/>
                <a:gd name="connsiteY78" fmla="*/ 204716 h 782471"/>
                <a:gd name="connsiteX79" fmla="*/ 373039 w 2984311"/>
                <a:gd name="connsiteY79" fmla="*/ 177421 h 782471"/>
                <a:gd name="connsiteX80" fmla="*/ 350292 w 2984311"/>
                <a:gd name="connsiteY80" fmla="*/ 150125 h 782471"/>
                <a:gd name="connsiteX81" fmla="*/ 322997 w 2984311"/>
                <a:gd name="connsiteY81" fmla="*/ 131928 h 782471"/>
                <a:gd name="connsiteX82" fmla="*/ 295701 w 2984311"/>
                <a:gd name="connsiteY82" fmla="*/ 113731 h 782471"/>
                <a:gd name="connsiteX83" fmla="*/ 286603 w 2984311"/>
                <a:gd name="connsiteY83" fmla="*/ 100084 h 782471"/>
                <a:gd name="connsiteX84" fmla="*/ 272955 w 2984311"/>
                <a:gd name="connsiteY84" fmla="*/ 95534 h 782471"/>
                <a:gd name="connsiteX85" fmla="*/ 259307 w 2984311"/>
                <a:gd name="connsiteY85" fmla="*/ 86436 h 782471"/>
                <a:gd name="connsiteX86" fmla="*/ 232012 w 2984311"/>
                <a:gd name="connsiteY86" fmla="*/ 77337 h 782471"/>
                <a:gd name="connsiteX87" fmla="*/ 218364 w 2984311"/>
                <a:gd name="connsiteY87" fmla="*/ 72788 h 782471"/>
                <a:gd name="connsiteX88" fmla="*/ 204716 w 2984311"/>
                <a:gd name="connsiteY88" fmla="*/ 68239 h 782471"/>
                <a:gd name="connsiteX89" fmla="*/ 191068 w 2984311"/>
                <a:gd name="connsiteY89" fmla="*/ 59140 h 782471"/>
                <a:gd name="connsiteX90" fmla="*/ 163773 w 2984311"/>
                <a:gd name="connsiteY90" fmla="*/ 50042 h 782471"/>
                <a:gd name="connsiteX91" fmla="*/ 136477 w 2984311"/>
                <a:gd name="connsiteY91" fmla="*/ 40943 h 782471"/>
                <a:gd name="connsiteX92" fmla="*/ 122830 w 2984311"/>
                <a:gd name="connsiteY92" fmla="*/ 36394 h 782471"/>
                <a:gd name="connsiteX93" fmla="*/ 0 w 2984311"/>
                <a:gd name="connsiteY93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43116 w 2984311"/>
                <a:gd name="connsiteY5" fmla="*/ 482221 h 782471"/>
                <a:gd name="connsiteX6" fmla="*/ 2515737 w 2984311"/>
                <a:gd name="connsiteY6" fmla="*/ 468573 h 782471"/>
                <a:gd name="connsiteX7" fmla="*/ 2370161 w 2984311"/>
                <a:gd name="connsiteY7" fmla="*/ 459475 h 782471"/>
                <a:gd name="connsiteX8" fmla="*/ 2329218 w 2984311"/>
                <a:gd name="connsiteY8" fmla="*/ 450376 h 782471"/>
                <a:gd name="connsiteX9" fmla="*/ 2301922 w 2984311"/>
                <a:gd name="connsiteY9" fmla="*/ 441278 h 782471"/>
                <a:gd name="connsiteX10" fmla="*/ 2288274 w 2984311"/>
                <a:gd name="connsiteY10" fmla="*/ 436728 h 782471"/>
                <a:gd name="connsiteX11" fmla="*/ 2247331 w 2984311"/>
                <a:gd name="connsiteY11" fmla="*/ 413982 h 782471"/>
                <a:gd name="connsiteX12" fmla="*/ 2233683 w 2984311"/>
                <a:gd name="connsiteY12" fmla="*/ 409433 h 782471"/>
                <a:gd name="connsiteX13" fmla="*/ 2220036 w 2984311"/>
                <a:gd name="connsiteY13" fmla="*/ 404884 h 782471"/>
                <a:gd name="connsiteX14" fmla="*/ 2192740 w 2984311"/>
                <a:gd name="connsiteY14" fmla="*/ 418531 h 782471"/>
                <a:gd name="connsiteX15" fmla="*/ 2179092 w 2984311"/>
                <a:gd name="connsiteY15" fmla="*/ 427630 h 782471"/>
                <a:gd name="connsiteX16" fmla="*/ 2151797 w 2984311"/>
                <a:gd name="connsiteY16" fmla="*/ 436728 h 782471"/>
                <a:gd name="connsiteX17" fmla="*/ 2138149 w 2984311"/>
                <a:gd name="connsiteY17" fmla="*/ 441278 h 782471"/>
                <a:gd name="connsiteX18" fmla="*/ 2124501 w 2984311"/>
                <a:gd name="connsiteY18" fmla="*/ 445827 h 782471"/>
                <a:gd name="connsiteX19" fmla="*/ 2083558 w 2984311"/>
                <a:gd name="connsiteY19" fmla="*/ 464024 h 782471"/>
                <a:gd name="connsiteX20" fmla="*/ 2069910 w 2984311"/>
                <a:gd name="connsiteY20" fmla="*/ 473122 h 782471"/>
                <a:gd name="connsiteX21" fmla="*/ 2056263 w 2984311"/>
                <a:gd name="connsiteY21" fmla="*/ 477672 h 782471"/>
                <a:gd name="connsiteX22" fmla="*/ 1988024 w 2984311"/>
                <a:gd name="connsiteY22" fmla="*/ 473122 h 782471"/>
                <a:gd name="connsiteX23" fmla="*/ 1969827 w 2984311"/>
                <a:gd name="connsiteY23" fmla="*/ 468573 h 782471"/>
                <a:gd name="connsiteX24" fmla="*/ 1878842 w 2984311"/>
                <a:gd name="connsiteY24" fmla="*/ 473122 h 782471"/>
                <a:gd name="connsiteX25" fmla="*/ 1851546 w 2984311"/>
                <a:gd name="connsiteY25" fmla="*/ 486770 h 782471"/>
                <a:gd name="connsiteX26" fmla="*/ 1842448 w 2984311"/>
                <a:gd name="connsiteY26" fmla="*/ 500418 h 782471"/>
                <a:gd name="connsiteX27" fmla="*/ 1815152 w 2984311"/>
                <a:gd name="connsiteY27" fmla="*/ 509516 h 782471"/>
                <a:gd name="connsiteX28" fmla="*/ 1787857 w 2984311"/>
                <a:gd name="connsiteY28" fmla="*/ 518615 h 782471"/>
                <a:gd name="connsiteX29" fmla="*/ 1774209 w 2984311"/>
                <a:gd name="connsiteY29" fmla="*/ 523164 h 782471"/>
                <a:gd name="connsiteX30" fmla="*/ 1733266 w 2984311"/>
                <a:gd name="connsiteY30" fmla="*/ 509516 h 782471"/>
                <a:gd name="connsiteX31" fmla="*/ 1728716 w 2984311"/>
                <a:gd name="connsiteY31" fmla="*/ 495869 h 782471"/>
                <a:gd name="connsiteX32" fmla="*/ 1724167 w 2984311"/>
                <a:gd name="connsiteY32" fmla="*/ 468573 h 782471"/>
                <a:gd name="connsiteX33" fmla="*/ 1710519 w 2984311"/>
                <a:gd name="connsiteY33" fmla="*/ 464024 h 782471"/>
                <a:gd name="connsiteX34" fmla="*/ 1701421 w 2984311"/>
                <a:gd name="connsiteY34" fmla="*/ 450376 h 782471"/>
                <a:gd name="connsiteX35" fmla="*/ 1687773 w 2984311"/>
                <a:gd name="connsiteY35" fmla="*/ 441278 h 782471"/>
                <a:gd name="connsiteX36" fmla="*/ 1683224 w 2984311"/>
                <a:gd name="connsiteY36" fmla="*/ 427630 h 782471"/>
                <a:gd name="connsiteX37" fmla="*/ 1665027 w 2984311"/>
                <a:gd name="connsiteY37" fmla="*/ 400334 h 782471"/>
                <a:gd name="connsiteX38" fmla="*/ 1646830 w 2984311"/>
                <a:gd name="connsiteY38" fmla="*/ 373039 h 782471"/>
                <a:gd name="connsiteX39" fmla="*/ 1633182 w 2984311"/>
                <a:gd name="connsiteY39" fmla="*/ 363940 h 782471"/>
                <a:gd name="connsiteX40" fmla="*/ 1601337 w 2984311"/>
                <a:gd name="connsiteY40" fmla="*/ 345743 h 782471"/>
                <a:gd name="connsiteX41" fmla="*/ 1587689 w 2984311"/>
                <a:gd name="connsiteY41" fmla="*/ 318448 h 782471"/>
                <a:gd name="connsiteX42" fmla="*/ 1574042 w 2984311"/>
                <a:gd name="connsiteY42" fmla="*/ 309349 h 782471"/>
                <a:gd name="connsiteX43" fmla="*/ 1542197 w 2984311"/>
                <a:gd name="connsiteY43" fmla="*/ 286603 h 782471"/>
                <a:gd name="connsiteX44" fmla="*/ 1501254 w 2984311"/>
                <a:gd name="connsiteY44" fmla="*/ 277505 h 782471"/>
                <a:gd name="connsiteX45" fmla="*/ 1473958 w 2984311"/>
                <a:gd name="connsiteY45" fmla="*/ 268406 h 782471"/>
                <a:gd name="connsiteX46" fmla="*/ 1460310 w 2984311"/>
                <a:gd name="connsiteY46" fmla="*/ 259308 h 782471"/>
                <a:gd name="connsiteX47" fmla="*/ 1433015 w 2984311"/>
                <a:gd name="connsiteY47" fmla="*/ 250209 h 782471"/>
                <a:gd name="connsiteX48" fmla="*/ 1360227 w 2984311"/>
                <a:gd name="connsiteY48" fmla="*/ 236561 h 782471"/>
                <a:gd name="connsiteX49" fmla="*/ 1332931 w 2984311"/>
                <a:gd name="connsiteY49" fmla="*/ 227463 h 782471"/>
                <a:gd name="connsiteX50" fmla="*/ 1319283 w 2984311"/>
                <a:gd name="connsiteY50" fmla="*/ 222913 h 782471"/>
                <a:gd name="connsiteX51" fmla="*/ 1278340 w 2984311"/>
                <a:gd name="connsiteY51" fmla="*/ 227463 h 782471"/>
                <a:gd name="connsiteX52" fmla="*/ 1264692 w 2984311"/>
                <a:gd name="connsiteY52" fmla="*/ 236561 h 782471"/>
                <a:gd name="connsiteX53" fmla="*/ 1246495 w 2984311"/>
                <a:gd name="connsiteY53" fmla="*/ 241111 h 782471"/>
                <a:gd name="connsiteX54" fmla="*/ 1219200 w 2984311"/>
                <a:gd name="connsiteY54" fmla="*/ 254758 h 782471"/>
                <a:gd name="connsiteX55" fmla="*/ 1191904 w 2984311"/>
                <a:gd name="connsiteY55" fmla="*/ 268406 h 782471"/>
                <a:gd name="connsiteX56" fmla="*/ 1160060 w 2984311"/>
                <a:gd name="connsiteY56" fmla="*/ 272955 h 782471"/>
                <a:gd name="connsiteX57" fmla="*/ 1105468 w 2984311"/>
                <a:gd name="connsiteY57" fmla="*/ 291152 h 782471"/>
                <a:gd name="connsiteX58" fmla="*/ 1073624 w 2984311"/>
                <a:gd name="connsiteY58" fmla="*/ 304800 h 782471"/>
                <a:gd name="connsiteX59" fmla="*/ 896203 w 2984311"/>
                <a:gd name="connsiteY59" fmla="*/ 309349 h 782471"/>
                <a:gd name="connsiteX60" fmla="*/ 868907 w 2984311"/>
                <a:gd name="connsiteY60" fmla="*/ 322997 h 782471"/>
                <a:gd name="connsiteX61" fmla="*/ 855260 w 2984311"/>
                <a:gd name="connsiteY61" fmla="*/ 327546 h 782471"/>
                <a:gd name="connsiteX62" fmla="*/ 782471 w 2984311"/>
                <a:gd name="connsiteY62" fmla="*/ 322997 h 782471"/>
                <a:gd name="connsiteX63" fmla="*/ 768824 w 2984311"/>
                <a:gd name="connsiteY63" fmla="*/ 318448 h 782471"/>
                <a:gd name="connsiteX64" fmla="*/ 723331 w 2984311"/>
                <a:gd name="connsiteY64" fmla="*/ 304800 h 782471"/>
                <a:gd name="connsiteX65" fmla="*/ 709683 w 2984311"/>
                <a:gd name="connsiteY65" fmla="*/ 300251 h 782471"/>
                <a:gd name="connsiteX66" fmla="*/ 696036 w 2984311"/>
                <a:gd name="connsiteY66" fmla="*/ 295702 h 782471"/>
                <a:gd name="connsiteX67" fmla="*/ 641445 w 2984311"/>
                <a:gd name="connsiteY67" fmla="*/ 291152 h 782471"/>
                <a:gd name="connsiteX68" fmla="*/ 591403 w 2984311"/>
                <a:gd name="connsiteY68" fmla="*/ 282054 h 782471"/>
                <a:gd name="connsiteX69" fmla="*/ 573206 w 2984311"/>
                <a:gd name="connsiteY69" fmla="*/ 277505 h 782471"/>
                <a:gd name="connsiteX70" fmla="*/ 545910 w 2984311"/>
                <a:gd name="connsiteY70" fmla="*/ 268406 h 782471"/>
                <a:gd name="connsiteX71" fmla="*/ 514066 w 2984311"/>
                <a:gd name="connsiteY71" fmla="*/ 263857 h 782471"/>
                <a:gd name="connsiteX72" fmla="*/ 491319 w 2984311"/>
                <a:gd name="connsiteY72" fmla="*/ 259308 h 782471"/>
                <a:gd name="connsiteX73" fmla="*/ 459474 w 2984311"/>
                <a:gd name="connsiteY73" fmla="*/ 254758 h 782471"/>
                <a:gd name="connsiteX74" fmla="*/ 432179 w 2984311"/>
                <a:gd name="connsiteY74" fmla="*/ 236561 h 782471"/>
                <a:gd name="connsiteX75" fmla="*/ 423080 w 2984311"/>
                <a:gd name="connsiteY75" fmla="*/ 222913 h 782471"/>
                <a:gd name="connsiteX76" fmla="*/ 404883 w 2984311"/>
                <a:gd name="connsiteY76" fmla="*/ 213815 h 782471"/>
                <a:gd name="connsiteX77" fmla="*/ 391236 w 2984311"/>
                <a:gd name="connsiteY77" fmla="*/ 204716 h 782471"/>
                <a:gd name="connsiteX78" fmla="*/ 373039 w 2984311"/>
                <a:gd name="connsiteY78" fmla="*/ 177421 h 782471"/>
                <a:gd name="connsiteX79" fmla="*/ 350292 w 2984311"/>
                <a:gd name="connsiteY79" fmla="*/ 150125 h 782471"/>
                <a:gd name="connsiteX80" fmla="*/ 322997 w 2984311"/>
                <a:gd name="connsiteY80" fmla="*/ 131928 h 782471"/>
                <a:gd name="connsiteX81" fmla="*/ 295701 w 2984311"/>
                <a:gd name="connsiteY81" fmla="*/ 113731 h 782471"/>
                <a:gd name="connsiteX82" fmla="*/ 286603 w 2984311"/>
                <a:gd name="connsiteY82" fmla="*/ 100084 h 782471"/>
                <a:gd name="connsiteX83" fmla="*/ 272955 w 2984311"/>
                <a:gd name="connsiteY83" fmla="*/ 95534 h 782471"/>
                <a:gd name="connsiteX84" fmla="*/ 259307 w 2984311"/>
                <a:gd name="connsiteY84" fmla="*/ 86436 h 782471"/>
                <a:gd name="connsiteX85" fmla="*/ 232012 w 2984311"/>
                <a:gd name="connsiteY85" fmla="*/ 77337 h 782471"/>
                <a:gd name="connsiteX86" fmla="*/ 218364 w 2984311"/>
                <a:gd name="connsiteY86" fmla="*/ 72788 h 782471"/>
                <a:gd name="connsiteX87" fmla="*/ 204716 w 2984311"/>
                <a:gd name="connsiteY87" fmla="*/ 68239 h 782471"/>
                <a:gd name="connsiteX88" fmla="*/ 191068 w 2984311"/>
                <a:gd name="connsiteY88" fmla="*/ 59140 h 782471"/>
                <a:gd name="connsiteX89" fmla="*/ 163773 w 2984311"/>
                <a:gd name="connsiteY89" fmla="*/ 50042 h 782471"/>
                <a:gd name="connsiteX90" fmla="*/ 136477 w 2984311"/>
                <a:gd name="connsiteY90" fmla="*/ 40943 h 782471"/>
                <a:gd name="connsiteX91" fmla="*/ 122830 w 2984311"/>
                <a:gd name="connsiteY91" fmla="*/ 36394 h 782471"/>
                <a:gd name="connsiteX92" fmla="*/ 0 w 2984311"/>
                <a:gd name="connsiteY92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20369 w 2984311"/>
                <a:gd name="connsiteY5" fmla="*/ 491319 h 782471"/>
                <a:gd name="connsiteX6" fmla="*/ 2515737 w 2984311"/>
                <a:gd name="connsiteY6" fmla="*/ 468573 h 782471"/>
                <a:gd name="connsiteX7" fmla="*/ 2370161 w 2984311"/>
                <a:gd name="connsiteY7" fmla="*/ 459475 h 782471"/>
                <a:gd name="connsiteX8" fmla="*/ 2329218 w 2984311"/>
                <a:gd name="connsiteY8" fmla="*/ 450376 h 782471"/>
                <a:gd name="connsiteX9" fmla="*/ 2301922 w 2984311"/>
                <a:gd name="connsiteY9" fmla="*/ 441278 h 782471"/>
                <a:gd name="connsiteX10" fmla="*/ 2288274 w 2984311"/>
                <a:gd name="connsiteY10" fmla="*/ 436728 h 782471"/>
                <a:gd name="connsiteX11" fmla="*/ 2247331 w 2984311"/>
                <a:gd name="connsiteY11" fmla="*/ 413982 h 782471"/>
                <a:gd name="connsiteX12" fmla="*/ 2233683 w 2984311"/>
                <a:gd name="connsiteY12" fmla="*/ 409433 h 782471"/>
                <a:gd name="connsiteX13" fmla="*/ 2220036 w 2984311"/>
                <a:gd name="connsiteY13" fmla="*/ 404884 h 782471"/>
                <a:gd name="connsiteX14" fmla="*/ 2192740 w 2984311"/>
                <a:gd name="connsiteY14" fmla="*/ 418531 h 782471"/>
                <a:gd name="connsiteX15" fmla="*/ 2179092 w 2984311"/>
                <a:gd name="connsiteY15" fmla="*/ 427630 h 782471"/>
                <a:gd name="connsiteX16" fmla="*/ 2151797 w 2984311"/>
                <a:gd name="connsiteY16" fmla="*/ 436728 h 782471"/>
                <a:gd name="connsiteX17" fmla="*/ 2138149 w 2984311"/>
                <a:gd name="connsiteY17" fmla="*/ 441278 h 782471"/>
                <a:gd name="connsiteX18" fmla="*/ 2124501 w 2984311"/>
                <a:gd name="connsiteY18" fmla="*/ 445827 h 782471"/>
                <a:gd name="connsiteX19" fmla="*/ 2083558 w 2984311"/>
                <a:gd name="connsiteY19" fmla="*/ 464024 h 782471"/>
                <a:gd name="connsiteX20" fmla="*/ 2069910 w 2984311"/>
                <a:gd name="connsiteY20" fmla="*/ 473122 h 782471"/>
                <a:gd name="connsiteX21" fmla="*/ 2056263 w 2984311"/>
                <a:gd name="connsiteY21" fmla="*/ 477672 h 782471"/>
                <a:gd name="connsiteX22" fmla="*/ 1988024 w 2984311"/>
                <a:gd name="connsiteY22" fmla="*/ 473122 h 782471"/>
                <a:gd name="connsiteX23" fmla="*/ 1969827 w 2984311"/>
                <a:gd name="connsiteY23" fmla="*/ 468573 h 782471"/>
                <a:gd name="connsiteX24" fmla="*/ 1878842 w 2984311"/>
                <a:gd name="connsiteY24" fmla="*/ 473122 h 782471"/>
                <a:gd name="connsiteX25" fmla="*/ 1851546 w 2984311"/>
                <a:gd name="connsiteY25" fmla="*/ 486770 h 782471"/>
                <a:gd name="connsiteX26" fmla="*/ 1842448 w 2984311"/>
                <a:gd name="connsiteY26" fmla="*/ 500418 h 782471"/>
                <a:gd name="connsiteX27" fmla="*/ 1815152 w 2984311"/>
                <a:gd name="connsiteY27" fmla="*/ 509516 h 782471"/>
                <a:gd name="connsiteX28" fmla="*/ 1787857 w 2984311"/>
                <a:gd name="connsiteY28" fmla="*/ 518615 h 782471"/>
                <a:gd name="connsiteX29" fmla="*/ 1774209 w 2984311"/>
                <a:gd name="connsiteY29" fmla="*/ 523164 h 782471"/>
                <a:gd name="connsiteX30" fmla="*/ 1733266 w 2984311"/>
                <a:gd name="connsiteY30" fmla="*/ 509516 h 782471"/>
                <a:gd name="connsiteX31" fmla="*/ 1728716 w 2984311"/>
                <a:gd name="connsiteY31" fmla="*/ 495869 h 782471"/>
                <a:gd name="connsiteX32" fmla="*/ 1724167 w 2984311"/>
                <a:gd name="connsiteY32" fmla="*/ 468573 h 782471"/>
                <a:gd name="connsiteX33" fmla="*/ 1710519 w 2984311"/>
                <a:gd name="connsiteY33" fmla="*/ 464024 h 782471"/>
                <a:gd name="connsiteX34" fmla="*/ 1701421 w 2984311"/>
                <a:gd name="connsiteY34" fmla="*/ 450376 h 782471"/>
                <a:gd name="connsiteX35" fmla="*/ 1687773 w 2984311"/>
                <a:gd name="connsiteY35" fmla="*/ 441278 h 782471"/>
                <a:gd name="connsiteX36" fmla="*/ 1683224 w 2984311"/>
                <a:gd name="connsiteY36" fmla="*/ 427630 h 782471"/>
                <a:gd name="connsiteX37" fmla="*/ 1665027 w 2984311"/>
                <a:gd name="connsiteY37" fmla="*/ 400334 h 782471"/>
                <a:gd name="connsiteX38" fmla="*/ 1646830 w 2984311"/>
                <a:gd name="connsiteY38" fmla="*/ 373039 h 782471"/>
                <a:gd name="connsiteX39" fmla="*/ 1633182 w 2984311"/>
                <a:gd name="connsiteY39" fmla="*/ 363940 h 782471"/>
                <a:gd name="connsiteX40" fmla="*/ 1601337 w 2984311"/>
                <a:gd name="connsiteY40" fmla="*/ 345743 h 782471"/>
                <a:gd name="connsiteX41" fmla="*/ 1587689 w 2984311"/>
                <a:gd name="connsiteY41" fmla="*/ 318448 h 782471"/>
                <a:gd name="connsiteX42" fmla="*/ 1574042 w 2984311"/>
                <a:gd name="connsiteY42" fmla="*/ 309349 h 782471"/>
                <a:gd name="connsiteX43" fmla="*/ 1542197 w 2984311"/>
                <a:gd name="connsiteY43" fmla="*/ 286603 h 782471"/>
                <a:gd name="connsiteX44" fmla="*/ 1501254 w 2984311"/>
                <a:gd name="connsiteY44" fmla="*/ 277505 h 782471"/>
                <a:gd name="connsiteX45" fmla="*/ 1473958 w 2984311"/>
                <a:gd name="connsiteY45" fmla="*/ 268406 h 782471"/>
                <a:gd name="connsiteX46" fmla="*/ 1460310 w 2984311"/>
                <a:gd name="connsiteY46" fmla="*/ 259308 h 782471"/>
                <a:gd name="connsiteX47" fmla="*/ 1433015 w 2984311"/>
                <a:gd name="connsiteY47" fmla="*/ 250209 h 782471"/>
                <a:gd name="connsiteX48" fmla="*/ 1360227 w 2984311"/>
                <a:gd name="connsiteY48" fmla="*/ 236561 h 782471"/>
                <a:gd name="connsiteX49" fmla="*/ 1332931 w 2984311"/>
                <a:gd name="connsiteY49" fmla="*/ 227463 h 782471"/>
                <a:gd name="connsiteX50" fmla="*/ 1319283 w 2984311"/>
                <a:gd name="connsiteY50" fmla="*/ 222913 h 782471"/>
                <a:gd name="connsiteX51" fmla="*/ 1278340 w 2984311"/>
                <a:gd name="connsiteY51" fmla="*/ 227463 h 782471"/>
                <a:gd name="connsiteX52" fmla="*/ 1264692 w 2984311"/>
                <a:gd name="connsiteY52" fmla="*/ 236561 h 782471"/>
                <a:gd name="connsiteX53" fmla="*/ 1246495 w 2984311"/>
                <a:gd name="connsiteY53" fmla="*/ 241111 h 782471"/>
                <a:gd name="connsiteX54" fmla="*/ 1219200 w 2984311"/>
                <a:gd name="connsiteY54" fmla="*/ 254758 h 782471"/>
                <a:gd name="connsiteX55" fmla="*/ 1191904 w 2984311"/>
                <a:gd name="connsiteY55" fmla="*/ 268406 h 782471"/>
                <a:gd name="connsiteX56" fmla="*/ 1160060 w 2984311"/>
                <a:gd name="connsiteY56" fmla="*/ 272955 h 782471"/>
                <a:gd name="connsiteX57" fmla="*/ 1105468 w 2984311"/>
                <a:gd name="connsiteY57" fmla="*/ 291152 h 782471"/>
                <a:gd name="connsiteX58" fmla="*/ 1073624 w 2984311"/>
                <a:gd name="connsiteY58" fmla="*/ 304800 h 782471"/>
                <a:gd name="connsiteX59" fmla="*/ 896203 w 2984311"/>
                <a:gd name="connsiteY59" fmla="*/ 309349 h 782471"/>
                <a:gd name="connsiteX60" fmla="*/ 868907 w 2984311"/>
                <a:gd name="connsiteY60" fmla="*/ 322997 h 782471"/>
                <a:gd name="connsiteX61" fmla="*/ 855260 w 2984311"/>
                <a:gd name="connsiteY61" fmla="*/ 327546 h 782471"/>
                <a:gd name="connsiteX62" fmla="*/ 782471 w 2984311"/>
                <a:gd name="connsiteY62" fmla="*/ 322997 h 782471"/>
                <a:gd name="connsiteX63" fmla="*/ 768824 w 2984311"/>
                <a:gd name="connsiteY63" fmla="*/ 318448 h 782471"/>
                <a:gd name="connsiteX64" fmla="*/ 723331 w 2984311"/>
                <a:gd name="connsiteY64" fmla="*/ 304800 h 782471"/>
                <a:gd name="connsiteX65" fmla="*/ 709683 w 2984311"/>
                <a:gd name="connsiteY65" fmla="*/ 300251 h 782471"/>
                <a:gd name="connsiteX66" fmla="*/ 696036 w 2984311"/>
                <a:gd name="connsiteY66" fmla="*/ 295702 h 782471"/>
                <a:gd name="connsiteX67" fmla="*/ 641445 w 2984311"/>
                <a:gd name="connsiteY67" fmla="*/ 291152 h 782471"/>
                <a:gd name="connsiteX68" fmla="*/ 591403 w 2984311"/>
                <a:gd name="connsiteY68" fmla="*/ 282054 h 782471"/>
                <a:gd name="connsiteX69" fmla="*/ 573206 w 2984311"/>
                <a:gd name="connsiteY69" fmla="*/ 277505 h 782471"/>
                <a:gd name="connsiteX70" fmla="*/ 545910 w 2984311"/>
                <a:gd name="connsiteY70" fmla="*/ 268406 h 782471"/>
                <a:gd name="connsiteX71" fmla="*/ 514066 w 2984311"/>
                <a:gd name="connsiteY71" fmla="*/ 263857 h 782471"/>
                <a:gd name="connsiteX72" fmla="*/ 491319 w 2984311"/>
                <a:gd name="connsiteY72" fmla="*/ 259308 h 782471"/>
                <a:gd name="connsiteX73" fmla="*/ 459474 w 2984311"/>
                <a:gd name="connsiteY73" fmla="*/ 254758 h 782471"/>
                <a:gd name="connsiteX74" fmla="*/ 432179 w 2984311"/>
                <a:gd name="connsiteY74" fmla="*/ 236561 h 782471"/>
                <a:gd name="connsiteX75" fmla="*/ 423080 w 2984311"/>
                <a:gd name="connsiteY75" fmla="*/ 222913 h 782471"/>
                <a:gd name="connsiteX76" fmla="*/ 404883 w 2984311"/>
                <a:gd name="connsiteY76" fmla="*/ 213815 h 782471"/>
                <a:gd name="connsiteX77" fmla="*/ 391236 w 2984311"/>
                <a:gd name="connsiteY77" fmla="*/ 204716 h 782471"/>
                <a:gd name="connsiteX78" fmla="*/ 373039 w 2984311"/>
                <a:gd name="connsiteY78" fmla="*/ 177421 h 782471"/>
                <a:gd name="connsiteX79" fmla="*/ 350292 w 2984311"/>
                <a:gd name="connsiteY79" fmla="*/ 150125 h 782471"/>
                <a:gd name="connsiteX80" fmla="*/ 322997 w 2984311"/>
                <a:gd name="connsiteY80" fmla="*/ 131928 h 782471"/>
                <a:gd name="connsiteX81" fmla="*/ 295701 w 2984311"/>
                <a:gd name="connsiteY81" fmla="*/ 113731 h 782471"/>
                <a:gd name="connsiteX82" fmla="*/ 286603 w 2984311"/>
                <a:gd name="connsiteY82" fmla="*/ 100084 h 782471"/>
                <a:gd name="connsiteX83" fmla="*/ 272955 w 2984311"/>
                <a:gd name="connsiteY83" fmla="*/ 95534 h 782471"/>
                <a:gd name="connsiteX84" fmla="*/ 259307 w 2984311"/>
                <a:gd name="connsiteY84" fmla="*/ 86436 h 782471"/>
                <a:gd name="connsiteX85" fmla="*/ 232012 w 2984311"/>
                <a:gd name="connsiteY85" fmla="*/ 77337 h 782471"/>
                <a:gd name="connsiteX86" fmla="*/ 218364 w 2984311"/>
                <a:gd name="connsiteY86" fmla="*/ 72788 h 782471"/>
                <a:gd name="connsiteX87" fmla="*/ 204716 w 2984311"/>
                <a:gd name="connsiteY87" fmla="*/ 68239 h 782471"/>
                <a:gd name="connsiteX88" fmla="*/ 191068 w 2984311"/>
                <a:gd name="connsiteY88" fmla="*/ 59140 h 782471"/>
                <a:gd name="connsiteX89" fmla="*/ 163773 w 2984311"/>
                <a:gd name="connsiteY89" fmla="*/ 50042 h 782471"/>
                <a:gd name="connsiteX90" fmla="*/ 136477 w 2984311"/>
                <a:gd name="connsiteY90" fmla="*/ 40943 h 782471"/>
                <a:gd name="connsiteX91" fmla="*/ 122830 w 2984311"/>
                <a:gd name="connsiteY91" fmla="*/ 36394 h 782471"/>
                <a:gd name="connsiteX92" fmla="*/ 0 w 2984311"/>
                <a:gd name="connsiteY92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20369 w 2984311"/>
                <a:gd name="connsiteY5" fmla="*/ 491319 h 782471"/>
                <a:gd name="connsiteX6" fmla="*/ 2483892 w 2984311"/>
                <a:gd name="connsiteY6" fmla="*/ 477672 h 782471"/>
                <a:gd name="connsiteX7" fmla="*/ 2370161 w 2984311"/>
                <a:gd name="connsiteY7" fmla="*/ 459475 h 782471"/>
                <a:gd name="connsiteX8" fmla="*/ 2329218 w 2984311"/>
                <a:gd name="connsiteY8" fmla="*/ 450376 h 782471"/>
                <a:gd name="connsiteX9" fmla="*/ 2301922 w 2984311"/>
                <a:gd name="connsiteY9" fmla="*/ 441278 h 782471"/>
                <a:gd name="connsiteX10" fmla="*/ 2288274 w 2984311"/>
                <a:gd name="connsiteY10" fmla="*/ 436728 h 782471"/>
                <a:gd name="connsiteX11" fmla="*/ 2247331 w 2984311"/>
                <a:gd name="connsiteY11" fmla="*/ 413982 h 782471"/>
                <a:gd name="connsiteX12" fmla="*/ 2233683 w 2984311"/>
                <a:gd name="connsiteY12" fmla="*/ 409433 h 782471"/>
                <a:gd name="connsiteX13" fmla="*/ 2220036 w 2984311"/>
                <a:gd name="connsiteY13" fmla="*/ 404884 h 782471"/>
                <a:gd name="connsiteX14" fmla="*/ 2192740 w 2984311"/>
                <a:gd name="connsiteY14" fmla="*/ 418531 h 782471"/>
                <a:gd name="connsiteX15" fmla="*/ 2179092 w 2984311"/>
                <a:gd name="connsiteY15" fmla="*/ 427630 h 782471"/>
                <a:gd name="connsiteX16" fmla="*/ 2151797 w 2984311"/>
                <a:gd name="connsiteY16" fmla="*/ 436728 h 782471"/>
                <a:gd name="connsiteX17" fmla="*/ 2138149 w 2984311"/>
                <a:gd name="connsiteY17" fmla="*/ 441278 h 782471"/>
                <a:gd name="connsiteX18" fmla="*/ 2124501 w 2984311"/>
                <a:gd name="connsiteY18" fmla="*/ 445827 h 782471"/>
                <a:gd name="connsiteX19" fmla="*/ 2083558 w 2984311"/>
                <a:gd name="connsiteY19" fmla="*/ 464024 h 782471"/>
                <a:gd name="connsiteX20" fmla="*/ 2069910 w 2984311"/>
                <a:gd name="connsiteY20" fmla="*/ 473122 h 782471"/>
                <a:gd name="connsiteX21" fmla="*/ 2056263 w 2984311"/>
                <a:gd name="connsiteY21" fmla="*/ 477672 h 782471"/>
                <a:gd name="connsiteX22" fmla="*/ 1988024 w 2984311"/>
                <a:gd name="connsiteY22" fmla="*/ 473122 h 782471"/>
                <a:gd name="connsiteX23" fmla="*/ 1969827 w 2984311"/>
                <a:gd name="connsiteY23" fmla="*/ 468573 h 782471"/>
                <a:gd name="connsiteX24" fmla="*/ 1878842 w 2984311"/>
                <a:gd name="connsiteY24" fmla="*/ 473122 h 782471"/>
                <a:gd name="connsiteX25" fmla="*/ 1851546 w 2984311"/>
                <a:gd name="connsiteY25" fmla="*/ 486770 h 782471"/>
                <a:gd name="connsiteX26" fmla="*/ 1842448 w 2984311"/>
                <a:gd name="connsiteY26" fmla="*/ 500418 h 782471"/>
                <a:gd name="connsiteX27" fmla="*/ 1815152 w 2984311"/>
                <a:gd name="connsiteY27" fmla="*/ 509516 h 782471"/>
                <a:gd name="connsiteX28" fmla="*/ 1787857 w 2984311"/>
                <a:gd name="connsiteY28" fmla="*/ 518615 h 782471"/>
                <a:gd name="connsiteX29" fmla="*/ 1774209 w 2984311"/>
                <a:gd name="connsiteY29" fmla="*/ 523164 h 782471"/>
                <a:gd name="connsiteX30" fmla="*/ 1733266 w 2984311"/>
                <a:gd name="connsiteY30" fmla="*/ 509516 h 782471"/>
                <a:gd name="connsiteX31" fmla="*/ 1728716 w 2984311"/>
                <a:gd name="connsiteY31" fmla="*/ 495869 h 782471"/>
                <a:gd name="connsiteX32" fmla="*/ 1724167 w 2984311"/>
                <a:gd name="connsiteY32" fmla="*/ 468573 h 782471"/>
                <a:gd name="connsiteX33" fmla="*/ 1710519 w 2984311"/>
                <a:gd name="connsiteY33" fmla="*/ 464024 h 782471"/>
                <a:gd name="connsiteX34" fmla="*/ 1701421 w 2984311"/>
                <a:gd name="connsiteY34" fmla="*/ 450376 h 782471"/>
                <a:gd name="connsiteX35" fmla="*/ 1687773 w 2984311"/>
                <a:gd name="connsiteY35" fmla="*/ 441278 h 782471"/>
                <a:gd name="connsiteX36" fmla="*/ 1683224 w 2984311"/>
                <a:gd name="connsiteY36" fmla="*/ 427630 h 782471"/>
                <a:gd name="connsiteX37" fmla="*/ 1665027 w 2984311"/>
                <a:gd name="connsiteY37" fmla="*/ 400334 h 782471"/>
                <a:gd name="connsiteX38" fmla="*/ 1646830 w 2984311"/>
                <a:gd name="connsiteY38" fmla="*/ 373039 h 782471"/>
                <a:gd name="connsiteX39" fmla="*/ 1633182 w 2984311"/>
                <a:gd name="connsiteY39" fmla="*/ 363940 h 782471"/>
                <a:gd name="connsiteX40" fmla="*/ 1601337 w 2984311"/>
                <a:gd name="connsiteY40" fmla="*/ 345743 h 782471"/>
                <a:gd name="connsiteX41" fmla="*/ 1587689 w 2984311"/>
                <a:gd name="connsiteY41" fmla="*/ 318448 h 782471"/>
                <a:gd name="connsiteX42" fmla="*/ 1574042 w 2984311"/>
                <a:gd name="connsiteY42" fmla="*/ 309349 h 782471"/>
                <a:gd name="connsiteX43" fmla="*/ 1542197 w 2984311"/>
                <a:gd name="connsiteY43" fmla="*/ 286603 h 782471"/>
                <a:gd name="connsiteX44" fmla="*/ 1501254 w 2984311"/>
                <a:gd name="connsiteY44" fmla="*/ 277505 h 782471"/>
                <a:gd name="connsiteX45" fmla="*/ 1473958 w 2984311"/>
                <a:gd name="connsiteY45" fmla="*/ 268406 h 782471"/>
                <a:gd name="connsiteX46" fmla="*/ 1460310 w 2984311"/>
                <a:gd name="connsiteY46" fmla="*/ 259308 h 782471"/>
                <a:gd name="connsiteX47" fmla="*/ 1433015 w 2984311"/>
                <a:gd name="connsiteY47" fmla="*/ 250209 h 782471"/>
                <a:gd name="connsiteX48" fmla="*/ 1360227 w 2984311"/>
                <a:gd name="connsiteY48" fmla="*/ 236561 h 782471"/>
                <a:gd name="connsiteX49" fmla="*/ 1332931 w 2984311"/>
                <a:gd name="connsiteY49" fmla="*/ 227463 h 782471"/>
                <a:gd name="connsiteX50" fmla="*/ 1319283 w 2984311"/>
                <a:gd name="connsiteY50" fmla="*/ 222913 h 782471"/>
                <a:gd name="connsiteX51" fmla="*/ 1278340 w 2984311"/>
                <a:gd name="connsiteY51" fmla="*/ 227463 h 782471"/>
                <a:gd name="connsiteX52" fmla="*/ 1264692 w 2984311"/>
                <a:gd name="connsiteY52" fmla="*/ 236561 h 782471"/>
                <a:gd name="connsiteX53" fmla="*/ 1246495 w 2984311"/>
                <a:gd name="connsiteY53" fmla="*/ 241111 h 782471"/>
                <a:gd name="connsiteX54" fmla="*/ 1219200 w 2984311"/>
                <a:gd name="connsiteY54" fmla="*/ 254758 h 782471"/>
                <a:gd name="connsiteX55" fmla="*/ 1191904 w 2984311"/>
                <a:gd name="connsiteY55" fmla="*/ 268406 h 782471"/>
                <a:gd name="connsiteX56" fmla="*/ 1160060 w 2984311"/>
                <a:gd name="connsiteY56" fmla="*/ 272955 h 782471"/>
                <a:gd name="connsiteX57" fmla="*/ 1105468 w 2984311"/>
                <a:gd name="connsiteY57" fmla="*/ 291152 h 782471"/>
                <a:gd name="connsiteX58" fmla="*/ 1073624 w 2984311"/>
                <a:gd name="connsiteY58" fmla="*/ 304800 h 782471"/>
                <a:gd name="connsiteX59" fmla="*/ 896203 w 2984311"/>
                <a:gd name="connsiteY59" fmla="*/ 309349 h 782471"/>
                <a:gd name="connsiteX60" fmla="*/ 868907 w 2984311"/>
                <a:gd name="connsiteY60" fmla="*/ 322997 h 782471"/>
                <a:gd name="connsiteX61" fmla="*/ 855260 w 2984311"/>
                <a:gd name="connsiteY61" fmla="*/ 327546 h 782471"/>
                <a:gd name="connsiteX62" fmla="*/ 782471 w 2984311"/>
                <a:gd name="connsiteY62" fmla="*/ 322997 h 782471"/>
                <a:gd name="connsiteX63" fmla="*/ 768824 w 2984311"/>
                <a:gd name="connsiteY63" fmla="*/ 318448 h 782471"/>
                <a:gd name="connsiteX64" fmla="*/ 723331 w 2984311"/>
                <a:gd name="connsiteY64" fmla="*/ 304800 h 782471"/>
                <a:gd name="connsiteX65" fmla="*/ 709683 w 2984311"/>
                <a:gd name="connsiteY65" fmla="*/ 300251 h 782471"/>
                <a:gd name="connsiteX66" fmla="*/ 696036 w 2984311"/>
                <a:gd name="connsiteY66" fmla="*/ 295702 h 782471"/>
                <a:gd name="connsiteX67" fmla="*/ 641445 w 2984311"/>
                <a:gd name="connsiteY67" fmla="*/ 291152 h 782471"/>
                <a:gd name="connsiteX68" fmla="*/ 591403 w 2984311"/>
                <a:gd name="connsiteY68" fmla="*/ 282054 h 782471"/>
                <a:gd name="connsiteX69" fmla="*/ 573206 w 2984311"/>
                <a:gd name="connsiteY69" fmla="*/ 277505 h 782471"/>
                <a:gd name="connsiteX70" fmla="*/ 545910 w 2984311"/>
                <a:gd name="connsiteY70" fmla="*/ 268406 h 782471"/>
                <a:gd name="connsiteX71" fmla="*/ 514066 w 2984311"/>
                <a:gd name="connsiteY71" fmla="*/ 263857 h 782471"/>
                <a:gd name="connsiteX72" fmla="*/ 491319 w 2984311"/>
                <a:gd name="connsiteY72" fmla="*/ 259308 h 782471"/>
                <a:gd name="connsiteX73" fmla="*/ 459474 w 2984311"/>
                <a:gd name="connsiteY73" fmla="*/ 254758 h 782471"/>
                <a:gd name="connsiteX74" fmla="*/ 432179 w 2984311"/>
                <a:gd name="connsiteY74" fmla="*/ 236561 h 782471"/>
                <a:gd name="connsiteX75" fmla="*/ 423080 w 2984311"/>
                <a:gd name="connsiteY75" fmla="*/ 222913 h 782471"/>
                <a:gd name="connsiteX76" fmla="*/ 404883 w 2984311"/>
                <a:gd name="connsiteY76" fmla="*/ 213815 h 782471"/>
                <a:gd name="connsiteX77" fmla="*/ 391236 w 2984311"/>
                <a:gd name="connsiteY77" fmla="*/ 204716 h 782471"/>
                <a:gd name="connsiteX78" fmla="*/ 373039 w 2984311"/>
                <a:gd name="connsiteY78" fmla="*/ 177421 h 782471"/>
                <a:gd name="connsiteX79" fmla="*/ 350292 w 2984311"/>
                <a:gd name="connsiteY79" fmla="*/ 150125 h 782471"/>
                <a:gd name="connsiteX80" fmla="*/ 322997 w 2984311"/>
                <a:gd name="connsiteY80" fmla="*/ 131928 h 782471"/>
                <a:gd name="connsiteX81" fmla="*/ 295701 w 2984311"/>
                <a:gd name="connsiteY81" fmla="*/ 113731 h 782471"/>
                <a:gd name="connsiteX82" fmla="*/ 286603 w 2984311"/>
                <a:gd name="connsiteY82" fmla="*/ 100084 h 782471"/>
                <a:gd name="connsiteX83" fmla="*/ 272955 w 2984311"/>
                <a:gd name="connsiteY83" fmla="*/ 95534 h 782471"/>
                <a:gd name="connsiteX84" fmla="*/ 259307 w 2984311"/>
                <a:gd name="connsiteY84" fmla="*/ 86436 h 782471"/>
                <a:gd name="connsiteX85" fmla="*/ 232012 w 2984311"/>
                <a:gd name="connsiteY85" fmla="*/ 77337 h 782471"/>
                <a:gd name="connsiteX86" fmla="*/ 218364 w 2984311"/>
                <a:gd name="connsiteY86" fmla="*/ 72788 h 782471"/>
                <a:gd name="connsiteX87" fmla="*/ 204716 w 2984311"/>
                <a:gd name="connsiteY87" fmla="*/ 68239 h 782471"/>
                <a:gd name="connsiteX88" fmla="*/ 191068 w 2984311"/>
                <a:gd name="connsiteY88" fmla="*/ 59140 h 782471"/>
                <a:gd name="connsiteX89" fmla="*/ 163773 w 2984311"/>
                <a:gd name="connsiteY89" fmla="*/ 50042 h 782471"/>
                <a:gd name="connsiteX90" fmla="*/ 136477 w 2984311"/>
                <a:gd name="connsiteY90" fmla="*/ 40943 h 782471"/>
                <a:gd name="connsiteX91" fmla="*/ 122830 w 2984311"/>
                <a:gd name="connsiteY91" fmla="*/ 36394 h 782471"/>
                <a:gd name="connsiteX92" fmla="*/ 0 w 2984311"/>
                <a:gd name="connsiteY92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20369 w 2984311"/>
                <a:gd name="connsiteY5" fmla="*/ 491319 h 782471"/>
                <a:gd name="connsiteX6" fmla="*/ 2370161 w 2984311"/>
                <a:gd name="connsiteY6" fmla="*/ 459475 h 782471"/>
                <a:gd name="connsiteX7" fmla="*/ 2329218 w 2984311"/>
                <a:gd name="connsiteY7" fmla="*/ 450376 h 782471"/>
                <a:gd name="connsiteX8" fmla="*/ 2301922 w 2984311"/>
                <a:gd name="connsiteY8" fmla="*/ 441278 h 782471"/>
                <a:gd name="connsiteX9" fmla="*/ 2288274 w 2984311"/>
                <a:gd name="connsiteY9" fmla="*/ 436728 h 782471"/>
                <a:gd name="connsiteX10" fmla="*/ 2247331 w 2984311"/>
                <a:gd name="connsiteY10" fmla="*/ 413982 h 782471"/>
                <a:gd name="connsiteX11" fmla="*/ 2233683 w 2984311"/>
                <a:gd name="connsiteY11" fmla="*/ 409433 h 782471"/>
                <a:gd name="connsiteX12" fmla="*/ 2220036 w 2984311"/>
                <a:gd name="connsiteY12" fmla="*/ 404884 h 782471"/>
                <a:gd name="connsiteX13" fmla="*/ 2192740 w 2984311"/>
                <a:gd name="connsiteY13" fmla="*/ 418531 h 782471"/>
                <a:gd name="connsiteX14" fmla="*/ 2179092 w 2984311"/>
                <a:gd name="connsiteY14" fmla="*/ 427630 h 782471"/>
                <a:gd name="connsiteX15" fmla="*/ 2151797 w 2984311"/>
                <a:gd name="connsiteY15" fmla="*/ 436728 h 782471"/>
                <a:gd name="connsiteX16" fmla="*/ 2138149 w 2984311"/>
                <a:gd name="connsiteY16" fmla="*/ 441278 h 782471"/>
                <a:gd name="connsiteX17" fmla="*/ 2124501 w 2984311"/>
                <a:gd name="connsiteY17" fmla="*/ 445827 h 782471"/>
                <a:gd name="connsiteX18" fmla="*/ 2083558 w 2984311"/>
                <a:gd name="connsiteY18" fmla="*/ 464024 h 782471"/>
                <a:gd name="connsiteX19" fmla="*/ 2069910 w 2984311"/>
                <a:gd name="connsiteY19" fmla="*/ 473122 h 782471"/>
                <a:gd name="connsiteX20" fmla="*/ 2056263 w 2984311"/>
                <a:gd name="connsiteY20" fmla="*/ 477672 h 782471"/>
                <a:gd name="connsiteX21" fmla="*/ 1988024 w 2984311"/>
                <a:gd name="connsiteY21" fmla="*/ 473122 h 782471"/>
                <a:gd name="connsiteX22" fmla="*/ 1969827 w 2984311"/>
                <a:gd name="connsiteY22" fmla="*/ 468573 h 782471"/>
                <a:gd name="connsiteX23" fmla="*/ 1878842 w 2984311"/>
                <a:gd name="connsiteY23" fmla="*/ 473122 h 782471"/>
                <a:gd name="connsiteX24" fmla="*/ 1851546 w 2984311"/>
                <a:gd name="connsiteY24" fmla="*/ 486770 h 782471"/>
                <a:gd name="connsiteX25" fmla="*/ 1842448 w 2984311"/>
                <a:gd name="connsiteY25" fmla="*/ 500418 h 782471"/>
                <a:gd name="connsiteX26" fmla="*/ 1815152 w 2984311"/>
                <a:gd name="connsiteY26" fmla="*/ 509516 h 782471"/>
                <a:gd name="connsiteX27" fmla="*/ 1787857 w 2984311"/>
                <a:gd name="connsiteY27" fmla="*/ 518615 h 782471"/>
                <a:gd name="connsiteX28" fmla="*/ 1774209 w 2984311"/>
                <a:gd name="connsiteY28" fmla="*/ 523164 h 782471"/>
                <a:gd name="connsiteX29" fmla="*/ 1733266 w 2984311"/>
                <a:gd name="connsiteY29" fmla="*/ 509516 h 782471"/>
                <a:gd name="connsiteX30" fmla="*/ 1728716 w 2984311"/>
                <a:gd name="connsiteY30" fmla="*/ 495869 h 782471"/>
                <a:gd name="connsiteX31" fmla="*/ 1724167 w 2984311"/>
                <a:gd name="connsiteY31" fmla="*/ 468573 h 782471"/>
                <a:gd name="connsiteX32" fmla="*/ 1710519 w 2984311"/>
                <a:gd name="connsiteY32" fmla="*/ 464024 h 782471"/>
                <a:gd name="connsiteX33" fmla="*/ 1701421 w 2984311"/>
                <a:gd name="connsiteY33" fmla="*/ 450376 h 782471"/>
                <a:gd name="connsiteX34" fmla="*/ 1687773 w 2984311"/>
                <a:gd name="connsiteY34" fmla="*/ 441278 h 782471"/>
                <a:gd name="connsiteX35" fmla="*/ 1683224 w 2984311"/>
                <a:gd name="connsiteY35" fmla="*/ 427630 h 782471"/>
                <a:gd name="connsiteX36" fmla="*/ 1665027 w 2984311"/>
                <a:gd name="connsiteY36" fmla="*/ 400334 h 782471"/>
                <a:gd name="connsiteX37" fmla="*/ 1646830 w 2984311"/>
                <a:gd name="connsiteY37" fmla="*/ 373039 h 782471"/>
                <a:gd name="connsiteX38" fmla="*/ 1633182 w 2984311"/>
                <a:gd name="connsiteY38" fmla="*/ 363940 h 782471"/>
                <a:gd name="connsiteX39" fmla="*/ 1601337 w 2984311"/>
                <a:gd name="connsiteY39" fmla="*/ 345743 h 782471"/>
                <a:gd name="connsiteX40" fmla="*/ 1587689 w 2984311"/>
                <a:gd name="connsiteY40" fmla="*/ 318448 h 782471"/>
                <a:gd name="connsiteX41" fmla="*/ 1574042 w 2984311"/>
                <a:gd name="connsiteY41" fmla="*/ 309349 h 782471"/>
                <a:gd name="connsiteX42" fmla="*/ 1542197 w 2984311"/>
                <a:gd name="connsiteY42" fmla="*/ 286603 h 782471"/>
                <a:gd name="connsiteX43" fmla="*/ 1501254 w 2984311"/>
                <a:gd name="connsiteY43" fmla="*/ 277505 h 782471"/>
                <a:gd name="connsiteX44" fmla="*/ 1473958 w 2984311"/>
                <a:gd name="connsiteY44" fmla="*/ 268406 h 782471"/>
                <a:gd name="connsiteX45" fmla="*/ 1460310 w 2984311"/>
                <a:gd name="connsiteY45" fmla="*/ 259308 h 782471"/>
                <a:gd name="connsiteX46" fmla="*/ 1433015 w 2984311"/>
                <a:gd name="connsiteY46" fmla="*/ 250209 h 782471"/>
                <a:gd name="connsiteX47" fmla="*/ 1360227 w 2984311"/>
                <a:gd name="connsiteY47" fmla="*/ 236561 h 782471"/>
                <a:gd name="connsiteX48" fmla="*/ 1332931 w 2984311"/>
                <a:gd name="connsiteY48" fmla="*/ 227463 h 782471"/>
                <a:gd name="connsiteX49" fmla="*/ 1319283 w 2984311"/>
                <a:gd name="connsiteY49" fmla="*/ 222913 h 782471"/>
                <a:gd name="connsiteX50" fmla="*/ 1278340 w 2984311"/>
                <a:gd name="connsiteY50" fmla="*/ 227463 h 782471"/>
                <a:gd name="connsiteX51" fmla="*/ 1264692 w 2984311"/>
                <a:gd name="connsiteY51" fmla="*/ 236561 h 782471"/>
                <a:gd name="connsiteX52" fmla="*/ 1246495 w 2984311"/>
                <a:gd name="connsiteY52" fmla="*/ 241111 h 782471"/>
                <a:gd name="connsiteX53" fmla="*/ 1219200 w 2984311"/>
                <a:gd name="connsiteY53" fmla="*/ 254758 h 782471"/>
                <a:gd name="connsiteX54" fmla="*/ 1191904 w 2984311"/>
                <a:gd name="connsiteY54" fmla="*/ 268406 h 782471"/>
                <a:gd name="connsiteX55" fmla="*/ 1160060 w 2984311"/>
                <a:gd name="connsiteY55" fmla="*/ 272955 h 782471"/>
                <a:gd name="connsiteX56" fmla="*/ 1105468 w 2984311"/>
                <a:gd name="connsiteY56" fmla="*/ 291152 h 782471"/>
                <a:gd name="connsiteX57" fmla="*/ 1073624 w 2984311"/>
                <a:gd name="connsiteY57" fmla="*/ 304800 h 782471"/>
                <a:gd name="connsiteX58" fmla="*/ 896203 w 2984311"/>
                <a:gd name="connsiteY58" fmla="*/ 309349 h 782471"/>
                <a:gd name="connsiteX59" fmla="*/ 868907 w 2984311"/>
                <a:gd name="connsiteY59" fmla="*/ 322997 h 782471"/>
                <a:gd name="connsiteX60" fmla="*/ 855260 w 2984311"/>
                <a:gd name="connsiteY60" fmla="*/ 327546 h 782471"/>
                <a:gd name="connsiteX61" fmla="*/ 782471 w 2984311"/>
                <a:gd name="connsiteY61" fmla="*/ 322997 h 782471"/>
                <a:gd name="connsiteX62" fmla="*/ 768824 w 2984311"/>
                <a:gd name="connsiteY62" fmla="*/ 318448 h 782471"/>
                <a:gd name="connsiteX63" fmla="*/ 723331 w 2984311"/>
                <a:gd name="connsiteY63" fmla="*/ 304800 h 782471"/>
                <a:gd name="connsiteX64" fmla="*/ 709683 w 2984311"/>
                <a:gd name="connsiteY64" fmla="*/ 300251 h 782471"/>
                <a:gd name="connsiteX65" fmla="*/ 696036 w 2984311"/>
                <a:gd name="connsiteY65" fmla="*/ 295702 h 782471"/>
                <a:gd name="connsiteX66" fmla="*/ 641445 w 2984311"/>
                <a:gd name="connsiteY66" fmla="*/ 291152 h 782471"/>
                <a:gd name="connsiteX67" fmla="*/ 591403 w 2984311"/>
                <a:gd name="connsiteY67" fmla="*/ 282054 h 782471"/>
                <a:gd name="connsiteX68" fmla="*/ 573206 w 2984311"/>
                <a:gd name="connsiteY68" fmla="*/ 277505 h 782471"/>
                <a:gd name="connsiteX69" fmla="*/ 545910 w 2984311"/>
                <a:gd name="connsiteY69" fmla="*/ 268406 h 782471"/>
                <a:gd name="connsiteX70" fmla="*/ 514066 w 2984311"/>
                <a:gd name="connsiteY70" fmla="*/ 263857 h 782471"/>
                <a:gd name="connsiteX71" fmla="*/ 491319 w 2984311"/>
                <a:gd name="connsiteY71" fmla="*/ 259308 h 782471"/>
                <a:gd name="connsiteX72" fmla="*/ 459474 w 2984311"/>
                <a:gd name="connsiteY72" fmla="*/ 254758 h 782471"/>
                <a:gd name="connsiteX73" fmla="*/ 432179 w 2984311"/>
                <a:gd name="connsiteY73" fmla="*/ 236561 h 782471"/>
                <a:gd name="connsiteX74" fmla="*/ 423080 w 2984311"/>
                <a:gd name="connsiteY74" fmla="*/ 222913 h 782471"/>
                <a:gd name="connsiteX75" fmla="*/ 404883 w 2984311"/>
                <a:gd name="connsiteY75" fmla="*/ 213815 h 782471"/>
                <a:gd name="connsiteX76" fmla="*/ 391236 w 2984311"/>
                <a:gd name="connsiteY76" fmla="*/ 204716 h 782471"/>
                <a:gd name="connsiteX77" fmla="*/ 373039 w 2984311"/>
                <a:gd name="connsiteY77" fmla="*/ 177421 h 782471"/>
                <a:gd name="connsiteX78" fmla="*/ 350292 w 2984311"/>
                <a:gd name="connsiteY78" fmla="*/ 150125 h 782471"/>
                <a:gd name="connsiteX79" fmla="*/ 322997 w 2984311"/>
                <a:gd name="connsiteY79" fmla="*/ 131928 h 782471"/>
                <a:gd name="connsiteX80" fmla="*/ 295701 w 2984311"/>
                <a:gd name="connsiteY80" fmla="*/ 113731 h 782471"/>
                <a:gd name="connsiteX81" fmla="*/ 286603 w 2984311"/>
                <a:gd name="connsiteY81" fmla="*/ 100084 h 782471"/>
                <a:gd name="connsiteX82" fmla="*/ 272955 w 2984311"/>
                <a:gd name="connsiteY82" fmla="*/ 95534 h 782471"/>
                <a:gd name="connsiteX83" fmla="*/ 259307 w 2984311"/>
                <a:gd name="connsiteY83" fmla="*/ 86436 h 782471"/>
                <a:gd name="connsiteX84" fmla="*/ 232012 w 2984311"/>
                <a:gd name="connsiteY84" fmla="*/ 77337 h 782471"/>
                <a:gd name="connsiteX85" fmla="*/ 218364 w 2984311"/>
                <a:gd name="connsiteY85" fmla="*/ 72788 h 782471"/>
                <a:gd name="connsiteX86" fmla="*/ 204716 w 2984311"/>
                <a:gd name="connsiteY86" fmla="*/ 68239 h 782471"/>
                <a:gd name="connsiteX87" fmla="*/ 191068 w 2984311"/>
                <a:gd name="connsiteY87" fmla="*/ 59140 h 782471"/>
                <a:gd name="connsiteX88" fmla="*/ 163773 w 2984311"/>
                <a:gd name="connsiteY88" fmla="*/ 50042 h 782471"/>
                <a:gd name="connsiteX89" fmla="*/ 136477 w 2984311"/>
                <a:gd name="connsiteY89" fmla="*/ 40943 h 782471"/>
                <a:gd name="connsiteX90" fmla="*/ 122830 w 2984311"/>
                <a:gd name="connsiteY90" fmla="*/ 36394 h 782471"/>
                <a:gd name="connsiteX91" fmla="*/ 0 w 2984311"/>
                <a:gd name="connsiteY91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20369 w 2984311"/>
                <a:gd name="connsiteY5" fmla="*/ 491319 h 782471"/>
                <a:gd name="connsiteX6" fmla="*/ 2370161 w 2984311"/>
                <a:gd name="connsiteY6" fmla="*/ 459475 h 782471"/>
                <a:gd name="connsiteX7" fmla="*/ 2329218 w 2984311"/>
                <a:gd name="connsiteY7" fmla="*/ 450376 h 782471"/>
                <a:gd name="connsiteX8" fmla="*/ 2301922 w 2984311"/>
                <a:gd name="connsiteY8" fmla="*/ 441278 h 782471"/>
                <a:gd name="connsiteX9" fmla="*/ 2247331 w 2984311"/>
                <a:gd name="connsiteY9" fmla="*/ 413982 h 782471"/>
                <a:gd name="connsiteX10" fmla="*/ 2233683 w 2984311"/>
                <a:gd name="connsiteY10" fmla="*/ 409433 h 782471"/>
                <a:gd name="connsiteX11" fmla="*/ 2220036 w 2984311"/>
                <a:gd name="connsiteY11" fmla="*/ 404884 h 782471"/>
                <a:gd name="connsiteX12" fmla="*/ 2192740 w 2984311"/>
                <a:gd name="connsiteY12" fmla="*/ 418531 h 782471"/>
                <a:gd name="connsiteX13" fmla="*/ 2179092 w 2984311"/>
                <a:gd name="connsiteY13" fmla="*/ 427630 h 782471"/>
                <a:gd name="connsiteX14" fmla="*/ 2151797 w 2984311"/>
                <a:gd name="connsiteY14" fmla="*/ 436728 h 782471"/>
                <a:gd name="connsiteX15" fmla="*/ 2138149 w 2984311"/>
                <a:gd name="connsiteY15" fmla="*/ 441278 h 782471"/>
                <a:gd name="connsiteX16" fmla="*/ 2124501 w 2984311"/>
                <a:gd name="connsiteY16" fmla="*/ 445827 h 782471"/>
                <a:gd name="connsiteX17" fmla="*/ 2083558 w 2984311"/>
                <a:gd name="connsiteY17" fmla="*/ 464024 h 782471"/>
                <a:gd name="connsiteX18" fmla="*/ 2069910 w 2984311"/>
                <a:gd name="connsiteY18" fmla="*/ 473122 h 782471"/>
                <a:gd name="connsiteX19" fmla="*/ 2056263 w 2984311"/>
                <a:gd name="connsiteY19" fmla="*/ 477672 h 782471"/>
                <a:gd name="connsiteX20" fmla="*/ 1988024 w 2984311"/>
                <a:gd name="connsiteY20" fmla="*/ 473122 h 782471"/>
                <a:gd name="connsiteX21" fmla="*/ 1969827 w 2984311"/>
                <a:gd name="connsiteY21" fmla="*/ 468573 h 782471"/>
                <a:gd name="connsiteX22" fmla="*/ 1878842 w 2984311"/>
                <a:gd name="connsiteY22" fmla="*/ 473122 h 782471"/>
                <a:gd name="connsiteX23" fmla="*/ 1851546 w 2984311"/>
                <a:gd name="connsiteY23" fmla="*/ 486770 h 782471"/>
                <a:gd name="connsiteX24" fmla="*/ 1842448 w 2984311"/>
                <a:gd name="connsiteY24" fmla="*/ 500418 h 782471"/>
                <a:gd name="connsiteX25" fmla="*/ 1815152 w 2984311"/>
                <a:gd name="connsiteY25" fmla="*/ 509516 h 782471"/>
                <a:gd name="connsiteX26" fmla="*/ 1787857 w 2984311"/>
                <a:gd name="connsiteY26" fmla="*/ 518615 h 782471"/>
                <a:gd name="connsiteX27" fmla="*/ 1774209 w 2984311"/>
                <a:gd name="connsiteY27" fmla="*/ 523164 h 782471"/>
                <a:gd name="connsiteX28" fmla="*/ 1733266 w 2984311"/>
                <a:gd name="connsiteY28" fmla="*/ 509516 h 782471"/>
                <a:gd name="connsiteX29" fmla="*/ 1728716 w 2984311"/>
                <a:gd name="connsiteY29" fmla="*/ 495869 h 782471"/>
                <a:gd name="connsiteX30" fmla="*/ 1724167 w 2984311"/>
                <a:gd name="connsiteY30" fmla="*/ 468573 h 782471"/>
                <a:gd name="connsiteX31" fmla="*/ 1710519 w 2984311"/>
                <a:gd name="connsiteY31" fmla="*/ 464024 h 782471"/>
                <a:gd name="connsiteX32" fmla="*/ 1701421 w 2984311"/>
                <a:gd name="connsiteY32" fmla="*/ 450376 h 782471"/>
                <a:gd name="connsiteX33" fmla="*/ 1687773 w 2984311"/>
                <a:gd name="connsiteY33" fmla="*/ 441278 h 782471"/>
                <a:gd name="connsiteX34" fmla="*/ 1683224 w 2984311"/>
                <a:gd name="connsiteY34" fmla="*/ 427630 h 782471"/>
                <a:gd name="connsiteX35" fmla="*/ 1665027 w 2984311"/>
                <a:gd name="connsiteY35" fmla="*/ 400334 h 782471"/>
                <a:gd name="connsiteX36" fmla="*/ 1646830 w 2984311"/>
                <a:gd name="connsiteY36" fmla="*/ 373039 h 782471"/>
                <a:gd name="connsiteX37" fmla="*/ 1633182 w 2984311"/>
                <a:gd name="connsiteY37" fmla="*/ 363940 h 782471"/>
                <a:gd name="connsiteX38" fmla="*/ 1601337 w 2984311"/>
                <a:gd name="connsiteY38" fmla="*/ 345743 h 782471"/>
                <a:gd name="connsiteX39" fmla="*/ 1587689 w 2984311"/>
                <a:gd name="connsiteY39" fmla="*/ 318448 h 782471"/>
                <a:gd name="connsiteX40" fmla="*/ 1574042 w 2984311"/>
                <a:gd name="connsiteY40" fmla="*/ 309349 h 782471"/>
                <a:gd name="connsiteX41" fmla="*/ 1542197 w 2984311"/>
                <a:gd name="connsiteY41" fmla="*/ 286603 h 782471"/>
                <a:gd name="connsiteX42" fmla="*/ 1501254 w 2984311"/>
                <a:gd name="connsiteY42" fmla="*/ 277505 h 782471"/>
                <a:gd name="connsiteX43" fmla="*/ 1473958 w 2984311"/>
                <a:gd name="connsiteY43" fmla="*/ 268406 h 782471"/>
                <a:gd name="connsiteX44" fmla="*/ 1460310 w 2984311"/>
                <a:gd name="connsiteY44" fmla="*/ 259308 h 782471"/>
                <a:gd name="connsiteX45" fmla="*/ 1433015 w 2984311"/>
                <a:gd name="connsiteY45" fmla="*/ 250209 h 782471"/>
                <a:gd name="connsiteX46" fmla="*/ 1360227 w 2984311"/>
                <a:gd name="connsiteY46" fmla="*/ 236561 h 782471"/>
                <a:gd name="connsiteX47" fmla="*/ 1332931 w 2984311"/>
                <a:gd name="connsiteY47" fmla="*/ 227463 h 782471"/>
                <a:gd name="connsiteX48" fmla="*/ 1319283 w 2984311"/>
                <a:gd name="connsiteY48" fmla="*/ 222913 h 782471"/>
                <a:gd name="connsiteX49" fmla="*/ 1278340 w 2984311"/>
                <a:gd name="connsiteY49" fmla="*/ 227463 h 782471"/>
                <a:gd name="connsiteX50" fmla="*/ 1264692 w 2984311"/>
                <a:gd name="connsiteY50" fmla="*/ 236561 h 782471"/>
                <a:gd name="connsiteX51" fmla="*/ 1246495 w 2984311"/>
                <a:gd name="connsiteY51" fmla="*/ 241111 h 782471"/>
                <a:gd name="connsiteX52" fmla="*/ 1219200 w 2984311"/>
                <a:gd name="connsiteY52" fmla="*/ 254758 h 782471"/>
                <a:gd name="connsiteX53" fmla="*/ 1191904 w 2984311"/>
                <a:gd name="connsiteY53" fmla="*/ 268406 h 782471"/>
                <a:gd name="connsiteX54" fmla="*/ 1160060 w 2984311"/>
                <a:gd name="connsiteY54" fmla="*/ 272955 h 782471"/>
                <a:gd name="connsiteX55" fmla="*/ 1105468 w 2984311"/>
                <a:gd name="connsiteY55" fmla="*/ 291152 h 782471"/>
                <a:gd name="connsiteX56" fmla="*/ 1073624 w 2984311"/>
                <a:gd name="connsiteY56" fmla="*/ 304800 h 782471"/>
                <a:gd name="connsiteX57" fmla="*/ 896203 w 2984311"/>
                <a:gd name="connsiteY57" fmla="*/ 309349 h 782471"/>
                <a:gd name="connsiteX58" fmla="*/ 868907 w 2984311"/>
                <a:gd name="connsiteY58" fmla="*/ 322997 h 782471"/>
                <a:gd name="connsiteX59" fmla="*/ 855260 w 2984311"/>
                <a:gd name="connsiteY59" fmla="*/ 327546 h 782471"/>
                <a:gd name="connsiteX60" fmla="*/ 782471 w 2984311"/>
                <a:gd name="connsiteY60" fmla="*/ 322997 h 782471"/>
                <a:gd name="connsiteX61" fmla="*/ 768824 w 2984311"/>
                <a:gd name="connsiteY61" fmla="*/ 318448 h 782471"/>
                <a:gd name="connsiteX62" fmla="*/ 723331 w 2984311"/>
                <a:gd name="connsiteY62" fmla="*/ 304800 h 782471"/>
                <a:gd name="connsiteX63" fmla="*/ 709683 w 2984311"/>
                <a:gd name="connsiteY63" fmla="*/ 300251 h 782471"/>
                <a:gd name="connsiteX64" fmla="*/ 696036 w 2984311"/>
                <a:gd name="connsiteY64" fmla="*/ 295702 h 782471"/>
                <a:gd name="connsiteX65" fmla="*/ 641445 w 2984311"/>
                <a:gd name="connsiteY65" fmla="*/ 291152 h 782471"/>
                <a:gd name="connsiteX66" fmla="*/ 591403 w 2984311"/>
                <a:gd name="connsiteY66" fmla="*/ 282054 h 782471"/>
                <a:gd name="connsiteX67" fmla="*/ 573206 w 2984311"/>
                <a:gd name="connsiteY67" fmla="*/ 277505 h 782471"/>
                <a:gd name="connsiteX68" fmla="*/ 545910 w 2984311"/>
                <a:gd name="connsiteY68" fmla="*/ 268406 h 782471"/>
                <a:gd name="connsiteX69" fmla="*/ 514066 w 2984311"/>
                <a:gd name="connsiteY69" fmla="*/ 263857 h 782471"/>
                <a:gd name="connsiteX70" fmla="*/ 491319 w 2984311"/>
                <a:gd name="connsiteY70" fmla="*/ 259308 h 782471"/>
                <a:gd name="connsiteX71" fmla="*/ 459474 w 2984311"/>
                <a:gd name="connsiteY71" fmla="*/ 254758 h 782471"/>
                <a:gd name="connsiteX72" fmla="*/ 432179 w 2984311"/>
                <a:gd name="connsiteY72" fmla="*/ 236561 h 782471"/>
                <a:gd name="connsiteX73" fmla="*/ 423080 w 2984311"/>
                <a:gd name="connsiteY73" fmla="*/ 222913 h 782471"/>
                <a:gd name="connsiteX74" fmla="*/ 404883 w 2984311"/>
                <a:gd name="connsiteY74" fmla="*/ 213815 h 782471"/>
                <a:gd name="connsiteX75" fmla="*/ 391236 w 2984311"/>
                <a:gd name="connsiteY75" fmla="*/ 204716 h 782471"/>
                <a:gd name="connsiteX76" fmla="*/ 373039 w 2984311"/>
                <a:gd name="connsiteY76" fmla="*/ 177421 h 782471"/>
                <a:gd name="connsiteX77" fmla="*/ 350292 w 2984311"/>
                <a:gd name="connsiteY77" fmla="*/ 150125 h 782471"/>
                <a:gd name="connsiteX78" fmla="*/ 322997 w 2984311"/>
                <a:gd name="connsiteY78" fmla="*/ 131928 h 782471"/>
                <a:gd name="connsiteX79" fmla="*/ 295701 w 2984311"/>
                <a:gd name="connsiteY79" fmla="*/ 113731 h 782471"/>
                <a:gd name="connsiteX80" fmla="*/ 286603 w 2984311"/>
                <a:gd name="connsiteY80" fmla="*/ 100084 h 782471"/>
                <a:gd name="connsiteX81" fmla="*/ 272955 w 2984311"/>
                <a:gd name="connsiteY81" fmla="*/ 95534 h 782471"/>
                <a:gd name="connsiteX82" fmla="*/ 259307 w 2984311"/>
                <a:gd name="connsiteY82" fmla="*/ 86436 h 782471"/>
                <a:gd name="connsiteX83" fmla="*/ 232012 w 2984311"/>
                <a:gd name="connsiteY83" fmla="*/ 77337 h 782471"/>
                <a:gd name="connsiteX84" fmla="*/ 218364 w 2984311"/>
                <a:gd name="connsiteY84" fmla="*/ 72788 h 782471"/>
                <a:gd name="connsiteX85" fmla="*/ 204716 w 2984311"/>
                <a:gd name="connsiteY85" fmla="*/ 68239 h 782471"/>
                <a:gd name="connsiteX86" fmla="*/ 191068 w 2984311"/>
                <a:gd name="connsiteY86" fmla="*/ 59140 h 782471"/>
                <a:gd name="connsiteX87" fmla="*/ 163773 w 2984311"/>
                <a:gd name="connsiteY87" fmla="*/ 50042 h 782471"/>
                <a:gd name="connsiteX88" fmla="*/ 136477 w 2984311"/>
                <a:gd name="connsiteY88" fmla="*/ 40943 h 782471"/>
                <a:gd name="connsiteX89" fmla="*/ 122830 w 2984311"/>
                <a:gd name="connsiteY89" fmla="*/ 36394 h 782471"/>
                <a:gd name="connsiteX90" fmla="*/ 0 w 2984311"/>
                <a:gd name="connsiteY90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20369 w 2984311"/>
                <a:gd name="connsiteY5" fmla="*/ 491319 h 782471"/>
                <a:gd name="connsiteX6" fmla="*/ 2370161 w 2984311"/>
                <a:gd name="connsiteY6" fmla="*/ 459475 h 782471"/>
                <a:gd name="connsiteX7" fmla="*/ 2329218 w 2984311"/>
                <a:gd name="connsiteY7" fmla="*/ 450376 h 782471"/>
                <a:gd name="connsiteX8" fmla="*/ 2247331 w 2984311"/>
                <a:gd name="connsiteY8" fmla="*/ 413982 h 782471"/>
                <a:gd name="connsiteX9" fmla="*/ 2233683 w 2984311"/>
                <a:gd name="connsiteY9" fmla="*/ 409433 h 782471"/>
                <a:gd name="connsiteX10" fmla="*/ 2220036 w 2984311"/>
                <a:gd name="connsiteY10" fmla="*/ 404884 h 782471"/>
                <a:gd name="connsiteX11" fmla="*/ 2192740 w 2984311"/>
                <a:gd name="connsiteY11" fmla="*/ 418531 h 782471"/>
                <a:gd name="connsiteX12" fmla="*/ 2179092 w 2984311"/>
                <a:gd name="connsiteY12" fmla="*/ 427630 h 782471"/>
                <a:gd name="connsiteX13" fmla="*/ 2151797 w 2984311"/>
                <a:gd name="connsiteY13" fmla="*/ 436728 h 782471"/>
                <a:gd name="connsiteX14" fmla="*/ 2138149 w 2984311"/>
                <a:gd name="connsiteY14" fmla="*/ 441278 h 782471"/>
                <a:gd name="connsiteX15" fmla="*/ 2124501 w 2984311"/>
                <a:gd name="connsiteY15" fmla="*/ 445827 h 782471"/>
                <a:gd name="connsiteX16" fmla="*/ 2083558 w 2984311"/>
                <a:gd name="connsiteY16" fmla="*/ 464024 h 782471"/>
                <a:gd name="connsiteX17" fmla="*/ 2069910 w 2984311"/>
                <a:gd name="connsiteY17" fmla="*/ 473122 h 782471"/>
                <a:gd name="connsiteX18" fmla="*/ 2056263 w 2984311"/>
                <a:gd name="connsiteY18" fmla="*/ 477672 h 782471"/>
                <a:gd name="connsiteX19" fmla="*/ 1988024 w 2984311"/>
                <a:gd name="connsiteY19" fmla="*/ 473122 h 782471"/>
                <a:gd name="connsiteX20" fmla="*/ 1969827 w 2984311"/>
                <a:gd name="connsiteY20" fmla="*/ 468573 h 782471"/>
                <a:gd name="connsiteX21" fmla="*/ 1878842 w 2984311"/>
                <a:gd name="connsiteY21" fmla="*/ 473122 h 782471"/>
                <a:gd name="connsiteX22" fmla="*/ 1851546 w 2984311"/>
                <a:gd name="connsiteY22" fmla="*/ 486770 h 782471"/>
                <a:gd name="connsiteX23" fmla="*/ 1842448 w 2984311"/>
                <a:gd name="connsiteY23" fmla="*/ 500418 h 782471"/>
                <a:gd name="connsiteX24" fmla="*/ 1815152 w 2984311"/>
                <a:gd name="connsiteY24" fmla="*/ 509516 h 782471"/>
                <a:gd name="connsiteX25" fmla="*/ 1787857 w 2984311"/>
                <a:gd name="connsiteY25" fmla="*/ 518615 h 782471"/>
                <a:gd name="connsiteX26" fmla="*/ 1774209 w 2984311"/>
                <a:gd name="connsiteY26" fmla="*/ 523164 h 782471"/>
                <a:gd name="connsiteX27" fmla="*/ 1733266 w 2984311"/>
                <a:gd name="connsiteY27" fmla="*/ 509516 h 782471"/>
                <a:gd name="connsiteX28" fmla="*/ 1728716 w 2984311"/>
                <a:gd name="connsiteY28" fmla="*/ 495869 h 782471"/>
                <a:gd name="connsiteX29" fmla="*/ 1724167 w 2984311"/>
                <a:gd name="connsiteY29" fmla="*/ 468573 h 782471"/>
                <a:gd name="connsiteX30" fmla="*/ 1710519 w 2984311"/>
                <a:gd name="connsiteY30" fmla="*/ 464024 h 782471"/>
                <a:gd name="connsiteX31" fmla="*/ 1701421 w 2984311"/>
                <a:gd name="connsiteY31" fmla="*/ 450376 h 782471"/>
                <a:gd name="connsiteX32" fmla="*/ 1687773 w 2984311"/>
                <a:gd name="connsiteY32" fmla="*/ 441278 h 782471"/>
                <a:gd name="connsiteX33" fmla="*/ 1683224 w 2984311"/>
                <a:gd name="connsiteY33" fmla="*/ 427630 h 782471"/>
                <a:gd name="connsiteX34" fmla="*/ 1665027 w 2984311"/>
                <a:gd name="connsiteY34" fmla="*/ 400334 h 782471"/>
                <a:gd name="connsiteX35" fmla="*/ 1646830 w 2984311"/>
                <a:gd name="connsiteY35" fmla="*/ 373039 h 782471"/>
                <a:gd name="connsiteX36" fmla="*/ 1633182 w 2984311"/>
                <a:gd name="connsiteY36" fmla="*/ 363940 h 782471"/>
                <a:gd name="connsiteX37" fmla="*/ 1601337 w 2984311"/>
                <a:gd name="connsiteY37" fmla="*/ 345743 h 782471"/>
                <a:gd name="connsiteX38" fmla="*/ 1587689 w 2984311"/>
                <a:gd name="connsiteY38" fmla="*/ 318448 h 782471"/>
                <a:gd name="connsiteX39" fmla="*/ 1574042 w 2984311"/>
                <a:gd name="connsiteY39" fmla="*/ 309349 h 782471"/>
                <a:gd name="connsiteX40" fmla="*/ 1542197 w 2984311"/>
                <a:gd name="connsiteY40" fmla="*/ 286603 h 782471"/>
                <a:gd name="connsiteX41" fmla="*/ 1501254 w 2984311"/>
                <a:gd name="connsiteY41" fmla="*/ 277505 h 782471"/>
                <a:gd name="connsiteX42" fmla="*/ 1473958 w 2984311"/>
                <a:gd name="connsiteY42" fmla="*/ 268406 h 782471"/>
                <a:gd name="connsiteX43" fmla="*/ 1460310 w 2984311"/>
                <a:gd name="connsiteY43" fmla="*/ 259308 h 782471"/>
                <a:gd name="connsiteX44" fmla="*/ 1433015 w 2984311"/>
                <a:gd name="connsiteY44" fmla="*/ 250209 h 782471"/>
                <a:gd name="connsiteX45" fmla="*/ 1360227 w 2984311"/>
                <a:gd name="connsiteY45" fmla="*/ 236561 h 782471"/>
                <a:gd name="connsiteX46" fmla="*/ 1332931 w 2984311"/>
                <a:gd name="connsiteY46" fmla="*/ 227463 h 782471"/>
                <a:gd name="connsiteX47" fmla="*/ 1319283 w 2984311"/>
                <a:gd name="connsiteY47" fmla="*/ 222913 h 782471"/>
                <a:gd name="connsiteX48" fmla="*/ 1278340 w 2984311"/>
                <a:gd name="connsiteY48" fmla="*/ 227463 h 782471"/>
                <a:gd name="connsiteX49" fmla="*/ 1264692 w 2984311"/>
                <a:gd name="connsiteY49" fmla="*/ 236561 h 782471"/>
                <a:gd name="connsiteX50" fmla="*/ 1246495 w 2984311"/>
                <a:gd name="connsiteY50" fmla="*/ 241111 h 782471"/>
                <a:gd name="connsiteX51" fmla="*/ 1219200 w 2984311"/>
                <a:gd name="connsiteY51" fmla="*/ 254758 h 782471"/>
                <a:gd name="connsiteX52" fmla="*/ 1191904 w 2984311"/>
                <a:gd name="connsiteY52" fmla="*/ 268406 h 782471"/>
                <a:gd name="connsiteX53" fmla="*/ 1160060 w 2984311"/>
                <a:gd name="connsiteY53" fmla="*/ 272955 h 782471"/>
                <a:gd name="connsiteX54" fmla="*/ 1105468 w 2984311"/>
                <a:gd name="connsiteY54" fmla="*/ 291152 h 782471"/>
                <a:gd name="connsiteX55" fmla="*/ 1073624 w 2984311"/>
                <a:gd name="connsiteY55" fmla="*/ 304800 h 782471"/>
                <a:gd name="connsiteX56" fmla="*/ 896203 w 2984311"/>
                <a:gd name="connsiteY56" fmla="*/ 309349 h 782471"/>
                <a:gd name="connsiteX57" fmla="*/ 868907 w 2984311"/>
                <a:gd name="connsiteY57" fmla="*/ 322997 h 782471"/>
                <a:gd name="connsiteX58" fmla="*/ 855260 w 2984311"/>
                <a:gd name="connsiteY58" fmla="*/ 327546 h 782471"/>
                <a:gd name="connsiteX59" fmla="*/ 782471 w 2984311"/>
                <a:gd name="connsiteY59" fmla="*/ 322997 h 782471"/>
                <a:gd name="connsiteX60" fmla="*/ 768824 w 2984311"/>
                <a:gd name="connsiteY60" fmla="*/ 318448 h 782471"/>
                <a:gd name="connsiteX61" fmla="*/ 723331 w 2984311"/>
                <a:gd name="connsiteY61" fmla="*/ 304800 h 782471"/>
                <a:gd name="connsiteX62" fmla="*/ 709683 w 2984311"/>
                <a:gd name="connsiteY62" fmla="*/ 300251 h 782471"/>
                <a:gd name="connsiteX63" fmla="*/ 696036 w 2984311"/>
                <a:gd name="connsiteY63" fmla="*/ 295702 h 782471"/>
                <a:gd name="connsiteX64" fmla="*/ 641445 w 2984311"/>
                <a:gd name="connsiteY64" fmla="*/ 291152 h 782471"/>
                <a:gd name="connsiteX65" fmla="*/ 591403 w 2984311"/>
                <a:gd name="connsiteY65" fmla="*/ 282054 h 782471"/>
                <a:gd name="connsiteX66" fmla="*/ 573206 w 2984311"/>
                <a:gd name="connsiteY66" fmla="*/ 277505 h 782471"/>
                <a:gd name="connsiteX67" fmla="*/ 545910 w 2984311"/>
                <a:gd name="connsiteY67" fmla="*/ 268406 h 782471"/>
                <a:gd name="connsiteX68" fmla="*/ 514066 w 2984311"/>
                <a:gd name="connsiteY68" fmla="*/ 263857 h 782471"/>
                <a:gd name="connsiteX69" fmla="*/ 491319 w 2984311"/>
                <a:gd name="connsiteY69" fmla="*/ 259308 h 782471"/>
                <a:gd name="connsiteX70" fmla="*/ 459474 w 2984311"/>
                <a:gd name="connsiteY70" fmla="*/ 254758 h 782471"/>
                <a:gd name="connsiteX71" fmla="*/ 432179 w 2984311"/>
                <a:gd name="connsiteY71" fmla="*/ 236561 h 782471"/>
                <a:gd name="connsiteX72" fmla="*/ 423080 w 2984311"/>
                <a:gd name="connsiteY72" fmla="*/ 222913 h 782471"/>
                <a:gd name="connsiteX73" fmla="*/ 404883 w 2984311"/>
                <a:gd name="connsiteY73" fmla="*/ 213815 h 782471"/>
                <a:gd name="connsiteX74" fmla="*/ 391236 w 2984311"/>
                <a:gd name="connsiteY74" fmla="*/ 204716 h 782471"/>
                <a:gd name="connsiteX75" fmla="*/ 373039 w 2984311"/>
                <a:gd name="connsiteY75" fmla="*/ 177421 h 782471"/>
                <a:gd name="connsiteX76" fmla="*/ 350292 w 2984311"/>
                <a:gd name="connsiteY76" fmla="*/ 150125 h 782471"/>
                <a:gd name="connsiteX77" fmla="*/ 322997 w 2984311"/>
                <a:gd name="connsiteY77" fmla="*/ 131928 h 782471"/>
                <a:gd name="connsiteX78" fmla="*/ 295701 w 2984311"/>
                <a:gd name="connsiteY78" fmla="*/ 113731 h 782471"/>
                <a:gd name="connsiteX79" fmla="*/ 286603 w 2984311"/>
                <a:gd name="connsiteY79" fmla="*/ 100084 h 782471"/>
                <a:gd name="connsiteX80" fmla="*/ 272955 w 2984311"/>
                <a:gd name="connsiteY80" fmla="*/ 95534 h 782471"/>
                <a:gd name="connsiteX81" fmla="*/ 259307 w 2984311"/>
                <a:gd name="connsiteY81" fmla="*/ 86436 h 782471"/>
                <a:gd name="connsiteX82" fmla="*/ 232012 w 2984311"/>
                <a:gd name="connsiteY82" fmla="*/ 77337 h 782471"/>
                <a:gd name="connsiteX83" fmla="*/ 218364 w 2984311"/>
                <a:gd name="connsiteY83" fmla="*/ 72788 h 782471"/>
                <a:gd name="connsiteX84" fmla="*/ 204716 w 2984311"/>
                <a:gd name="connsiteY84" fmla="*/ 68239 h 782471"/>
                <a:gd name="connsiteX85" fmla="*/ 191068 w 2984311"/>
                <a:gd name="connsiteY85" fmla="*/ 59140 h 782471"/>
                <a:gd name="connsiteX86" fmla="*/ 163773 w 2984311"/>
                <a:gd name="connsiteY86" fmla="*/ 50042 h 782471"/>
                <a:gd name="connsiteX87" fmla="*/ 136477 w 2984311"/>
                <a:gd name="connsiteY87" fmla="*/ 40943 h 782471"/>
                <a:gd name="connsiteX88" fmla="*/ 122830 w 2984311"/>
                <a:gd name="connsiteY88" fmla="*/ 36394 h 782471"/>
                <a:gd name="connsiteX89" fmla="*/ 0 w 2984311"/>
                <a:gd name="connsiteY89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20369 w 2984311"/>
                <a:gd name="connsiteY5" fmla="*/ 491319 h 782471"/>
                <a:gd name="connsiteX6" fmla="*/ 2370161 w 2984311"/>
                <a:gd name="connsiteY6" fmla="*/ 459475 h 782471"/>
                <a:gd name="connsiteX7" fmla="*/ 2247331 w 2984311"/>
                <a:gd name="connsiteY7" fmla="*/ 413982 h 782471"/>
                <a:gd name="connsiteX8" fmla="*/ 2233683 w 2984311"/>
                <a:gd name="connsiteY8" fmla="*/ 409433 h 782471"/>
                <a:gd name="connsiteX9" fmla="*/ 2220036 w 2984311"/>
                <a:gd name="connsiteY9" fmla="*/ 404884 h 782471"/>
                <a:gd name="connsiteX10" fmla="*/ 2192740 w 2984311"/>
                <a:gd name="connsiteY10" fmla="*/ 418531 h 782471"/>
                <a:gd name="connsiteX11" fmla="*/ 2179092 w 2984311"/>
                <a:gd name="connsiteY11" fmla="*/ 427630 h 782471"/>
                <a:gd name="connsiteX12" fmla="*/ 2151797 w 2984311"/>
                <a:gd name="connsiteY12" fmla="*/ 436728 h 782471"/>
                <a:gd name="connsiteX13" fmla="*/ 2138149 w 2984311"/>
                <a:gd name="connsiteY13" fmla="*/ 441278 h 782471"/>
                <a:gd name="connsiteX14" fmla="*/ 2124501 w 2984311"/>
                <a:gd name="connsiteY14" fmla="*/ 445827 h 782471"/>
                <a:gd name="connsiteX15" fmla="*/ 2083558 w 2984311"/>
                <a:gd name="connsiteY15" fmla="*/ 464024 h 782471"/>
                <a:gd name="connsiteX16" fmla="*/ 2069910 w 2984311"/>
                <a:gd name="connsiteY16" fmla="*/ 473122 h 782471"/>
                <a:gd name="connsiteX17" fmla="*/ 2056263 w 2984311"/>
                <a:gd name="connsiteY17" fmla="*/ 477672 h 782471"/>
                <a:gd name="connsiteX18" fmla="*/ 1988024 w 2984311"/>
                <a:gd name="connsiteY18" fmla="*/ 473122 h 782471"/>
                <a:gd name="connsiteX19" fmla="*/ 1969827 w 2984311"/>
                <a:gd name="connsiteY19" fmla="*/ 468573 h 782471"/>
                <a:gd name="connsiteX20" fmla="*/ 1878842 w 2984311"/>
                <a:gd name="connsiteY20" fmla="*/ 473122 h 782471"/>
                <a:gd name="connsiteX21" fmla="*/ 1851546 w 2984311"/>
                <a:gd name="connsiteY21" fmla="*/ 486770 h 782471"/>
                <a:gd name="connsiteX22" fmla="*/ 1842448 w 2984311"/>
                <a:gd name="connsiteY22" fmla="*/ 500418 h 782471"/>
                <a:gd name="connsiteX23" fmla="*/ 1815152 w 2984311"/>
                <a:gd name="connsiteY23" fmla="*/ 509516 h 782471"/>
                <a:gd name="connsiteX24" fmla="*/ 1787857 w 2984311"/>
                <a:gd name="connsiteY24" fmla="*/ 518615 h 782471"/>
                <a:gd name="connsiteX25" fmla="*/ 1774209 w 2984311"/>
                <a:gd name="connsiteY25" fmla="*/ 523164 h 782471"/>
                <a:gd name="connsiteX26" fmla="*/ 1733266 w 2984311"/>
                <a:gd name="connsiteY26" fmla="*/ 509516 h 782471"/>
                <a:gd name="connsiteX27" fmla="*/ 1728716 w 2984311"/>
                <a:gd name="connsiteY27" fmla="*/ 495869 h 782471"/>
                <a:gd name="connsiteX28" fmla="*/ 1724167 w 2984311"/>
                <a:gd name="connsiteY28" fmla="*/ 468573 h 782471"/>
                <a:gd name="connsiteX29" fmla="*/ 1710519 w 2984311"/>
                <a:gd name="connsiteY29" fmla="*/ 464024 h 782471"/>
                <a:gd name="connsiteX30" fmla="*/ 1701421 w 2984311"/>
                <a:gd name="connsiteY30" fmla="*/ 450376 h 782471"/>
                <a:gd name="connsiteX31" fmla="*/ 1687773 w 2984311"/>
                <a:gd name="connsiteY31" fmla="*/ 441278 h 782471"/>
                <a:gd name="connsiteX32" fmla="*/ 1683224 w 2984311"/>
                <a:gd name="connsiteY32" fmla="*/ 427630 h 782471"/>
                <a:gd name="connsiteX33" fmla="*/ 1665027 w 2984311"/>
                <a:gd name="connsiteY33" fmla="*/ 400334 h 782471"/>
                <a:gd name="connsiteX34" fmla="*/ 1646830 w 2984311"/>
                <a:gd name="connsiteY34" fmla="*/ 373039 h 782471"/>
                <a:gd name="connsiteX35" fmla="*/ 1633182 w 2984311"/>
                <a:gd name="connsiteY35" fmla="*/ 363940 h 782471"/>
                <a:gd name="connsiteX36" fmla="*/ 1601337 w 2984311"/>
                <a:gd name="connsiteY36" fmla="*/ 345743 h 782471"/>
                <a:gd name="connsiteX37" fmla="*/ 1587689 w 2984311"/>
                <a:gd name="connsiteY37" fmla="*/ 318448 h 782471"/>
                <a:gd name="connsiteX38" fmla="*/ 1574042 w 2984311"/>
                <a:gd name="connsiteY38" fmla="*/ 309349 h 782471"/>
                <a:gd name="connsiteX39" fmla="*/ 1542197 w 2984311"/>
                <a:gd name="connsiteY39" fmla="*/ 286603 h 782471"/>
                <a:gd name="connsiteX40" fmla="*/ 1501254 w 2984311"/>
                <a:gd name="connsiteY40" fmla="*/ 277505 h 782471"/>
                <a:gd name="connsiteX41" fmla="*/ 1473958 w 2984311"/>
                <a:gd name="connsiteY41" fmla="*/ 268406 h 782471"/>
                <a:gd name="connsiteX42" fmla="*/ 1460310 w 2984311"/>
                <a:gd name="connsiteY42" fmla="*/ 259308 h 782471"/>
                <a:gd name="connsiteX43" fmla="*/ 1433015 w 2984311"/>
                <a:gd name="connsiteY43" fmla="*/ 250209 h 782471"/>
                <a:gd name="connsiteX44" fmla="*/ 1360227 w 2984311"/>
                <a:gd name="connsiteY44" fmla="*/ 236561 h 782471"/>
                <a:gd name="connsiteX45" fmla="*/ 1332931 w 2984311"/>
                <a:gd name="connsiteY45" fmla="*/ 227463 h 782471"/>
                <a:gd name="connsiteX46" fmla="*/ 1319283 w 2984311"/>
                <a:gd name="connsiteY46" fmla="*/ 222913 h 782471"/>
                <a:gd name="connsiteX47" fmla="*/ 1278340 w 2984311"/>
                <a:gd name="connsiteY47" fmla="*/ 227463 h 782471"/>
                <a:gd name="connsiteX48" fmla="*/ 1264692 w 2984311"/>
                <a:gd name="connsiteY48" fmla="*/ 236561 h 782471"/>
                <a:gd name="connsiteX49" fmla="*/ 1246495 w 2984311"/>
                <a:gd name="connsiteY49" fmla="*/ 241111 h 782471"/>
                <a:gd name="connsiteX50" fmla="*/ 1219200 w 2984311"/>
                <a:gd name="connsiteY50" fmla="*/ 254758 h 782471"/>
                <a:gd name="connsiteX51" fmla="*/ 1191904 w 2984311"/>
                <a:gd name="connsiteY51" fmla="*/ 268406 h 782471"/>
                <a:gd name="connsiteX52" fmla="*/ 1160060 w 2984311"/>
                <a:gd name="connsiteY52" fmla="*/ 272955 h 782471"/>
                <a:gd name="connsiteX53" fmla="*/ 1105468 w 2984311"/>
                <a:gd name="connsiteY53" fmla="*/ 291152 h 782471"/>
                <a:gd name="connsiteX54" fmla="*/ 1073624 w 2984311"/>
                <a:gd name="connsiteY54" fmla="*/ 304800 h 782471"/>
                <a:gd name="connsiteX55" fmla="*/ 896203 w 2984311"/>
                <a:gd name="connsiteY55" fmla="*/ 309349 h 782471"/>
                <a:gd name="connsiteX56" fmla="*/ 868907 w 2984311"/>
                <a:gd name="connsiteY56" fmla="*/ 322997 h 782471"/>
                <a:gd name="connsiteX57" fmla="*/ 855260 w 2984311"/>
                <a:gd name="connsiteY57" fmla="*/ 327546 h 782471"/>
                <a:gd name="connsiteX58" fmla="*/ 782471 w 2984311"/>
                <a:gd name="connsiteY58" fmla="*/ 322997 h 782471"/>
                <a:gd name="connsiteX59" fmla="*/ 768824 w 2984311"/>
                <a:gd name="connsiteY59" fmla="*/ 318448 h 782471"/>
                <a:gd name="connsiteX60" fmla="*/ 723331 w 2984311"/>
                <a:gd name="connsiteY60" fmla="*/ 304800 h 782471"/>
                <a:gd name="connsiteX61" fmla="*/ 709683 w 2984311"/>
                <a:gd name="connsiteY61" fmla="*/ 300251 h 782471"/>
                <a:gd name="connsiteX62" fmla="*/ 696036 w 2984311"/>
                <a:gd name="connsiteY62" fmla="*/ 295702 h 782471"/>
                <a:gd name="connsiteX63" fmla="*/ 641445 w 2984311"/>
                <a:gd name="connsiteY63" fmla="*/ 291152 h 782471"/>
                <a:gd name="connsiteX64" fmla="*/ 591403 w 2984311"/>
                <a:gd name="connsiteY64" fmla="*/ 282054 h 782471"/>
                <a:gd name="connsiteX65" fmla="*/ 573206 w 2984311"/>
                <a:gd name="connsiteY65" fmla="*/ 277505 h 782471"/>
                <a:gd name="connsiteX66" fmla="*/ 545910 w 2984311"/>
                <a:gd name="connsiteY66" fmla="*/ 268406 h 782471"/>
                <a:gd name="connsiteX67" fmla="*/ 514066 w 2984311"/>
                <a:gd name="connsiteY67" fmla="*/ 263857 h 782471"/>
                <a:gd name="connsiteX68" fmla="*/ 491319 w 2984311"/>
                <a:gd name="connsiteY68" fmla="*/ 259308 h 782471"/>
                <a:gd name="connsiteX69" fmla="*/ 459474 w 2984311"/>
                <a:gd name="connsiteY69" fmla="*/ 254758 h 782471"/>
                <a:gd name="connsiteX70" fmla="*/ 432179 w 2984311"/>
                <a:gd name="connsiteY70" fmla="*/ 236561 h 782471"/>
                <a:gd name="connsiteX71" fmla="*/ 423080 w 2984311"/>
                <a:gd name="connsiteY71" fmla="*/ 222913 h 782471"/>
                <a:gd name="connsiteX72" fmla="*/ 404883 w 2984311"/>
                <a:gd name="connsiteY72" fmla="*/ 213815 h 782471"/>
                <a:gd name="connsiteX73" fmla="*/ 391236 w 2984311"/>
                <a:gd name="connsiteY73" fmla="*/ 204716 h 782471"/>
                <a:gd name="connsiteX74" fmla="*/ 373039 w 2984311"/>
                <a:gd name="connsiteY74" fmla="*/ 177421 h 782471"/>
                <a:gd name="connsiteX75" fmla="*/ 350292 w 2984311"/>
                <a:gd name="connsiteY75" fmla="*/ 150125 h 782471"/>
                <a:gd name="connsiteX76" fmla="*/ 322997 w 2984311"/>
                <a:gd name="connsiteY76" fmla="*/ 131928 h 782471"/>
                <a:gd name="connsiteX77" fmla="*/ 295701 w 2984311"/>
                <a:gd name="connsiteY77" fmla="*/ 113731 h 782471"/>
                <a:gd name="connsiteX78" fmla="*/ 286603 w 2984311"/>
                <a:gd name="connsiteY78" fmla="*/ 100084 h 782471"/>
                <a:gd name="connsiteX79" fmla="*/ 272955 w 2984311"/>
                <a:gd name="connsiteY79" fmla="*/ 95534 h 782471"/>
                <a:gd name="connsiteX80" fmla="*/ 259307 w 2984311"/>
                <a:gd name="connsiteY80" fmla="*/ 86436 h 782471"/>
                <a:gd name="connsiteX81" fmla="*/ 232012 w 2984311"/>
                <a:gd name="connsiteY81" fmla="*/ 77337 h 782471"/>
                <a:gd name="connsiteX82" fmla="*/ 218364 w 2984311"/>
                <a:gd name="connsiteY82" fmla="*/ 72788 h 782471"/>
                <a:gd name="connsiteX83" fmla="*/ 204716 w 2984311"/>
                <a:gd name="connsiteY83" fmla="*/ 68239 h 782471"/>
                <a:gd name="connsiteX84" fmla="*/ 191068 w 2984311"/>
                <a:gd name="connsiteY84" fmla="*/ 59140 h 782471"/>
                <a:gd name="connsiteX85" fmla="*/ 163773 w 2984311"/>
                <a:gd name="connsiteY85" fmla="*/ 50042 h 782471"/>
                <a:gd name="connsiteX86" fmla="*/ 136477 w 2984311"/>
                <a:gd name="connsiteY86" fmla="*/ 40943 h 782471"/>
                <a:gd name="connsiteX87" fmla="*/ 122830 w 2984311"/>
                <a:gd name="connsiteY87" fmla="*/ 36394 h 782471"/>
                <a:gd name="connsiteX88" fmla="*/ 0 w 2984311"/>
                <a:gd name="connsiteY88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20369 w 2984311"/>
                <a:gd name="connsiteY5" fmla="*/ 491319 h 782471"/>
                <a:gd name="connsiteX6" fmla="*/ 2370161 w 2984311"/>
                <a:gd name="connsiteY6" fmla="*/ 459475 h 782471"/>
                <a:gd name="connsiteX7" fmla="*/ 2247331 w 2984311"/>
                <a:gd name="connsiteY7" fmla="*/ 413982 h 782471"/>
                <a:gd name="connsiteX8" fmla="*/ 2233683 w 2984311"/>
                <a:gd name="connsiteY8" fmla="*/ 409433 h 782471"/>
                <a:gd name="connsiteX9" fmla="*/ 2220036 w 2984311"/>
                <a:gd name="connsiteY9" fmla="*/ 404884 h 782471"/>
                <a:gd name="connsiteX10" fmla="*/ 2192740 w 2984311"/>
                <a:gd name="connsiteY10" fmla="*/ 418531 h 782471"/>
                <a:gd name="connsiteX11" fmla="*/ 2151797 w 2984311"/>
                <a:gd name="connsiteY11" fmla="*/ 436728 h 782471"/>
                <a:gd name="connsiteX12" fmla="*/ 2138149 w 2984311"/>
                <a:gd name="connsiteY12" fmla="*/ 441278 h 782471"/>
                <a:gd name="connsiteX13" fmla="*/ 2124501 w 2984311"/>
                <a:gd name="connsiteY13" fmla="*/ 445827 h 782471"/>
                <a:gd name="connsiteX14" fmla="*/ 2083558 w 2984311"/>
                <a:gd name="connsiteY14" fmla="*/ 464024 h 782471"/>
                <a:gd name="connsiteX15" fmla="*/ 2069910 w 2984311"/>
                <a:gd name="connsiteY15" fmla="*/ 473122 h 782471"/>
                <a:gd name="connsiteX16" fmla="*/ 2056263 w 2984311"/>
                <a:gd name="connsiteY16" fmla="*/ 477672 h 782471"/>
                <a:gd name="connsiteX17" fmla="*/ 1988024 w 2984311"/>
                <a:gd name="connsiteY17" fmla="*/ 473122 h 782471"/>
                <a:gd name="connsiteX18" fmla="*/ 1969827 w 2984311"/>
                <a:gd name="connsiteY18" fmla="*/ 468573 h 782471"/>
                <a:gd name="connsiteX19" fmla="*/ 1878842 w 2984311"/>
                <a:gd name="connsiteY19" fmla="*/ 473122 h 782471"/>
                <a:gd name="connsiteX20" fmla="*/ 1851546 w 2984311"/>
                <a:gd name="connsiteY20" fmla="*/ 486770 h 782471"/>
                <a:gd name="connsiteX21" fmla="*/ 1842448 w 2984311"/>
                <a:gd name="connsiteY21" fmla="*/ 500418 h 782471"/>
                <a:gd name="connsiteX22" fmla="*/ 1815152 w 2984311"/>
                <a:gd name="connsiteY22" fmla="*/ 509516 h 782471"/>
                <a:gd name="connsiteX23" fmla="*/ 1787857 w 2984311"/>
                <a:gd name="connsiteY23" fmla="*/ 518615 h 782471"/>
                <a:gd name="connsiteX24" fmla="*/ 1774209 w 2984311"/>
                <a:gd name="connsiteY24" fmla="*/ 523164 h 782471"/>
                <a:gd name="connsiteX25" fmla="*/ 1733266 w 2984311"/>
                <a:gd name="connsiteY25" fmla="*/ 509516 h 782471"/>
                <a:gd name="connsiteX26" fmla="*/ 1728716 w 2984311"/>
                <a:gd name="connsiteY26" fmla="*/ 495869 h 782471"/>
                <a:gd name="connsiteX27" fmla="*/ 1724167 w 2984311"/>
                <a:gd name="connsiteY27" fmla="*/ 468573 h 782471"/>
                <a:gd name="connsiteX28" fmla="*/ 1710519 w 2984311"/>
                <a:gd name="connsiteY28" fmla="*/ 464024 h 782471"/>
                <a:gd name="connsiteX29" fmla="*/ 1701421 w 2984311"/>
                <a:gd name="connsiteY29" fmla="*/ 450376 h 782471"/>
                <a:gd name="connsiteX30" fmla="*/ 1687773 w 2984311"/>
                <a:gd name="connsiteY30" fmla="*/ 441278 h 782471"/>
                <a:gd name="connsiteX31" fmla="*/ 1683224 w 2984311"/>
                <a:gd name="connsiteY31" fmla="*/ 427630 h 782471"/>
                <a:gd name="connsiteX32" fmla="*/ 1665027 w 2984311"/>
                <a:gd name="connsiteY32" fmla="*/ 400334 h 782471"/>
                <a:gd name="connsiteX33" fmla="*/ 1646830 w 2984311"/>
                <a:gd name="connsiteY33" fmla="*/ 373039 h 782471"/>
                <a:gd name="connsiteX34" fmla="*/ 1633182 w 2984311"/>
                <a:gd name="connsiteY34" fmla="*/ 363940 h 782471"/>
                <a:gd name="connsiteX35" fmla="*/ 1601337 w 2984311"/>
                <a:gd name="connsiteY35" fmla="*/ 345743 h 782471"/>
                <a:gd name="connsiteX36" fmla="*/ 1587689 w 2984311"/>
                <a:gd name="connsiteY36" fmla="*/ 318448 h 782471"/>
                <a:gd name="connsiteX37" fmla="*/ 1574042 w 2984311"/>
                <a:gd name="connsiteY37" fmla="*/ 309349 h 782471"/>
                <a:gd name="connsiteX38" fmla="*/ 1542197 w 2984311"/>
                <a:gd name="connsiteY38" fmla="*/ 286603 h 782471"/>
                <a:gd name="connsiteX39" fmla="*/ 1501254 w 2984311"/>
                <a:gd name="connsiteY39" fmla="*/ 277505 h 782471"/>
                <a:gd name="connsiteX40" fmla="*/ 1473958 w 2984311"/>
                <a:gd name="connsiteY40" fmla="*/ 268406 h 782471"/>
                <a:gd name="connsiteX41" fmla="*/ 1460310 w 2984311"/>
                <a:gd name="connsiteY41" fmla="*/ 259308 h 782471"/>
                <a:gd name="connsiteX42" fmla="*/ 1433015 w 2984311"/>
                <a:gd name="connsiteY42" fmla="*/ 250209 h 782471"/>
                <a:gd name="connsiteX43" fmla="*/ 1360227 w 2984311"/>
                <a:gd name="connsiteY43" fmla="*/ 236561 h 782471"/>
                <a:gd name="connsiteX44" fmla="*/ 1332931 w 2984311"/>
                <a:gd name="connsiteY44" fmla="*/ 227463 h 782471"/>
                <a:gd name="connsiteX45" fmla="*/ 1319283 w 2984311"/>
                <a:gd name="connsiteY45" fmla="*/ 222913 h 782471"/>
                <a:gd name="connsiteX46" fmla="*/ 1278340 w 2984311"/>
                <a:gd name="connsiteY46" fmla="*/ 227463 h 782471"/>
                <a:gd name="connsiteX47" fmla="*/ 1264692 w 2984311"/>
                <a:gd name="connsiteY47" fmla="*/ 236561 h 782471"/>
                <a:gd name="connsiteX48" fmla="*/ 1246495 w 2984311"/>
                <a:gd name="connsiteY48" fmla="*/ 241111 h 782471"/>
                <a:gd name="connsiteX49" fmla="*/ 1219200 w 2984311"/>
                <a:gd name="connsiteY49" fmla="*/ 254758 h 782471"/>
                <a:gd name="connsiteX50" fmla="*/ 1191904 w 2984311"/>
                <a:gd name="connsiteY50" fmla="*/ 268406 h 782471"/>
                <a:gd name="connsiteX51" fmla="*/ 1160060 w 2984311"/>
                <a:gd name="connsiteY51" fmla="*/ 272955 h 782471"/>
                <a:gd name="connsiteX52" fmla="*/ 1105468 w 2984311"/>
                <a:gd name="connsiteY52" fmla="*/ 291152 h 782471"/>
                <a:gd name="connsiteX53" fmla="*/ 1073624 w 2984311"/>
                <a:gd name="connsiteY53" fmla="*/ 304800 h 782471"/>
                <a:gd name="connsiteX54" fmla="*/ 896203 w 2984311"/>
                <a:gd name="connsiteY54" fmla="*/ 309349 h 782471"/>
                <a:gd name="connsiteX55" fmla="*/ 868907 w 2984311"/>
                <a:gd name="connsiteY55" fmla="*/ 322997 h 782471"/>
                <a:gd name="connsiteX56" fmla="*/ 855260 w 2984311"/>
                <a:gd name="connsiteY56" fmla="*/ 327546 h 782471"/>
                <a:gd name="connsiteX57" fmla="*/ 782471 w 2984311"/>
                <a:gd name="connsiteY57" fmla="*/ 322997 h 782471"/>
                <a:gd name="connsiteX58" fmla="*/ 768824 w 2984311"/>
                <a:gd name="connsiteY58" fmla="*/ 318448 h 782471"/>
                <a:gd name="connsiteX59" fmla="*/ 723331 w 2984311"/>
                <a:gd name="connsiteY59" fmla="*/ 304800 h 782471"/>
                <a:gd name="connsiteX60" fmla="*/ 709683 w 2984311"/>
                <a:gd name="connsiteY60" fmla="*/ 300251 h 782471"/>
                <a:gd name="connsiteX61" fmla="*/ 696036 w 2984311"/>
                <a:gd name="connsiteY61" fmla="*/ 295702 h 782471"/>
                <a:gd name="connsiteX62" fmla="*/ 641445 w 2984311"/>
                <a:gd name="connsiteY62" fmla="*/ 291152 h 782471"/>
                <a:gd name="connsiteX63" fmla="*/ 591403 w 2984311"/>
                <a:gd name="connsiteY63" fmla="*/ 282054 h 782471"/>
                <a:gd name="connsiteX64" fmla="*/ 573206 w 2984311"/>
                <a:gd name="connsiteY64" fmla="*/ 277505 h 782471"/>
                <a:gd name="connsiteX65" fmla="*/ 545910 w 2984311"/>
                <a:gd name="connsiteY65" fmla="*/ 268406 h 782471"/>
                <a:gd name="connsiteX66" fmla="*/ 514066 w 2984311"/>
                <a:gd name="connsiteY66" fmla="*/ 263857 h 782471"/>
                <a:gd name="connsiteX67" fmla="*/ 491319 w 2984311"/>
                <a:gd name="connsiteY67" fmla="*/ 259308 h 782471"/>
                <a:gd name="connsiteX68" fmla="*/ 459474 w 2984311"/>
                <a:gd name="connsiteY68" fmla="*/ 254758 h 782471"/>
                <a:gd name="connsiteX69" fmla="*/ 432179 w 2984311"/>
                <a:gd name="connsiteY69" fmla="*/ 236561 h 782471"/>
                <a:gd name="connsiteX70" fmla="*/ 423080 w 2984311"/>
                <a:gd name="connsiteY70" fmla="*/ 222913 h 782471"/>
                <a:gd name="connsiteX71" fmla="*/ 404883 w 2984311"/>
                <a:gd name="connsiteY71" fmla="*/ 213815 h 782471"/>
                <a:gd name="connsiteX72" fmla="*/ 391236 w 2984311"/>
                <a:gd name="connsiteY72" fmla="*/ 204716 h 782471"/>
                <a:gd name="connsiteX73" fmla="*/ 373039 w 2984311"/>
                <a:gd name="connsiteY73" fmla="*/ 177421 h 782471"/>
                <a:gd name="connsiteX74" fmla="*/ 350292 w 2984311"/>
                <a:gd name="connsiteY74" fmla="*/ 150125 h 782471"/>
                <a:gd name="connsiteX75" fmla="*/ 322997 w 2984311"/>
                <a:gd name="connsiteY75" fmla="*/ 131928 h 782471"/>
                <a:gd name="connsiteX76" fmla="*/ 295701 w 2984311"/>
                <a:gd name="connsiteY76" fmla="*/ 113731 h 782471"/>
                <a:gd name="connsiteX77" fmla="*/ 286603 w 2984311"/>
                <a:gd name="connsiteY77" fmla="*/ 100084 h 782471"/>
                <a:gd name="connsiteX78" fmla="*/ 272955 w 2984311"/>
                <a:gd name="connsiteY78" fmla="*/ 95534 h 782471"/>
                <a:gd name="connsiteX79" fmla="*/ 259307 w 2984311"/>
                <a:gd name="connsiteY79" fmla="*/ 86436 h 782471"/>
                <a:gd name="connsiteX80" fmla="*/ 232012 w 2984311"/>
                <a:gd name="connsiteY80" fmla="*/ 77337 h 782471"/>
                <a:gd name="connsiteX81" fmla="*/ 218364 w 2984311"/>
                <a:gd name="connsiteY81" fmla="*/ 72788 h 782471"/>
                <a:gd name="connsiteX82" fmla="*/ 204716 w 2984311"/>
                <a:gd name="connsiteY82" fmla="*/ 68239 h 782471"/>
                <a:gd name="connsiteX83" fmla="*/ 191068 w 2984311"/>
                <a:gd name="connsiteY83" fmla="*/ 59140 h 782471"/>
                <a:gd name="connsiteX84" fmla="*/ 163773 w 2984311"/>
                <a:gd name="connsiteY84" fmla="*/ 50042 h 782471"/>
                <a:gd name="connsiteX85" fmla="*/ 136477 w 2984311"/>
                <a:gd name="connsiteY85" fmla="*/ 40943 h 782471"/>
                <a:gd name="connsiteX86" fmla="*/ 122830 w 2984311"/>
                <a:gd name="connsiteY86" fmla="*/ 36394 h 782471"/>
                <a:gd name="connsiteX87" fmla="*/ 0 w 2984311"/>
                <a:gd name="connsiteY87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20369 w 2984311"/>
                <a:gd name="connsiteY5" fmla="*/ 491319 h 782471"/>
                <a:gd name="connsiteX6" fmla="*/ 2370161 w 2984311"/>
                <a:gd name="connsiteY6" fmla="*/ 459475 h 782471"/>
                <a:gd name="connsiteX7" fmla="*/ 2247331 w 2984311"/>
                <a:gd name="connsiteY7" fmla="*/ 413982 h 782471"/>
                <a:gd name="connsiteX8" fmla="*/ 2233683 w 2984311"/>
                <a:gd name="connsiteY8" fmla="*/ 409433 h 782471"/>
                <a:gd name="connsiteX9" fmla="*/ 2220036 w 2984311"/>
                <a:gd name="connsiteY9" fmla="*/ 404884 h 782471"/>
                <a:gd name="connsiteX10" fmla="*/ 2192740 w 2984311"/>
                <a:gd name="connsiteY10" fmla="*/ 418531 h 782471"/>
                <a:gd name="connsiteX11" fmla="*/ 2151797 w 2984311"/>
                <a:gd name="connsiteY11" fmla="*/ 436728 h 782471"/>
                <a:gd name="connsiteX12" fmla="*/ 2138149 w 2984311"/>
                <a:gd name="connsiteY12" fmla="*/ 441278 h 782471"/>
                <a:gd name="connsiteX13" fmla="*/ 2124501 w 2984311"/>
                <a:gd name="connsiteY13" fmla="*/ 445827 h 782471"/>
                <a:gd name="connsiteX14" fmla="*/ 2083558 w 2984311"/>
                <a:gd name="connsiteY14" fmla="*/ 464024 h 782471"/>
                <a:gd name="connsiteX15" fmla="*/ 2069910 w 2984311"/>
                <a:gd name="connsiteY15" fmla="*/ 473122 h 782471"/>
                <a:gd name="connsiteX16" fmla="*/ 2056263 w 2984311"/>
                <a:gd name="connsiteY16" fmla="*/ 477672 h 782471"/>
                <a:gd name="connsiteX17" fmla="*/ 1988024 w 2984311"/>
                <a:gd name="connsiteY17" fmla="*/ 473122 h 782471"/>
                <a:gd name="connsiteX18" fmla="*/ 1969827 w 2984311"/>
                <a:gd name="connsiteY18" fmla="*/ 468573 h 782471"/>
                <a:gd name="connsiteX19" fmla="*/ 1878842 w 2984311"/>
                <a:gd name="connsiteY19" fmla="*/ 473122 h 782471"/>
                <a:gd name="connsiteX20" fmla="*/ 1851546 w 2984311"/>
                <a:gd name="connsiteY20" fmla="*/ 486770 h 782471"/>
                <a:gd name="connsiteX21" fmla="*/ 1842448 w 2984311"/>
                <a:gd name="connsiteY21" fmla="*/ 500418 h 782471"/>
                <a:gd name="connsiteX22" fmla="*/ 1815152 w 2984311"/>
                <a:gd name="connsiteY22" fmla="*/ 509516 h 782471"/>
                <a:gd name="connsiteX23" fmla="*/ 1787857 w 2984311"/>
                <a:gd name="connsiteY23" fmla="*/ 518615 h 782471"/>
                <a:gd name="connsiteX24" fmla="*/ 1774209 w 2984311"/>
                <a:gd name="connsiteY24" fmla="*/ 523164 h 782471"/>
                <a:gd name="connsiteX25" fmla="*/ 1733266 w 2984311"/>
                <a:gd name="connsiteY25" fmla="*/ 509516 h 782471"/>
                <a:gd name="connsiteX26" fmla="*/ 1728716 w 2984311"/>
                <a:gd name="connsiteY26" fmla="*/ 495869 h 782471"/>
                <a:gd name="connsiteX27" fmla="*/ 1724167 w 2984311"/>
                <a:gd name="connsiteY27" fmla="*/ 468573 h 782471"/>
                <a:gd name="connsiteX28" fmla="*/ 1710519 w 2984311"/>
                <a:gd name="connsiteY28" fmla="*/ 464024 h 782471"/>
                <a:gd name="connsiteX29" fmla="*/ 1701421 w 2984311"/>
                <a:gd name="connsiteY29" fmla="*/ 450376 h 782471"/>
                <a:gd name="connsiteX30" fmla="*/ 1687773 w 2984311"/>
                <a:gd name="connsiteY30" fmla="*/ 441278 h 782471"/>
                <a:gd name="connsiteX31" fmla="*/ 1683224 w 2984311"/>
                <a:gd name="connsiteY31" fmla="*/ 427630 h 782471"/>
                <a:gd name="connsiteX32" fmla="*/ 1665027 w 2984311"/>
                <a:gd name="connsiteY32" fmla="*/ 400334 h 782471"/>
                <a:gd name="connsiteX33" fmla="*/ 1646830 w 2984311"/>
                <a:gd name="connsiteY33" fmla="*/ 373039 h 782471"/>
                <a:gd name="connsiteX34" fmla="*/ 1633182 w 2984311"/>
                <a:gd name="connsiteY34" fmla="*/ 363940 h 782471"/>
                <a:gd name="connsiteX35" fmla="*/ 1601337 w 2984311"/>
                <a:gd name="connsiteY35" fmla="*/ 345743 h 782471"/>
                <a:gd name="connsiteX36" fmla="*/ 1587689 w 2984311"/>
                <a:gd name="connsiteY36" fmla="*/ 318448 h 782471"/>
                <a:gd name="connsiteX37" fmla="*/ 1574042 w 2984311"/>
                <a:gd name="connsiteY37" fmla="*/ 309349 h 782471"/>
                <a:gd name="connsiteX38" fmla="*/ 1542197 w 2984311"/>
                <a:gd name="connsiteY38" fmla="*/ 286603 h 782471"/>
                <a:gd name="connsiteX39" fmla="*/ 1501254 w 2984311"/>
                <a:gd name="connsiteY39" fmla="*/ 277505 h 782471"/>
                <a:gd name="connsiteX40" fmla="*/ 1473958 w 2984311"/>
                <a:gd name="connsiteY40" fmla="*/ 268406 h 782471"/>
                <a:gd name="connsiteX41" fmla="*/ 1460310 w 2984311"/>
                <a:gd name="connsiteY41" fmla="*/ 259308 h 782471"/>
                <a:gd name="connsiteX42" fmla="*/ 1433015 w 2984311"/>
                <a:gd name="connsiteY42" fmla="*/ 250209 h 782471"/>
                <a:gd name="connsiteX43" fmla="*/ 1360227 w 2984311"/>
                <a:gd name="connsiteY43" fmla="*/ 236561 h 782471"/>
                <a:gd name="connsiteX44" fmla="*/ 1332931 w 2984311"/>
                <a:gd name="connsiteY44" fmla="*/ 227463 h 782471"/>
                <a:gd name="connsiteX45" fmla="*/ 1319283 w 2984311"/>
                <a:gd name="connsiteY45" fmla="*/ 222913 h 782471"/>
                <a:gd name="connsiteX46" fmla="*/ 1278340 w 2984311"/>
                <a:gd name="connsiteY46" fmla="*/ 227463 h 782471"/>
                <a:gd name="connsiteX47" fmla="*/ 1264692 w 2984311"/>
                <a:gd name="connsiteY47" fmla="*/ 236561 h 782471"/>
                <a:gd name="connsiteX48" fmla="*/ 1246495 w 2984311"/>
                <a:gd name="connsiteY48" fmla="*/ 241111 h 782471"/>
                <a:gd name="connsiteX49" fmla="*/ 1219200 w 2984311"/>
                <a:gd name="connsiteY49" fmla="*/ 254758 h 782471"/>
                <a:gd name="connsiteX50" fmla="*/ 1191904 w 2984311"/>
                <a:gd name="connsiteY50" fmla="*/ 268406 h 782471"/>
                <a:gd name="connsiteX51" fmla="*/ 1160060 w 2984311"/>
                <a:gd name="connsiteY51" fmla="*/ 272955 h 782471"/>
                <a:gd name="connsiteX52" fmla="*/ 1105468 w 2984311"/>
                <a:gd name="connsiteY52" fmla="*/ 291152 h 782471"/>
                <a:gd name="connsiteX53" fmla="*/ 1073624 w 2984311"/>
                <a:gd name="connsiteY53" fmla="*/ 304800 h 782471"/>
                <a:gd name="connsiteX54" fmla="*/ 896203 w 2984311"/>
                <a:gd name="connsiteY54" fmla="*/ 309349 h 782471"/>
                <a:gd name="connsiteX55" fmla="*/ 868907 w 2984311"/>
                <a:gd name="connsiteY55" fmla="*/ 322997 h 782471"/>
                <a:gd name="connsiteX56" fmla="*/ 855260 w 2984311"/>
                <a:gd name="connsiteY56" fmla="*/ 327546 h 782471"/>
                <a:gd name="connsiteX57" fmla="*/ 782471 w 2984311"/>
                <a:gd name="connsiteY57" fmla="*/ 322997 h 782471"/>
                <a:gd name="connsiteX58" fmla="*/ 768824 w 2984311"/>
                <a:gd name="connsiteY58" fmla="*/ 318448 h 782471"/>
                <a:gd name="connsiteX59" fmla="*/ 723331 w 2984311"/>
                <a:gd name="connsiteY59" fmla="*/ 304800 h 782471"/>
                <a:gd name="connsiteX60" fmla="*/ 709683 w 2984311"/>
                <a:gd name="connsiteY60" fmla="*/ 300251 h 782471"/>
                <a:gd name="connsiteX61" fmla="*/ 696036 w 2984311"/>
                <a:gd name="connsiteY61" fmla="*/ 295702 h 782471"/>
                <a:gd name="connsiteX62" fmla="*/ 641445 w 2984311"/>
                <a:gd name="connsiteY62" fmla="*/ 291152 h 782471"/>
                <a:gd name="connsiteX63" fmla="*/ 591403 w 2984311"/>
                <a:gd name="connsiteY63" fmla="*/ 282054 h 782471"/>
                <a:gd name="connsiteX64" fmla="*/ 573206 w 2984311"/>
                <a:gd name="connsiteY64" fmla="*/ 277505 h 782471"/>
                <a:gd name="connsiteX65" fmla="*/ 545910 w 2984311"/>
                <a:gd name="connsiteY65" fmla="*/ 268406 h 782471"/>
                <a:gd name="connsiteX66" fmla="*/ 514066 w 2984311"/>
                <a:gd name="connsiteY66" fmla="*/ 263857 h 782471"/>
                <a:gd name="connsiteX67" fmla="*/ 491319 w 2984311"/>
                <a:gd name="connsiteY67" fmla="*/ 259308 h 782471"/>
                <a:gd name="connsiteX68" fmla="*/ 459474 w 2984311"/>
                <a:gd name="connsiteY68" fmla="*/ 254758 h 782471"/>
                <a:gd name="connsiteX69" fmla="*/ 432179 w 2984311"/>
                <a:gd name="connsiteY69" fmla="*/ 236561 h 782471"/>
                <a:gd name="connsiteX70" fmla="*/ 423080 w 2984311"/>
                <a:gd name="connsiteY70" fmla="*/ 222913 h 782471"/>
                <a:gd name="connsiteX71" fmla="*/ 404883 w 2984311"/>
                <a:gd name="connsiteY71" fmla="*/ 213815 h 782471"/>
                <a:gd name="connsiteX72" fmla="*/ 391236 w 2984311"/>
                <a:gd name="connsiteY72" fmla="*/ 204716 h 782471"/>
                <a:gd name="connsiteX73" fmla="*/ 373039 w 2984311"/>
                <a:gd name="connsiteY73" fmla="*/ 177421 h 782471"/>
                <a:gd name="connsiteX74" fmla="*/ 350292 w 2984311"/>
                <a:gd name="connsiteY74" fmla="*/ 150125 h 782471"/>
                <a:gd name="connsiteX75" fmla="*/ 322997 w 2984311"/>
                <a:gd name="connsiteY75" fmla="*/ 131928 h 782471"/>
                <a:gd name="connsiteX76" fmla="*/ 295701 w 2984311"/>
                <a:gd name="connsiteY76" fmla="*/ 113731 h 782471"/>
                <a:gd name="connsiteX77" fmla="*/ 286603 w 2984311"/>
                <a:gd name="connsiteY77" fmla="*/ 100084 h 782471"/>
                <a:gd name="connsiteX78" fmla="*/ 272955 w 2984311"/>
                <a:gd name="connsiteY78" fmla="*/ 95534 h 782471"/>
                <a:gd name="connsiteX79" fmla="*/ 259307 w 2984311"/>
                <a:gd name="connsiteY79" fmla="*/ 86436 h 782471"/>
                <a:gd name="connsiteX80" fmla="*/ 232012 w 2984311"/>
                <a:gd name="connsiteY80" fmla="*/ 77337 h 782471"/>
                <a:gd name="connsiteX81" fmla="*/ 218364 w 2984311"/>
                <a:gd name="connsiteY81" fmla="*/ 72788 h 782471"/>
                <a:gd name="connsiteX82" fmla="*/ 204716 w 2984311"/>
                <a:gd name="connsiteY82" fmla="*/ 68239 h 782471"/>
                <a:gd name="connsiteX83" fmla="*/ 191068 w 2984311"/>
                <a:gd name="connsiteY83" fmla="*/ 59140 h 782471"/>
                <a:gd name="connsiteX84" fmla="*/ 163773 w 2984311"/>
                <a:gd name="connsiteY84" fmla="*/ 50042 h 782471"/>
                <a:gd name="connsiteX85" fmla="*/ 136477 w 2984311"/>
                <a:gd name="connsiteY85" fmla="*/ 40943 h 782471"/>
                <a:gd name="connsiteX86" fmla="*/ 122830 w 2984311"/>
                <a:gd name="connsiteY86" fmla="*/ 36394 h 782471"/>
                <a:gd name="connsiteX87" fmla="*/ 0 w 2984311"/>
                <a:gd name="connsiteY87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20369 w 2984311"/>
                <a:gd name="connsiteY5" fmla="*/ 491319 h 782471"/>
                <a:gd name="connsiteX6" fmla="*/ 2370161 w 2984311"/>
                <a:gd name="connsiteY6" fmla="*/ 459475 h 782471"/>
                <a:gd name="connsiteX7" fmla="*/ 2247331 w 2984311"/>
                <a:gd name="connsiteY7" fmla="*/ 413982 h 782471"/>
                <a:gd name="connsiteX8" fmla="*/ 2233683 w 2984311"/>
                <a:gd name="connsiteY8" fmla="*/ 409433 h 782471"/>
                <a:gd name="connsiteX9" fmla="*/ 2220036 w 2984311"/>
                <a:gd name="connsiteY9" fmla="*/ 404884 h 782471"/>
                <a:gd name="connsiteX10" fmla="*/ 2192740 w 2984311"/>
                <a:gd name="connsiteY10" fmla="*/ 418531 h 782471"/>
                <a:gd name="connsiteX11" fmla="*/ 2151797 w 2984311"/>
                <a:gd name="connsiteY11" fmla="*/ 436728 h 782471"/>
                <a:gd name="connsiteX12" fmla="*/ 2124501 w 2984311"/>
                <a:gd name="connsiteY12" fmla="*/ 445827 h 782471"/>
                <a:gd name="connsiteX13" fmla="*/ 2083558 w 2984311"/>
                <a:gd name="connsiteY13" fmla="*/ 464024 h 782471"/>
                <a:gd name="connsiteX14" fmla="*/ 2069910 w 2984311"/>
                <a:gd name="connsiteY14" fmla="*/ 473122 h 782471"/>
                <a:gd name="connsiteX15" fmla="*/ 2056263 w 2984311"/>
                <a:gd name="connsiteY15" fmla="*/ 477672 h 782471"/>
                <a:gd name="connsiteX16" fmla="*/ 1988024 w 2984311"/>
                <a:gd name="connsiteY16" fmla="*/ 473122 h 782471"/>
                <a:gd name="connsiteX17" fmla="*/ 1969827 w 2984311"/>
                <a:gd name="connsiteY17" fmla="*/ 468573 h 782471"/>
                <a:gd name="connsiteX18" fmla="*/ 1878842 w 2984311"/>
                <a:gd name="connsiteY18" fmla="*/ 473122 h 782471"/>
                <a:gd name="connsiteX19" fmla="*/ 1851546 w 2984311"/>
                <a:gd name="connsiteY19" fmla="*/ 486770 h 782471"/>
                <a:gd name="connsiteX20" fmla="*/ 1842448 w 2984311"/>
                <a:gd name="connsiteY20" fmla="*/ 500418 h 782471"/>
                <a:gd name="connsiteX21" fmla="*/ 1815152 w 2984311"/>
                <a:gd name="connsiteY21" fmla="*/ 509516 h 782471"/>
                <a:gd name="connsiteX22" fmla="*/ 1787857 w 2984311"/>
                <a:gd name="connsiteY22" fmla="*/ 518615 h 782471"/>
                <a:gd name="connsiteX23" fmla="*/ 1774209 w 2984311"/>
                <a:gd name="connsiteY23" fmla="*/ 523164 h 782471"/>
                <a:gd name="connsiteX24" fmla="*/ 1733266 w 2984311"/>
                <a:gd name="connsiteY24" fmla="*/ 509516 h 782471"/>
                <a:gd name="connsiteX25" fmla="*/ 1728716 w 2984311"/>
                <a:gd name="connsiteY25" fmla="*/ 495869 h 782471"/>
                <a:gd name="connsiteX26" fmla="*/ 1724167 w 2984311"/>
                <a:gd name="connsiteY26" fmla="*/ 468573 h 782471"/>
                <a:gd name="connsiteX27" fmla="*/ 1710519 w 2984311"/>
                <a:gd name="connsiteY27" fmla="*/ 464024 h 782471"/>
                <a:gd name="connsiteX28" fmla="*/ 1701421 w 2984311"/>
                <a:gd name="connsiteY28" fmla="*/ 450376 h 782471"/>
                <a:gd name="connsiteX29" fmla="*/ 1687773 w 2984311"/>
                <a:gd name="connsiteY29" fmla="*/ 441278 h 782471"/>
                <a:gd name="connsiteX30" fmla="*/ 1683224 w 2984311"/>
                <a:gd name="connsiteY30" fmla="*/ 427630 h 782471"/>
                <a:gd name="connsiteX31" fmla="*/ 1665027 w 2984311"/>
                <a:gd name="connsiteY31" fmla="*/ 400334 h 782471"/>
                <a:gd name="connsiteX32" fmla="*/ 1646830 w 2984311"/>
                <a:gd name="connsiteY32" fmla="*/ 373039 h 782471"/>
                <a:gd name="connsiteX33" fmla="*/ 1633182 w 2984311"/>
                <a:gd name="connsiteY33" fmla="*/ 363940 h 782471"/>
                <a:gd name="connsiteX34" fmla="*/ 1601337 w 2984311"/>
                <a:gd name="connsiteY34" fmla="*/ 345743 h 782471"/>
                <a:gd name="connsiteX35" fmla="*/ 1587689 w 2984311"/>
                <a:gd name="connsiteY35" fmla="*/ 318448 h 782471"/>
                <a:gd name="connsiteX36" fmla="*/ 1574042 w 2984311"/>
                <a:gd name="connsiteY36" fmla="*/ 309349 h 782471"/>
                <a:gd name="connsiteX37" fmla="*/ 1542197 w 2984311"/>
                <a:gd name="connsiteY37" fmla="*/ 286603 h 782471"/>
                <a:gd name="connsiteX38" fmla="*/ 1501254 w 2984311"/>
                <a:gd name="connsiteY38" fmla="*/ 277505 h 782471"/>
                <a:gd name="connsiteX39" fmla="*/ 1473958 w 2984311"/>
                <a:gd name="connsiteY39" fmla="*/ 268406 h 782471"/>
                <a:gd name="connsiteX40" fmla="*/ 1460310 w 2984311"/>
                <a:gd name="connsiteY40" fmla="*/ 259308 h 782471"/>
                <a:gd name="connsiteX41" fmla="*/ 1433015 w 2984311"/>
                <a:gd name="connsiteY41" fmla="*/ 250209 h 782471"/>
                <a:gd name="connsiteX42" fmla="*/ 1360227 w 2984311"/>
                <a:gd name="connsiteY42" fmla="*/ 236561 h 782471"/>
                <a:gd name="connsiteX43" fmla="*/ 1332931 w 2984311"/>
                <a:gd name="connsiteY43" fmla="*/ 227463 h 782471"/>
                <a:gd name="connsiteX44" fmla="*/ 1319283 w 2984311"/>
                <a:gd name="connsiteY44" fmla="*/ 222913 h 782471"/>
                <a:gd name="connsiteX45" fmla="*/ 1278340 w 2984311"/>
                <a:gd name="connsiteY45" fmla="*/ 227463 h 782471"/>
                <a:gd name="connsiteX46" fmla="*/ 1264692 w 2984311"/>
                <a:gd name="connsiteY46" fmla="*/ 236561 h 782471"/>
                <a:gd name="connsiteX47" fmla="*/ 1246495 w 2984311"/>
                <a:gd name="connsiteY47" fmla="*/ 241111 h 782471"/>
                <a:gd name="connsiteX48" fmla="*/ 1219200 w 2984311"/>
                <a:gd name="connsiteY48" fmla="*/ 254758 h 782471"/>
                <a:gd name="connsiteX49" fmla="*/ 1191904 w 2984311"/>
                <a:gd name="connsiteY49" fmla="*/ 268406 h 782471"/>
                <a:gd name="connsiteX50" fmla="*/ 1160060 w 2984311"/>
                <a:gd name="connsiteY50" fmla="*/ 272955 h 782471"/>
                <a:gd name="connsiteX51" fmla="*/ 1105468 w 2984311"/>
                <a:gd name="connsiteY51" fmla="*/ 291152 h 782471"/>
                <a:gd name="connsiteX52" fmla="*/ 1073624 w 2984311"/>
                <a:gd name="connsiteY52" fmla="*/ 304800 h 782471"/>
                <a:gd name="connsiteX53" fmla="*/ 896203 w 2984311"/>
                <a:gd name="connsiteY53" fmla="*/ 309349 h 782471"/>
                <a:gd name="connsiteX54" fmla="*/ 868907 w 2984311"/>
                <a:gd name="connsiteY54" fmla="*/ 322997 h 782471"/>
                <a:gd name="connsiteX55" fmla="*/ 855260 w 2984311"/>
                <a:gd name="connsiteY55" fmla="*/ 327546 h 782471"/>
                <a:gd name="connsiteX56" fmla="*/ 782471 w 2984311"/>
                <a:gd name="connsiteY56" fmla="*/ 322997 h 782471"/>
                <a:gd name="connsiteX57" fmla="*/ 768824 w 2984311"/>
                <a:gd name="connsiteY57" fmla="*/ 318448 h 782471"/>
                <a:gd name="connsiteX58" fmla="*/ 723331 w 2984311"/>
                <a:gd name="connsiteY58" fmla="*/ 304800 h 782471"/>
                <a:gd name="connsiteX59" fmla="*/ 709683 w 2984311"/>
                <a:gd name="connsiteY59" fmla="*/ 300251 h 782471"/>
                <a:gd name="connsiteX60" fmla="*/ 696036 w 2984311"/>
                <a:gd name="connsiteY60" fmla="*/ 295702 h 782471"/>
                <a:gd name="connsiteX61" fmla="*/ 641445 w 2984311"/>
                <a:gd name="connsiteY61" fmla="*/ 291152 h 782471"/>
                <a:gd name="connsiteX62" fmla="*/ 591403 w 2984311"/>
                <a:gd name="connsiteY62" fmla="*/ 282054 h 782471"/>
                <a:gd name="connsiteX63" fmla="*/ 573206 w 2984311"/>
                <a:gd name="connsiteY63" fmla="*/ 277505 h 782471"/>
                <a:gd name="connsiteX64" fmla="*/ 545910 w 2984311"/>
                <a:gd name="connsiteY64" fmla="*/ 268406 h 782471"/>
                <a:gd name="connsiteX65" fmla="*/ 514066 w 2984311"/>
                <a:gd name="connsiteY65" fmla="*/ 263857 h 782471"/>
                <a:gd name="connsiteX66" fmla="*/ 491319 w 2984311"/>
                <a:gd name="connsiteY66" fmla="*/ 259308 h 782471"/>
                <a:gd name="connsiteX67" fmla="*/ 459474 w 2984311"/>
                <a:gd name="connsiteY67" fmla="*/ 254758 h 782471"/>
                <a:gd name="connsiteX68" fmla="*/ 432179 w 2984311"/>
                <a:gd name="connsiteY68" fmla="*/ 236561 h 782471"/>
                <a:gd name="connsiteX69" fmla="*/ 423080 w 2984311"/>
                <a:gd name="connsiteY69" fmla="*/ 222913 h 782471"/>
                <a:gd name="connsiteX70" fmla="*/ 404883 w 2984311"/>
                <a:gd name="connsiteY70" fmla="*/ 213815 h 782471"/>
                <a:gd name="connsiteX71" fmla="*/ 391236 w 2984311"/>
                <a:gd name="connsiteY71" fmla="*/ 204716 h 782471"/>
                <a:gd name="connsiteX72" fmla="*/ 373039 w 2984311"/>
                <a:gd name="connsiteY72" fmla="*/ 177421 h 782471"/>
                <a:gd name="connsiteX73" fmla="*/ 350292 w 2984311"/>
                <a:gd name="connsiteY73" fmla="*/ 150125 h 782471"/>
                <a:gd name="connsiteX74" fmla="*/ 322997 w 2984311"/>
                <a:gd name="connsiteY74" fmla="*/ 131928 h 782471"/>
                <a:gd name="connsiteX75" fmla="*/ 295701 w 2984311"/>
                <a:gd name="connsiteY75" fmla="*/ 113731 h 782471"/>
                <a:gd name="connsiteX76" fmla="*/ 286603 w 2984311"/>
                <a:gd name="connsiteY76" fmla="*/ 100084 h 782471"/>
                <a:gd name="connsiteX77" fmla="*/ 272955 w 2984311"/>
                <a:gd name="connsiteY77" fmla="*/ 95534 h 782471"/>
                <a:gd name="connsiteX78" fmla="*/ 259307 w 2984311"/>
                <a:gd name="connsiteY78" fmla="*/ 86436 h 782471"/>
                <a:gd name="connsiteX79" fmla="*/ 232012 w 2984311"/>
                <a:gd name="connsiteY79" fmla="*/ 77337 h 782471"/>
                <a:gd name="connsiteX80" fmla="*/ 218364 w 2984311"/>
                <a:gd name="connsiteY80" fmla="*/ 72788 h 782471"/>
                <a:gd name="connsiteX81" fmla="*/ 204716 w 2984311"/>
                <a:gd name="connsiteY81" fmla="*/ 68239 h 782471"/>
                <a:gd name="connsiteX82" fmla="*/ 191068 w 2984311"/>
                <a:gd name="connsiteY82" fmla="*/ 59140 h 782471"/>
                <a:gd name="connsiteX83" fmla="*/ 163773 w 2984311"/>
                <a:gd name="connsiteY83" fmla="*/ 50042 h 782471"/>
                <a:gd name="connsiteX84" fmla="*/ 136477 w 2984311"/>
                <a:gd name="connsiteY84" fmla="*/ 40943 h 782471"/>
                <a:gd name="connsiteX85" fmla="*/ 122830 w 2984311"/>
                <a:gd name="connsiteY85" fmla="*/ 36394 h 782471"/>
                <a:gd name="connsiteX86" fmla="*/ 0 w 2984311"/>
                <a:gd name="connsiteY86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20369 w 2984311"/>
                <a:gd name="connsiteY5" fmla="*/ 491319 h 782471"/>
                <a:gd name="connsiteX6" fmla="*/ 2370161 w 2984311"/>
                <a:gd name="connsiteY6" fmla="*/ 459475 h 782471"/>
                <a:gd name="connsiteX7" fmla="*/ 2247331 w 2984311"/>
                <a:gd name="connsiteY7" fmla="*/ 413982 h 782471"/>
                <a:gd name="connsiteX8" fmla="*/ 2233683 w 2984311"/>
                <a:gd name="connsiteY8" fmla="*/ 409433 h 782471"/>
                <a:gd name="connsiteX9" fmla="*/ 2220036 w 2984311"/>
                <a:gd name="connsiteY9" fmla="*/ 404884 h 782471"/>
                <a:gd name="connsiteX10" fmla="*/ 2192740 w 2984311"/>
                <a:gd name="connsiteY10" fmla="*/ 418531 h 782471"/>
                <a:gd name="connsiteX11" fmla="*/ 2124501 w 2984311"/>
                <a:gd name="connsiteY11" fmla="*/ 445827 h 782471"/>
                <a:gd name="connsiteX12" fmla="*/ 2083558 w 2984311"/>
                <a:gd name="connsiteY12" fmla="*/ 464024 h 782471"/>
                <a:gd name="connsiteX13" fmla="*/ 2069910 w 2984311"/>
                <a:gd name="connsiteY13" fmla="*/ 473122 h 782471"/>
                <a:gd name="connsiteX14" fmla="*/ 2056263 w 2984311"/>
                <a:gd name="connsiteY14" fmla="*/ 477672 h 782471"/>
                <a:gd name="connsiteX15" fmla="*/ 1988024 w 2984311"/>
                <a:gd name="connsiteY15" fmla="*/ 473122 h 782471"/>
                <a:gd name="connsiteX16" fmla="*/ 1969827 w 2984311"/>
                <a:gd name="connsiteY16" fmla="*/ 468573 h 782471"/>
                <a:gd name="connsiteX17" fmla="*/ 1878842 w 2984311"/>
                <a:gd name="connsiteY17" fmla="*/ 473122 h 782471"/>
                <a:gd name="connsiteX18" fmla="*/ 1851546 w 2984311"/>
                <a:gd name="connsiteY18" fmla="*/ 486770 h 782471"/>
                <a:gd name="connsiteX19" fmla="*/ 1842448 w 2984311"/>
                <a:gd name="connsiteY19" fmla="*/ 500418 h 782471"/>
                <a:gd name="connsiteX20" fmla="*/ 1815152 w 2984311"/>
                <a:gd name="connsiteY20" fmla="*/ 509516 h 782471"/>
                <a:gd name="connsiteX21" fmla="*/ 1787857 w 2984311"/>
                <a:gd name="connsiteY21" fmla="*/ 518615 h 782471"/>
                <a:gd name="connsiteX22" fmla="*/ 1774209 w 2984311"/>
                <a:gd name="connsiteY22" fmla="*/ 523164 h 782471"/>
                <a:gd name="connsiteX23" fmla="*/ 1733266 w 2984311"/>
                <a:gd name="connsiteY23" fmla="*/ 509516 h 782471"/>
                <a:gd name="connsiteX24" fmla="*/ 1728716 w 2984311"/>
                <a:gd name="connsiteY24" fmla="*/ 495869 h 782471"/>
                <a:gd name="connsiteX25" fmla="*/ 1724167 w 2984311"/>
                <a:gd name="connsiteY25" fmla="*/ 468573 h 782471"/>
                <a:gd name="connsiteX26" fmla="*/ 1710519 w 2984311"/>
                <a:gd name="connsiteY26" fmla="*/ 464024 h 782471"/>
                <a:gd name="connsiteX27" fmla="*/ 1701421 w 2984311"/>
                <a:gd name="connsiteY27" fmla="*/ 450376 h 782471"/>
                <a:gd name="connsiteX28" fmla="*/ 1687773 w 2984311"/>
                <a:gd name="connsiteY28" fmla="*/ 441278 h 782471"/>
                <a:gd name="connsiteX29" fmla="*/ 1683224 w 2984311"/>
                <a:gd name="connsiteY29" fmla="*/ 427630 h 782471"/>
                <a:gd name="connsiteX30" fmla="*/ 1665027 w 2984311"/>
                <a:gd name="connsiteY30" fmla="*/ 400334 h 782471"/>
                <a:gd name="connsiteX31" fmla="*/ 1646830 w 2984311"/>
                <a:gd name="connsiteY31" fmla="*/ 373039 h 782471"/>
                <a:gd name="connsiteX32" fmla="*/ 1633182 w 2984311"/>
                <a:gd name="connsiteY32" fmla="*/ 363940 h 782471"/>
                <a:gd name="connsiteX33" fmla="*/ 1601337 w 2984311"/>
                <a:gd name="connsiteY33" fmla="*/ 345743 h 782471"/>
                <a:gd name="connsiteX34" fmla="*/ 1587689 w 2984311"/>
                <a:gd name="connsiteY34" fmla="*/ 318448 h 782471"/>
                <a:gd name="connsiteX35" fmla="*/ 1574042 w 2984311"/>
                <a:gd name="connsiteY35" fmla="*/ 309349 h 782471"/>
                <a:gd name="connsiteX36" fmla="*/ 1542197 w 2984311"/>
                <a:gd name="connsiteY36" fmla="*/ 286603 h 782471"/>
                <a:gd name="connsiteX37" fmla="*/ 1501254 w 2984311"/>
                <a:gd name="connsiteY37" fmla="*/ 277505 h 782471"/>
                <a:gd name="connsiteX38" fmla="*/ 1473958 w 2984311"/>
                <a:gd name="connsiteY38" fmla="*/ 268406 h 782471"/>
                <a:gd name="connsiteX39" fmla="*/ 1460310 w 2984311"/>
                <a:gd name="connsiteY39" fmla="*/ 259308 h 782471"/>
                <a:gd name="connsiteX40" fmla="*/ 1433015 w 2984311"/>
                <a:gd name="connsiteY40" fmla="*/ 250209 h 782471"/>
                <a:gd name="connsiteX41" fmla="*/ 1360227 w 2984311"/>
                <a:gd name="connsiteY41" fmla="*/ 236561 h 782471"/>
                <a:gd name="connsiteX42" fmla="*/ 1332931 w 2984311"/>
                <a:gd name="connsiteY42" fmla="*/ 227463 h 782471"/>
                <a:gd name="connsiteX43" fmla="*/ 1319283 w 2984311"/>
                <a:gd name="connsiteY43" fmla="*/ 222913 h 782471"/>
                <a:gd name="connsiteX44" fmla="*/ 1278340 w 2984311"/>
                <a:gd name="connsiteY44" fmla="*/ 227463 h 782471"/>
                <a:gd name="connsiteX45" fmla="*/ 1264692 w 2984311"/>
                <a:gd name="connsiteY45" fmla="*/ 236561 h 782471"/>
                <a:gd name="connsiteX46" fmla="*/ 1246495 w 2984311"/>
                <a:gd name="connsiteY46" fmla="*/ 241111 h 782471"/>
                <a:gd name="connsiteX47" fmla="*/ 1219200 w 2984311"/>
                <a:gd name="connsiteY47" fmla="*/ 254758 h 782471"/>
                <a:gd name="connsiteX48" fmla="*/ 1191904 w 2984311"/>
                <a:gd name="connsiteY48" fmla="*/ 268406 h 782471"/>
                <a:gd name="connsiteX49" fmla="*/ 1160060 w 2984311"/>
                <a:gd name="connsiteY49" fmla="*/ 272955 h 782471"/>
                <a:gd name="connsiteX50" fmla="*/ 1105468 w 2984311"/>
                <a:gd name="connsiteY50" fmla="*/ 291152 h 782471"/>
                <a:gd name="connsiteX51" fmla="*/ 1073624 w 2984311"/>
                <a:gd name="connsiteY51" fmla="*/ 304800 h 782471"/>
                <a:gd name="connsiteX52" fmla="*/ 896203 w 2984311"/>
                <a:gd name="connsiteY52" fmla="*/ 309349 h 782471"/>
                <a:gd name="connsiteX53" fmla="*/ 868907 w 2984311"/>
                <a:gd name="connsiteY53" fmla="*/ 322997 h 782471"/>
                <a:gd name="connsiteX54" fmla="*/ 855260 w 2984311"/>
                <a:gd name="connsiteY54" fmla="*/ 327546 h 782471"/>
                <a:gd name="connsiteX55" fmla="*/ 782471 w 2984311"/>
                <a:gd name="connsiteY55" fmla="*/ 322997 h 782471"/>
                <a:gd name="connsiteX56" fmla="*/ 768824 w 2984311"/>
                <a:gd name="connsiteY56" fmla="*/ 318448 h 782471"/>
                <a:gd name="connsiteX57" fmla="*/ 723331 w 2984311"/>
                <a:gd name="connsiteY57" fmla="*/ 304800 h 782471"/>
                <a:gd name="connsiteX58" fmla="*/ 709683 w 2984311"/>
                <a:gd name="connsiteY58" fmla="*/ 300251 h 782471"/>
                <a:gd name="connsiteX59" fmla="*/ 696036 w 2984311"/>
                <a:gd name="connsiteY59" fmla="*/ 295702 h 782471"/>
                <a:gd name="connsiteX60" fmla="*/ 641445 w 2984311"/>
                <a:gd name="connsiteY60" fmla="*/ 291152 h 782471"/>
                <a:gd name="connsiteX61" fmla="*/ 591403 w 2984311"/>
                <a:gd name="connsiteY61" fmla="*/ 282054 h 782471"/>
                <a:gd name="connsiteX62" fmla="*/ 573206 w 2984311"/>
                <a:gd name="connsiteY62" fmla="*/ 277505 h 782471"/>
                <a:gd name="connsiteX63" fmla="*/ 545910 w 2984311"/>
                <a:gd name="connsiteY63" fmla="*/ 268406 h 782471"/>
                <a:gd name="connsiteX64" fmla="*/ 514066 w 2984311"/>
                <a:gd name="connsiteY64" fmla="*/ 263857 h 782471"/>
                <a:gd name="connsiteX65" fmla="*/ 491319 w 2984311"/>
                <a:gd name="connsiteY65" fmla="*/ 259308 h 782471"/>
                <a:gd name="connsiteX66" fmla="*/ 459474 w 2984311"/>
                <a:gd name="connsiteY66" fmla="*/ 254758 h 782471"/>
                <a:gd name="connsiteX67" fmla="*/ 432179 w 2984311"/>
                <a:gd name="connsiteY67" fmla="*/ 236561 h 782471"/>
                <a:gd name="connsiteX68" fmla="*/ 423080 w 2984311"/>
                <a:gd name="connsiteY68" fmla="*/ 222913 h 782471"/>
                <a:gd name="connsiteX69" fmla="*/ 404883 w 2984311"/>
                <a:gd name="connsiteY69" fmla="*/ 213815 h 782471"/>
                <a:gd name="connsiteX70" fmla="*/ 391236 w 2984311"/>
                <a:gd name="connsiteY70" fmla="*/ 204716 h 782471"/>
                <a:gd name="connsiteX71" fmla="*/ 373039 w 2984311"/>
                <a:gd name="connsiteY71" fmla="*/ 177421 h 782471"/>
                <a:gd name="connsiteX72" fmla="*/ 350292 w 2984311"/>
                <a:gd name="connsiteY72" fmla="*/ 150125 h 782471"/>
                <a:gd name="connsiteX73" fmla="*/ 322997 w 2984311"/>
                <a:gd name="connsiteY73" fmla="*/ 131928 h 782471"/>
                <a:gd name="connsiteX74" fmla="*/ 295701 w 2984311"/>
                <a:gd name="connsiteY74" fmla="*/ 113731 h 782471"/>
                <a:gd name="connsiteX75" fmla="*/ 286603 w 2984311"/>
                <a:gd name="connsiteY75" fmla="*/ 100084 h 782471"/>
                <a:gd name="connsiteX76" fmla="*/ 272955 w 2984311"/>
                <a:gd name="connsiteY76" fmla="*/ 95534 h 782471"/>
                <a:gd name="connsiteX77" fmla="*/ 259307 w 2984311"/>
                <a:gd name="connsiteY77" fmla="*/ 86436 h 782471"/>
                <a:gd name="connsiteX78" fmla="*/ 232012 w 2984311"/>
                <a:gd name="connsiteY78" fmla="*/ 77337 h 782471"/>
                <a:gd name="connsiteX79" fmla="*/ 218364 w 2984311"/>
                <a:gd name="connsiteY79" fmla="*/ 72788 h 782471"/>
                <a:gd name="connsiteX80" fmla="*/ 204716 w 2984311"/>
                <a:gd name="connsiteY80" fmla="*/ 68239 h 782471"/>
                <a:gd name="connsiteX81" fmla="*/ 191068 w 2984311"/>
                <a:gd name="connsiteY81" fmla="*/ 59140 h 782471"/>
                <a:gd name="connsiteX82" fmla="*/ 163773 w 2984311"/>
                <a:gd name="connsiteY82" fmla="*/ 50042 h 782471"/>
                <a:gd name="connsiteX83" fmla="*/ 136477 w 2984311"/>
                <a:gd name="connsiteY83" fmla="*/ 40943 h 782471"/>
                <a:gd name="connsiteX84" fmla="*/ 122830 w 2984311"/>
                <a:gd name="connsiteY84" fmla="*/ 36394 h 782471"/>
                <a:gd name="connsiteX85" fmla="*/ 0 w 2984311"/>
                <a:gd name="connsiteY85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20369 w 2984311"/>
                <a:gd name="connsiteY5" fmla="*/ 491319 h 782471"/>
                <a:gd name="connsiteX6" fmla="*/ 2370161 w 2984311"/>
                <a:gd name="connsiteY6" fmla="*/ 459475 h 782471"/>
                <a:gd name="connsiteX7" fmla="*/ 2247331 w 2984311"/>
                <a:gd name="connsiteY7" fmla="*/ 413982 h 782471"/>
                <a:gd name="connsiteX8" fmla="*/ 2233683 w 2984311"/>
                <a:gd name="connsiteY8" fmla="*/ 409433 h 782471"/>
                <a:gd name="connsiteX9" fmla="*/ 2220036 w 2984311"/>
                <a:gd name="connsiteY9" fmla="*/ 404884 h 782471"/>
                <a:gd name="connsiteX10" fmla="*/ 2192740 w 2984311"/>
                <a:gd name="connsiteY10" fmla="*/ 418531 h 782471"/>
                <a:gd name="connsiteX11" fmla="*/ 2083558 w 2984311"/>
                <a:gd name="connsiteY11" fmla="*/ 464024 h 782471"/>
                <a:gd name="connsiteX12" fmla="*/ 2069910 w 2984311"/>
                <a:gd name="connsiteY12" fmla="*/ 473122 h 782471"/>
                <a:gd name="connsiteX13" fmla="*/ 2056263 w 2984311"/>
                <a:gd name="connsiteY13" fmla="*/ 477672 h 782471"/>
                <a:gd name="connsiteX14" fmla="*/ 1988024 w 2984311"/>
                <a:gd name="connsiteY14" fmla="*/ 473122 h 782471"/>
                <a:gd name="connsiteX15" fmla="*/ 1969827 w 2984311"/>
                <a:gd name="connsiteY15" fmla="*/ 468573 h 782471"/>
                <a:gd name="connsiteX16" fmla="*/ 1878842 w 2984311"/>
                <a:gd name="connsiteY16" fmla="*/ 473122 h 782471"/>
                <a:gd name="connsiteX17" fmla="*/ 1851546 w 2984311"/>
                <a:gd name="connsiteY17" fmla="*/ 486770 h 782471"/>
                <a:gd name="connsiteX18" fmla="*/ 1842448 w 2984311"/>
                <a:gd name="connsiteY18" fmla="*/ 500418 h 782471"/>
                <a:gd name="connsiteX19" fmla="*/ 1815152 w 2984311"/>
                <a:gd name="connsiteY19" fmla="*/ 509516 h 782471"/>
                <a:gd name="connsiteX20" fmla="*/ 1787857 w 2984311"/>
                <a:gd name="connsiteY20" fmla="*/ 518615 h 782471"/>
                <a:gd name="connsiteX21" fmla="*/ 1774209 w 2984311"/>
                <a:gd name="connsiteY21" fmla="*/ 523164 h 782471"/>
                <a:gd name="connsiteX22" fmla="*/ 1733266 w 2984311"/>
                <a:gd name="connsiteY22" fmla="*/ 509516 h 782471"/>
                <a:gd name="connsiteX23" fmla="*/ 1728716 w 2984311"/>
                <a:gd name="connsiteY23" fmla="*/ 495869 h 782471"/>
                <a:gd name="connsiteX24" fmla="*/ 1724167 w 2984311"/>
                <a:gd name="connsiteY24" fmla="*/ 468573 h 782471"/>
                <a:gd name="connsiteX25" fmla="*/ 1710519 w 2984311"/>
                <a:gd name="connsiteY25" fmla="*/ 464024 h 782471"/>
                <a:gd name="connsiteX26" fmla="*/ 1701421 w 2984311"/>
                <a:gd name="connsiteY26" fmla="*/ 450376 h 782471"/>
                <a:gd name="connsiteX27" fmla="*/ 1687773 w 2984311"/>
                <a:gd name="connsiteY27" fmla="*/ 441278 h 782471"/>
                <a:gd name="connsiteX28" fmla="*/ 1683224 w 2984311"/>
                <a:gd name="connsiteY28" fmla="*/ 427630 h 782471"/>
                <a:gd name="connsiteX29" fmla="*/ 1665027 w 2984311"/>
                <a:gd name="connsiteY29" fmla="*/ 400334 h 782471"/>
                <a:gd name="connsiteX30" fmla="*/ 1646830 w 2984311"/>
                <a:gd name="connsiteY30" fmla="*/ 373039 h 782471"/>
                <a:gd name="connsiteX31" fmla="*/ 1633182 w 2984311"/>
                <a:gd name="connsiteY31" fmla="*/ 363940 h 782471"/>
                <a:gd name="connsiteX32" fmla="*/ 1601337 w 2984311"/>
                <a:gd name="connsiteY32" fmla="*/ 345743 h 782471"/>
                <a:gd name="connsiteX33" fmla="*/ 1587689 w 2984311"/>
                <a:gd name="connsiteY33" fmla="*/ 318448 h 782471"/>
                <a:gd name="connsiteX34" fmla="*/ 1574042 w 2984311"/>
                <a:gd name="connsiteY34" fmla="*/ 309349 h 782471"/>
                <a:gd name="connsiteX35" fmla="*/ 1542197 w 2984311"/>
                <a:gd name="connsiteY35" fmla="*/ 286603 h 782471"/>
                <a:gd name="connsiteX36" fmla="*/ 1501254 w 2984311"/>
                <a:gd name="connsiteY36" fmla="*/ 277505 h 782471"/>
                <a:gd name="connsiteX37" fmla="*/ 1473958 w 2984311"/>
                <a:gd name="connsiteY37" fmla="*/ 268406 h 782471"/>
                <a:gd name="connsiteX38" fmla="*/ 1460310 w 2984311"/>
                <a:gd name="connsiteY38" fmla="*/ 259308 h 782471"/>
                <a:gd name="connsiteX39" fmla="*/ 1433015 w 2984311"/>
                <a:gd name="connsiteY39" fmla="*/ 250209 h 782471"/>
                <a:gd name="connsiteX40" fmla="*/ 1360227 w 2984311"/>
                <a:gd name="connsiteY40" fmla="*/ 236561 h 782471"/>
                <a:gd name="connsiteX41" fmla="*/ 1332931 w 2984311"/>
                <a:gd name="connsiteY41" fmla="*/ 227463 h 782471"/>
                <a:gd name="connsiteX42" fmla="*/ 1319283 w 2984311"/>
                <a:gd name="connsiteY42" fmla="*/ 222913 h 782471"/>
                <a:gd name="connsiteX43" fmla="*/ 1278340 w 2984311"/>
                <a:gd name="connsiteY43" fmla="*/ 227463 h 782471"/>
                <a:gd name="connsiteX44" fmla="*/ 1264692 w 2984311"/>
                <a:gd name="connsiteY44" fmla="*/ 236561 h 782471"/>
                <a:gd name="connsiteX45" fmla="*/ 1246495 w 2984311"/>
                <a:gd name="connsiteY45" fmla="*/ 241111 h 782471"/>
                <a:gd name="connsiteX46" fmla="*/ 1219200 w 2984311"/>
                <a:gd name="connsiteY46" fmla="*/ 254758 h 782471"/>
                <a:gd name="connsiteX47" fmla="*/ 1191904 w 2984311"/>
                <a:gd name="connsiteY47" fmla="*/ 268406 h 782471"/>
                <a:gd name="connsiteX48" fmla="*/ 1160060 w 2984311"/>
                <a:gd name="connsiteY48" fmla="*/ 272955 h 782471"/>
                <a:gd name="connsiteX49" fmla="*/ 1105468 w 2984311"/>
                <a:gd name="connsiteY49" fmla="*/ 291152 h 782471"/>
                <a:gd name="connsiteX50" fmla="*/ 1073624 w 2984311"/>
                <a:gd name="connsiteY50" fmla="*/ 304800 h 782471"/>
                <a:gd name="connsiteX51" fmla="*/ 896203 w 2984311"/>
                <a:gd name="connsiteY51" fmla="*/ 309349 h 782471"/>
                <a:gd name="connsiteX52" fmla="*/ 868907 w 2984311"/>
                <a:gd name="connsiteY52" fmla="*/ 322997 h 782471"/>
                <a:gd name="connsiteX53" fmla="*/ 855260 w 2984311"/>
                <a:gd name="connsiteY53" fmla="*/ 327546 h 782471"/>
                <a:gd name="connsiteX54" fmla="*/ 782471 w 2984311"/>
                <a:gd name="connsiteY54" fmla="*/ 322997 h 782471"/>
                <a:gd name="connsiteX55" fmla="*/ 768824 w 2984311"/>
                <a:gd name="connsiteY55" fmla="*/ 318448 h 782471"/>
                <a:gd name="connsiteX56" fmla="*/ 723331 w 2984311"/>
                <a:gd name="connsiteY56" fmla="*/ 304800 h 782471"/>
                <a:gd name="connsiteX57" fmla="*/ 709683 w 2984311"/>
                <a:gd name="connsiteY57" fmla="*/ 300251 h 782471"/>
                <a:gd name="connsiteX58" fmla="*/ 696036 w 2984311"/>
                <a:gd name="connsiteY58" fmla="*/ 295702 h 782471"/>
                <a:gd name="connsiteX59" fmla="*/ 641445 w 2984311"/>
                <a:gd name="connsiteY59" fmla="*/ 291152 h 782471"/>
                <a:gd name="connsiteX60" fmla="*/ 591403 w 2984311"/>
                <a:gd name="connsiteY60" fmla="*/ 282054 h 782471"/>
                <a:gd name="connsiteX61" fmla="*/ 573206 w 2984311"/>
                <a:gd name="connsiteY61" fmla="*/ 277505 h 782471"/>
                <a:gd name="connsiteX62" fmla="*/ 545910 w 2984311"/>
                <a:gd name="connsiteY62" fmla="*/ 268406 h 782471"/>
                <a:gd name="connsiteX63" fmla="*/ 514066 w 2984311"/>
                <a:gd name="connsiteY63" fmla="*/ 263857 h 782471"/>
                <a:gd name="connsiteX64" fmla="*/ 491319 w 2984311"/>
                <a:gd name="connsiteY64" fmla="*/ 259308 h 782471"/>
                <a:gd name="connsiteX65" fmla="*/ 459474 w 2984311"/>
                <a:gd name="connsiteY65" fmla="*/ 254758 h 782471"/>
                <a:gd name="connsiteX66" fmla="*/ 432179 w 2984311"/>
                <a:gd name="connsiteY66" fmla="*/ 236561 h 782471"/>
                <a:gd name="connsiteX67" fmla="*/ 423080 w 2984311"/>
                <a:gd name="connsiteY67" fmla="*/ 222913 h 782471"/>
                <a:gd name="connsiteX68" fmla="*/ 404883 w 2984311"/>
                <a:gd name="connsiteY68" fmla="*/ 213815 h 782471"/>
                <a:gd name="connsiteX69" fmla="*/ 391236 w 2984311"/>
                <a:gd name="connsiteY69" fmla="*/ 204716 h 782471"/>
                <a:gd name="connsiteX70" fmla="*/ 373039 w 2984311"/>
                <a:gd name="connsiteY70" fmla="*/ 177421 h 782471"/>
                <a:gd name="connsiteX71" fmla="*/ 350292 w 2984311"/>
                <a:gd name="connsiteY71" fmla="*/ 150125 h 782471"/>
                <a:gd name="connsiteX72" fmla="*/ 322997 w 2984311"/>
                <a:gd name="connsiteY72" fmla="*/ 131928 h 782471"/>
                <a:gd name="connsiteX73" fmla="*/ 295701 w 2984311"/>
                <a:gd name="connsiteY73" fmla="*/ 113731 h 782471"/>
                <a:gd name="connsiteX74" fmla="*/ 286603 w 2984311"/>
                <a:gd name="connsiteY74" fmla="*/ 100084 h 782471"/>
                <a:gd name="connsiteX75" fmla="*/ 272955 w 2984311"/>
                <a:gd name="connsiteY75" fmla="*/ 95534 h 782471"/>
                <a:gd name="connsiteX76" fmla="*/ 259307 w 2984311"/>
                <a:gd name="connsiteY76" fmla="*/ 86436 h 782471"/>
                <a:gd name="connsiteX77" fmla="*/ 232012 w 2984311"/>
                <a:gd name="connsiteY77" fmla="*/ 77337 h 782471"/>
                <a:gd name="connsiteX78" fmla="*/ 218364 w 2984311"/>
                <a:gd name="connsiteY78" fmla="*/ 72788 h 782471"/>
                <a:gd name="connsiteX79" fmla="*/ 204716 w 2984311"/>
                <a:gd name="connsiteY79" fmla="*/ 68239 h 782471"/>
                <a:gd name="connsiteX80" fmla="*/ 191068 w 2984311"/>
                <a:gd name="connsiteY80" fmla="*/ 59140 h 782471"/>
                <a:gd name="connsiteX81" fmla="*/ 163773 w 2984311"/>
                <a:gd name="connsiteY81" fmla="*/ 50042 h 782471"/>
                <a:gd name="connsiteX82" fmla="*/ 136477 w 2984311"/>
                <a:gd name="connsiteY82" fmla="*/ 40943 h 782471"/>
                <a:gd name="connsiteX83" fmla="*/ 122830 w 2984311"/>
                <a:gd name="connsiteY83" fmla="*/ 36394 h 782471"/>
                <a:gd name="connsiteX84" fmla="*/ 0 w 2984311"/>
                <a:gd name="connsiteY84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20369 w 2984311"/>
                <a:gd name="connsiteY5" fmla="*/ 491319 h 782471"/>
                <a:gd name="connsiteX6" fmla="*/ 2370161 w 2984311"/>
                <a:gd name="connsiteY6" fmla="*/ 459475 h 782471"/>
                <a:gd name="connsiteX7" fmla="*/ 2247331 w 2984311"/>
                <a:gd name="connsiteY7" fmla="*/ 413982 h 782471"/>
                <a:gd name="connsiteX8" fmla="*/ 2233683 w 2984311"/>
                <a:gd name="connsiteY8" fmla="*/ 409433 h 782471"/>
                <a:gd name="connsiteX9" fmla="*/ 2220036 w 2984311"/>
                <a:gd name="connsiteY9" fmla="*/ 404884 h 782471"/>
                <a:gd name="connsiteX10" fmla="*/ 2083558 w 2984311"/>
                <a:gd name="connsiteY10" fmla="*/ 464024 h 782471"/>
                <a:gd name="connsiteX11" fmla="*/ 2069910 w 2984311"/>
                <a:gd name="connsiteY11" fmla="*/ 473122 h 782471"/>
                <a:gd name="connsiteX12" fmla="*/ 2056263 w 2984311"/>
                <a:gd name="connsiteY12" fmla="*/ 477672 h 782471"/>
                <a:gd name="connsiteX13" fmla="*/ 1988024 w 2984311"/>
                <a:gd name="connsiteY13" fmla="*/ 473122 h 782471"/>
                <a:gd name="connsiteX14" fmla="*/ 1969827 w 2984311"/>
                <a:gd name="connsiteY14" fmla="*/ 468573 h 782471"/>
                <a:gd name="connsiteX15" fmla="*/ 1878842 w 2984311"/>
                <a:gd name="connsiteY15" fmla="*/ 473122 h 782471"/>
                <a:gd name="connsiteX16" fmla="*/ 1851546 w 2984311"/>
                <a:gd name="connsiteY16" fmla="*/ 486770 h 782471"/>
                <a:gd name="connsiteX17" fmla="*/ 1842448 w 2984311"/>
                <a:gd name="connsiteY17" fmla="*/ 500418 h 782471"/>
                <a:gd name="connsiteX18" fmla="*/ 1815152 w 2984311"/>
                <a:gd name="connsiteY18" fmla="*/ 509516 h 782471"/>
                <a:gd name="connsiteX19" fmla="*/ 1787857 w 2984311"/>
                <a:gd name="connsiteY19" fmla="*/ 518615 h 782471"/>
                <a:gd name="connsiteX20" fmla="*/ 1774209 w 2984311"/>
                <a:gd name="connsiteY20" fmla="*/ 523164 h 782471"/>
                <a:gd name="connsiteX21" fmla="*/ 1733266 w 2984311"/>
                <a:gd name="connsiteY21" fmla="*/ 509516 h 782471"/>
                <a:gd name="connsiteX22" fmla="*/ 1728716 w 2984311"/>
                <a:gd name="connsiteY22" fmla="*/ 495869 h 782471"/>
                <a:gd name="connsiteX23" fmla="*/ 1724167 w 2984311"/>
                <a:gd name="connsiteY23" fmla="*/ 468573 h 782471"/>
                <a:gd name="connsiteX24" fmla="*/ 1710519 w 2984311"/>
                <a:gd name="connsiteY24" fmla="*/ 464024 h 782471"/>
                <a:gd name="connsiteX25" fmla="*/ 1701421 w 2984311"/>
                <a:gd name="connsiteY25" fmla="*/ 450376 h 782471"/>
                <a:gd name="connsiteX26" fmla="*/ 1687773 w 2984311"/>
                <a:gd name="connsiteY26" fmla="*/ 441278 h 782471"/>
                <a:gd name="connsiteX27" fmla="*/ 1683224 w 2984311"/>
                <a:gd name="connsiteY27" fmla="*/ 427630 h 782471"/>
                <a:gd name="connsiteX28" fmla="*/ 1665027 w 2984311"/>
                <a:gd name="connsiteY28" fmla="*/ 400334 h 782471"/>
                <a:gd name="connsiteX29" fmla="*/ 1646830 w 2984311"/>
                <a:gd name="connsiteY29" fmla="*/ 373039 h 782471"/>
                <a:gd name="connsiteX30" fmla="*/ 1633182 w 2984311"/>
                <a:gd name="connsiteY30" fmla="*/ 363940 h 782471"/>
                <a:gd name="connsiteX31" fmla="*/ 1601337 w 2984311"/>
                <a:gd name="connsiteY31" fmla="*/ 345743 h 782471"/>
                <a:gd name="connsiteX32" fmla="*/ 1587689 w 2984311"/>
                <a:gd name="connsiteY32" fmla="*/ 318448 h 782471"/>
                <a:gd name="connsiteX33" fmla="*/ 1574042 w 2984311"/>
                <a:gd name="connsiteY33" fmla="*/ 309349 h 782471"/>
                <a:gd name="connsiteX34" fmla="*/ 1542197 w 2984311"/>
                <a:gd name="connsiteY34" fmla="*/ 286603 h 782471"/>
                <a:gd name="connsiteX35" fmla="*/ 1501254 w 2984311"/>
                <a:gd name="connsiteY35" fmla="*/ 277505 h 782471"/>
                <a:gd name="connsiteX36" fmla="*/ 1473958 w 2984311"/>
                <a:gd name="connsiteY36" fmla="*/ 268406 h 782471"/>
                <a:gd name="connsiteX37" fmla="*/ 1460310 w 2984311"/>
                <a:gd name="connsiteY37" fmla="*/ 259308 h 782471"/>
                <a:gd name="connsiteX38" fmla="*/ 1433015 w 2984311"/>
                <a:gd name="connsiteY38" fmla="*/ 250209 h 782471"/>
                <a:gd name="connsiteX39" fmla="*/ 1360227 w 2984311"/>
                <a:gd name="connsiteY39" fmla="*/ 236561 h 782471"/>
                <a:gd name="connsiteX40" fmla="*/ 1332931 w 2984311"/>
                <a:gd name="connsiteY40" fmla="*/ 227463 h 782471"/>
                <a:gd name="connsiteX41" fmla="*/ 1319283 w 2984311"/>
                <a:gd name="connsiteY41" fmla="*/ 222913 h 782471"/>
                <a:gd name="connsiteX42" fmla="*/ 1278340 w 2984311"/>
                <a:gd name="connsiteY42" fmla="*/ 227463 h 782471"/>
                <a:gd name="connsiteX43" fmla="*/ 1264692 w 2984311"/>
                <a:gd name="connsiteY43" fmla="*/ 236561 h 782471"/>
                <a:gd name="connsiteX44" fmla="*/ 1246495 w 2984311"/>
                <a:gd name="connsiteY44" fmla="*/ 241111 h 782471"/>
                <a:gd name="connsiteX45" fmla="*/ 1219200 w 2984311"/>
                <a:gd name="connsiteY45" fmla="*/ 254758 h 782471"/>
                <a:gd name="connsiteX46" fmla="*/ 1191904 w 2984311"/>
                <a:gd name="connsiteY46" fmla="*/ 268406 h 782471"/>
                <a:gd name="connsiteX47" fmla="*/ 1160060 w 2984311"/>
                <a:gd name="connsiteY47" fmla="*/ 272955 h 782471"/>
                <a:gd name="connsiteX48" fmla="*/ 1105468 w 2984311"/>
                <a:gd name="connsiteY48" fmla="*/ 291152 h 782471"/>
                <a:gd name="connsiteX49" fmla="*/ 1073624 w 2984311"/>
                <a:gd name="connsiteY49" fmla="*/ 304800 h 782471"/>
                <a:gd name="connsiteX50" fmla="*/ 896203 w 2984311"/>
                <a:gd name="connsiteY50" fmla="*/ 309349 h 782471"/>
                <a:gd name="connsiteX51" fmla="*/ 868907 w 2984311"/>
                <a:gd name="connsiteY51" fmla="*/ 322997 h 782471"/>
                <a:gd name="connsiteX52" fmla="*/ 855260 w 2984311"/>
                <a:gd name="connsiteY52" fmla="*/ 327546 h 782471"/>
                <a:gd name="connsiteX53" fmla="*/ 782471 w 2984311"/>
                <a:gd name="connsiteY53" fmla="*/ 322997 h 782471"/>
                <a:gd name="connsiteX54" fmla="*/ 768824 w 2984311"/>
                <a:gd name="connsiteY54" fmla="*/ 318448 h 782471"/>
                <a:gd name="connsiteX55" fmla="*/ 723331 w 2984311"/>
                <a:gd name="connsiteY55" fmla="*/ 304800 h 782471"/>
                <a:gd name="connsiteX56" fmla="*/ 709683 w 2984311"/>
                <a:gd name="connsiteY56" fmla="*/ 300251 h 782471"/>
                <a:gd name="connsiteX57" fmla="*/ 696036 w 2984311"/>
                <a:gd name="connsiteY57" fmla="*/ 295702 h 782471"/>
                <a:gd name="connsiteX58" fmla="*/ 641445 w 2984311"/>
                <a:gd name="connsiteY58" fmla="*/ 291152 h 782471"/>
                <a:gd name="connsiteX59" fmla="*/ 591403 w 2984311"/>
                <a:gd name="connsiteY59" fmla="*/ 282054 h 782471"/>
                <a:gd name="connsiteX60" fmla="*/ 573206 w 2984311"/>
                <a:gd name="connsiteY60" fmla="*/ 277505 h 782471"/>
                <a:gd name="connsiteX61" fmla="*/ 545910 w 2984311"/>
                <a:gd name="connsiteY61" fmla="*/ 268406 h 782471"/>
                <a:gd name="connsiteX62" fmla="*/ 514066 w 2984311"/>
                <a:gd name="connsiteY62" fmla="*/ 263857 h 782471"/>
                <a:gd name="connsiteX63" fmla="*/ 491319 w 2984311"/>
                <a:gd name="connsiteY63" fmla="*/ 259308 h 782471"/>
                <a:gd name="connsiteX64" fmla="*/ 459474 w 2984311"/>
                <a:gd name="connsiteY64" fmla="*/ 254758 h 782471"/>
                <a:gd name="connsiteX65" fmla="*/ 432179 w 2984311"/>
                <a:gd name="connsiteY65" fmla="*/ 236561 h 782471"/>
                <a:gd name="connsiteX66" fmla="*/ 423080 w 2984311"/>
                <a:gd name="connsiteY66" fmla="*/ 222913 h 782471"/>
                <a:gd name="connsiteX67" fmla="*/ 404883 w 2984311"/>
                <a:gd name="connsiteY67" fmla="*/ 213815 h 782471"/>
                <a:gd name="connsiteX68" fmla="*/ 391236 w 2984311"/>
                <a:gd name="connsiteY68" fmla="*/ 204716 h 782471"/>
                <a:gd name="connsiteX69" fmla="*/ 373039 w 2984311"/>
                <a:gd name="connsiteY69" fmla="*/ 177421 h 782471"/>
                <a:gd name="connsiteX70" fmla="*/ 350292 w 2984311"/>
                <a:gd name="connsiteY70" fmla="*/ 150125 h 782471"/>
                <a:gd name="connsiteX71" fmla="*/ 322997 w 2984311"/>
                <a:gd name="connsiteY71" fmla="*/ 131928 h 782471"/>
                <a:gd name="connsiteX72" fmla="*/ 295701 w 2984311"/>
                <a:gd name="connsiteY72" fmla="*/ 113731 h 782471"/>
                <a:gd name="connsiteX73" fmla="*/ 286603 w 2984311"/>
                <a:gd name="connsiteY73" fmla="*/ 100084 h 782471"/>
                <a:gd name="connsiteX74" fmla="*/ 272955 w 2984311"/>
                <a:gd name="connsiteY74" fmla="*/ 95534 h 782471"/>
                <a:gd name="connsiteX75" fmla="*/ 259307 w 2984311"/>
                <a:gd name="connsiteY75" fmla="*/ 86436 h 782471"/>
                <a:gd name="connsiteX76" fmla="*/ 232012 w 2984311"/>
                <a:gd name="connsiteY76" fmla="*/ 77337 h 782471"/>
                <a:gd name="connsiteX77" fmla="*/ 218364 w 2984311"/>
                <a:gd name="connsiteY77" fmla="*/ 72788 h 782471"/>
                <a:gd name="connsiteX78" fmla="*/ 204716 w 2984311"/>
                <a:gd name="connsiteY78" fmla="*/ 68239 h 782471"/>
                <a:gd name="connsiteX79" fmla="*/ 191068 w 2984311"/>
                <a:gd name="connsiteY79" fmla="*/ 59140 h 782471"/>
                <a:gd name="connsiteX80" fmla="*/ 163773 w 2984311"/>
                <a:gd name="connsiteY80" fmla="*/ 50042 h 782471"/>
                <a:gd name="connsiteX81" fmla="*/ 136477 w 2984311"/>
                <a:gd name="connsiteY81" fmla="*/ 40943 h 782471"/>
                <a:gd name="connsiteX82" fmla="*/ 122830 w 2984311"/>
                <a:gd name="connsiteY82" fmla="*/ 36394 h 782471"/>
                <a:gd name="connsiteX83" fmla="*/ 0 w 2984311"/>
                <a:gd name="connsiteY83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20369 w 2984311"/>
                <a:gd name="connsiteY5" fmla="*/ 491319 h 782471"/>
                <a:gd name="connsiteX6" fmla="*/ 2370161 w 2984311"/>
                <a:gd name="connsiteY6" fmla="*/ 459475 h 782471"/>
                <a:gd name="connsiteX7" fmla="*/ 2247331 w 2984311"/>
                <a:gd name="connsiteY7" fmla="*/ 413982 h 782471"/>
                <a:gd name="connsiteX8" fmla="*/ 2233683 w 2984311"/>
                <a:gd name="connsiteY8" fmla="*/ 409433 h 782471"/>
                <a:gd name="connsiteX9" fmla="*/ 2220036 w 2984311"/>
                <a:gd name="connsiteY9" fmla="*/ 404884 h 782471"/>
                <a:gd name="connsiteX10" fmla="*/ 2138149 w 2984311"/>
                <a:gd name="connsiteY10" fmla="*/ 454925 h 782471"/>
                <a:gd name="connsiteX11" fmla="*/ 2069910 w 2984311"/>
                <a:gd name="connsiteY11" fmla="*/ 473122 h 782471"/>
                <a:gd name="connsiteX12" fmla="*/ 2056263 w 2984311"/>
                <a:gd name="connsiteY12" fmla="*/ 477672 h 782471"/>
                <a:gd name="connsiteX13" fmla="*/ 1988024 w 2984311"/>
                <a:gd name="connsiteY13" fmla="*/ 473122 h 782471"/>
                <a:gd name="connsiteX14" fmla="*/ 1969827 w 2984311"/>
                <a:gd name="connsiteY14" fmla="*/ 468573 h 782471"/>
                <a:gd name="connsiteX15" fmla="*/ 1878842 w 2984311"/>
                <a:gd name="connsiteY15" fmla="*/ 473122 h 782471"/>
                <a:gd name="connsiteX16" fmla="*/ 1851546 w 2984311"/>
                <a:gd name="connsiteY16" fmla="*/ 486770 h 782471"/>
                <a:gd name="connsiteX17" fmla="*/ 1842448 w 2984311"/>
                <a:gd name="connsiteY17" fmla="*/ 500418 h 782471"/>
                <a:gd name="connsiteX18" fmla="*/ 1815152 w 2984311"/>
                <a:gd name="connsiteY18" fmla="*/ 509516 h 782471"/>
                <a:gd name="connsiteX19" fmla="*/ 1787857 w 2984311"/>
                <a:gd name="connsiteY19" fmla="*/ 518615 h 782471"/>
                <a:gd name="connsiteX20" fmla="*/ 1774209 w 2984311"/>
                <a:gd name="connsiteY20" fmla="*/ 523164 h 782471"/>
                <a:gd name="connsiteX21" fmla="*/ 1733266 w 2984311"/>
                <a:gd name="connsiteY21" fmla="*/ 509516 h 782471"/>
                <a:gd name="connsiteX22" fmla="*/ 1728716 w 2984311"/>
                <a:gd name="connsiteY22" fmla="*/ 495869 h 782471"/>
                <a:gd name="connsiteX23" fmla="*/ 1724167 w 2984311"/>
                <a:gd name="connsiteY23" fmla="*/ 468573 h 782471"/>
                <a:gd name="connsiteX24" fmla="*/ 1710519 w 2984311"/>
                <a:gd name="connsiteY24" fmla="*/ 464024 h 782471"/>
                <a:gd name="connsiteX25" fmla="*/ 1701421 w 2984311"/>
                <a:gd name="connsiteY25" fmla="*/ 450376 h 782471"/>
                <a:gd name="connsiteX26" fmla="*/ 1687773 w 2984311"/>
                <a:gd name="connsiteY26" fmla="*/ 441278 h 782471"/>
                <a:gd name="connsiteX27" fmla="*/ 1683224 w 2984311"/>
                <a:gd name="connsiteY27" fmla="*/ 427630 h 782471"/>
                <a:gd name="connsiteX28" fmla="*/ 1665027 w 2984311"/>
                <a:gd name="connsiteY28" fmla="*/ 400334 h 782471"/>
                <a:gd name="connsiteX29" fmla="*/ 1646830 w 2984311"/>
                <a:gd name="connsiteY29" fmla="*/ 373039 h 782471"/>
                <a:gd name="connsiteX30" fmla="*/ 1633182 w 2984311"/>
                <a:gd name="connsiteY30" fmla="*/ 363940 h 782471"/>
                <a:gd name="connsiteX31" fmla="*/ 1601337 w 2984311"/>
                <a:gd name="connsiteY31" fmla="*/ 345743 h 782471"/>
                <a:gd name="connsiteX32" fmla="*/ 1587689 w 2984311"/>
                <a:gd name="connsiteY32" fmla="*/ 318448 h 782471"/>
                <a:gd name="connsiteX33" fmla="*/ 1574042 w 2984311"/>
                <a:gd name="connsiteY33" fmla="*/ 309349 h 782471"/>
                <a:gd name="connsiteX34" fmla="*/ 1542197 w 2984311"/>
                <a:gd name="connsiteY34" fmla="*/ 286603 h 782471"/>
                <a:gd name="connsiteX35" fmla="*/ 1501254 w 2984311"/>
                <a:gd name="connsiteY35" fmla="*/ 277505 h 782471"/>
                <a:gd name="connsiteX36" fmla="*/ 1473958 w 2984311"/>
                <a:gd name="connsiteY36" fmla="*/ 268406 h 782471"/>
                <a:gd name="connsiteX37" fmla="*/ 1460310 w 2984311"/>
                <a:gd name="connsiteY37" fmla="*/ 259308 h 782471"/>
                <a:gd name="connsiteX38" fmla="*/ 1433015 w 2984311"/>
                <a:gd name="connsiteY38" fmla="*/ 250209 h 782471"/>
                <a:gd name="connsiteX39" fmla="*/ 1360227 w 2984311"/>
                <a:gd name="connsiteY39" fmla="*/ 236561 h 782471"/>
                <a:gd name="connsiteX40" fmla="*/ 1332931 w 2984311"/>
                <a:gd name="connsiteY40" fmla="*/ 227463 h 782471"/>
                <a:gd name="connsiteX41" fmla="*/ 1319283 w 2984311"/>
                <a:gd name="connsiteY41" fmla="*/ 222913 h 782471"/>
                <a:gd name="connsiteX42" fmla="*/ 1278340 w 2984311"/>
                <a:gd name="connsiteY42" fmla="*/ 227463 h 782471"/>
                <a:gd name="connsiteX43" fmla="*/ 1264692 w 2984311"/>
                <a:gd name="connsiteY43" fmla="*/ 236561 h 782471"/>
                <a:gd name="connsiteX44" fmla="*/ 1246495 w 2984311"/>
                <a:gd name="connsiteY44" fmla="*/ 241111 h 782471"/>
                <a:gd name="connsiteX45" fmla="*/ 1219200 w 2984311"/>
                <a:gd name="connsiteY45" fmla="*/ 254758 h 782471"/>
                <a:gd name="connsiteX46" fmla="*/ 1191904 w 2984311"/>
                <a:gd name="connsiteY46" fmla="*/ 268406 h 782471"/>
                <a:gd name="connsiteX47" fmla="*/ 1160060 w 2984311"/>
                <a:gd name="connsiteY47" fmla="*/ 272955 h 782471"/>
                <a:gd name="connsiteX48" fmla="*/ 1105468 w 2984311"/>
                <a:gd name="connsiteY48" fmla="*/ 291152 h 782471"/>
                <a:gd name="connsiteX49" fmla="*/ 1073624 w 2984311"/>
                <a:gd name="connsiteY49" fmla="*/ 304800 h 782471"/>
                <a:gd name="connsiteX50" fmla="*/ 896203 w 2984311"/>
                <a:gd name="connsiteY50" fmla="*/ 309349 h 782471"/>
                <a:gd name="connsiteX51" fmla="*/ 868907 w 2984311"/>
                <a:gd name="connsiteY51" fmla="*/ 322997 h 782471"/>
                <a:gd name="connsiteX52" fmla="*/ 855260 w 2984311"/>
                <a:gd name="connsiteY52" fmla="*/ 327546 h 782471"/>
                <a:gd name="connsiteX53" fmla="*/ 782471 w 2984311"/>
                <a:gd name="connsiteY53" fmla="*/ 322997 h 782471"/>
                <a:gd name="connsiteX54" fmla="*/ 768824 w 2984311"/>
                <a:gd name="connsiteY54" fmla="*/ 318448 h 782471"/>
                <a:gd name="connsiteX55" fmla="*/ 723331 w 2984311"/>
                <a:gd name="connsiteY55" fmla="*/ 304800 h 782471"/>
                <a:gd name="connsiteX56" fmla="*/ 709683 w 2984311"/>
                <a:gd name="connsiteY56" fmla="*/ 300251 h 782471"/>
                <a:gd name="connsiteX57" fmla="*/ 696036 w 2984311"/>
                <a:gd name="connsiteY57" fmla="*/ 295702 h 782471"/>
                <a:gd name="connsiteX58" fmla="*/ 641445 w 2984311"/>
                <a:gd name="connsiteY58" fmla="*/ 291152 h 782471"/>
                <a:gd name="connsiteX59" fmla="*/ 591403 w 2984311"/>
                <a:gd name="connsiteY59" fmla="*/ 282054 h 782471"/>
                <a:gd name="connsiteX60" fmla="*/ 573206 w 2984311"/>
                <a:gd name="connsiteY60" fmla="*/ 277505 h 782471"/>
                <a:gd name="connsiteX61" fmla="*/ 545910 w 2984311"/>
                <a:gd name="connsiteY61" fmla="*/ 268406 h 782471"/>
                <a:gd name="connsiteX62" fmla="*/ 514066 w 2984311"/>
                <a:gd name="connsiteY62" fmla="*/ 263857 h 782471"/>
                <a:gd name="connsiteX63" fmla="*/ 491319 w 2984311"/>
                <a:gd name="connsiteY63" fmla="*/ 259308 h 782471"/>
                <a:gd name="connsiteX64" fmla="*/ 459474 w 2984311"/>
                <a:gd name="connsiteY64" fmla="*/ 254758 h 782471"/>
                <a:gd name="connsiteX65" fmla="*/ 432179 w 2984311"/>
                <a:gd name="connsiteY65" fmla="*/ 236561 h 782471"/>
                <a:gd name="connsiteX66" fmla="*/ 423080 w 2984311"/>
                <a:gd name="connsiteY66" fmla="*/ 222913 h 782471"/>
                <a:gd name="connsiteX67" fmla="*/ 404883 w 2984311"/>
                <a:gd name="connsiteY67" fmla="*/ 213815 h 782471"/>
                <a:gd name="connsiteX68" fmla="*/ 391236 w 2984311"/>
                <a:gd name="connsiteY68" fmla="*/ 204716 h 782471"/>
                <a:gd name="connsiteX69" fmla="*/ 373039 w 2984311"/>
                <a:gd name="connsiteY69" fmla="*/ 177421 h 782471"/>
                <a:gd name="connsiteX70" fmla="*/ 350292 w 2984311"/>
                <a:gd name="connsiteY70" fmla="*/ 150125 h 782471"/>
                <a:gd name="connsiteX71" fmla="*/ 322997 w 2984311"/>
                <a:gd name="connsiteY71" fmla="*/ 131928 h 782471"/>
                <a:gd name="connsiteX72" fmla="*/ 295701 w 2984311"/>
                <a:gd name="connsiteY72" fmla="*/ 113731 h 782471"/>
                <a:gd name="connsiteX73" fmla="*/ 286603 w 2984311"/>
                <a:gd name="connsiteY73" fmla="*/ 100084 h 782471"/>
                <a:gd name="connsiteX74" fmla="*/ 272955 w 2984311"/>
                <a:gd name="connsiteY74" fmla="*/ 95534 h 782471"/>
                <a:gd name="connsiteX75" fmla="*/ 259307 w 2984311"/>
                <a:gd name="connsiteY75" fmla="*/ 86436 h 782471"/>
                <a:gd name="connsiteX76" fmla="*/ 232012 w 2984311"/>
                <a:gd name="connsiteY76" fmla="*/ 77337 h 782471"/>
                <a:gd name="connsiteX77" fmla="*/ 218364 w 2984311"/>
                <a:gd name="connsiteY77" fmla="*/ 72788 h 782471"/>
                <a:gd name="connsiteX78" fmla="*/ 204716 w 2984311"/>
                <a:gd name="connsiteY78" fmla="*/ 68239 h 782471"/>
                <a:gd name="connsiteX79" fmla="*/ 191068 w 2984311"/>
                <a:gd name="connsiteY79" fmla="*/ 59140 h 782471"/>
                <a:gd name="connsiteX80" fmla="*/ 163773 w 2984311"/>
                <a:gd name="connsiteY80" fmla="*/ 50042 h 782471"/>
                <a:gd name="connsiteX81" fmla="*/ 136477 w 2984311"/>
                <a:gd name="connsiteY81" fmla="*/ 40943 h 782471"/>
                <a:gd name="connsiteX82" fmla="*/ 122830 w 2984311"/>
                <a:gd name="connsiteY82" fmla="*/ 36394 h 782471"/>
                <a:gd name="connsiteX83" fmla="*/ 0 w 2984311"/>
                <a:gd name="connsiteY83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20369 w 2984311"/>
                <a:gd name="connsiteY5" fmla="*/ 491319 h 782471"/>
                <a:gd name="connsiteX6" fmla="*/ 2370161 w 2984311"/>
                <a:gd name="connsiteY6" fmla="*/ 459475 h 782471"/>
                <a:gd name="connsiteX7" fmla="*/ 2247331 w 2984311"/>
                <a:gd name="connsiteY7" fmla="*/ 413982 h 782471"/>
                <a:gd name="connsiteX8" fmla="*/ 2233683 w 2984311"/>
                <a:gd name="connsiteY8" fmla="*/ 409433 h 782471"/>
                <a:gd name="connsiteX9" fmla="*/ 2220036 w 2984311"/>
                <a:gd name="connsiteY9" fmla="*/ 404884 h 782471"/>
                <a:gd name="connsiteX10" fmla="*/ 2069910 w 2984311"/>
                <a:gd name="connsiteY10" fmla="*/ 473122 h 782471"/>
                <a:gd name="connsiteX11" fmla="*/ 2056263 w 2984311"/>
                <a:gd name="connsiteY11" fmla="*/ 477672 h 782471"/>
                <a:gd name="connsiteX12" fmla="*/ 1988024 w 2984311"/>
                <a:gd name="connsiteY12" fmla="*/ 473122 h 782471"/>
                <a:gd name="connsiteX13" fmla="*/ 1969827 w 2984311"/>
                <a:gd name="connsiteY13" fmla="*/ 468573 h 782471"/>
                <a:gd name="connsiteX14" fmla="*/ 1878842 w 2984311"/>
                <a:gd name="connsiteY14" fmla="*/ 473122 h 782471"/>
                <a:gd name="connsiteX15" fmla="*/ 1851546 w 2984311"/>
                <a:gd name="connsiteY15" fmla="*/ 486770 h 782471"/>
                <a:gd name="connsiteX16" fmla="*/ 1842448 w 2984311"/>
                <a:gd name="connsiteY16" fmla="*/ 500418 h 782471"/>
                <a:gd name="connsiteX17" fmla="*/ 1815152 w 2984311"/>
                <a:gd name="connsiteY17" fmla="*/ 509516 h 782471"/>
                <a:gd name="connsiteX18" fmla="*/ 1787857 w 2984311"/>
                <a:gd name="connsiteY18" fmla="*/ 518615 h 782471"/>
                <a:gd name="connsiteX19" fmla="*/ 1774209 w 2984311"/>
                <a:gd name="connsiteY19" fmla="*/ 523164 h 782471"/>
                <a:gd name="connsiteX20" fmla="*/ 1733266 w 2984311"/>
                <a:gd name="connsiteY20" fmla="*/ 509516 h 782471"/>
                <a:gd name="connsiteX21" fmla="*/ 1728716 w 2984311"/>
                <a:gd name="connsiteY21" fmla="*/ 495869 h 782471"/>
                <a:gd name="connsiteX22" fmla="*/ 1724167 w 2984311"/>
                <a:gd name="connsiteY22" fmla="*/ 468573 h 782471"/>
                <a:gd name="connsiteX23" fmla="*/ 1710519 w 2984311"/>
                <a:gd name="connsiteY23" fmla="*/ 464024 h 782471"/>
                <a:gd name="connsiteX24" fmla="*/ 1701421 w 2984311"/>
                <a:gd name="connsiteY24" fmla="*/ 450376 h 782471"/>
                <a:gd name="connsiteX25" fmla="*/ 1687773 w 2984311"/>
                <a:gd name="connsiteY25" fmla="*/ 441278 h 782471"/>
                <a:gd name="connsiteX26" fmla="*/ 1683224 w 2984311"/>
                <a:gd name="connsiteY26" fmla="*/ 427630 h 782471"/>
                <a:gd name="connsiteX27" fmla="*/ 1665027 w 2984311"/>
                <a:gd name="connsiteY27" fmla="*/ 400334 h 782471"/>
                <a:gd name="connsiteX28" fmla="*/ 1646830 w 2984311"/>
                <a:gd name="connsiteY28" fmla="*/ 373039 h 782471"/>
                <a:gd name="connsiteX29" fmla="*/ 1633182 w 2984311"/>
                <a:gd name="connsiteY29" fmla="*/ 363940 h 782471"/>
                <a:gd name="connsiteX30" fmla="*/ 1601337 w 2984311"/>
                <a:gd name="connsiteY30" fmla="*/ 345743 h 782471"/>
                <a:gd name="connsiteX31" fmla="*/ 1587689 w 2984311"/>
                <a:gd name="connsiteY31" fmla="*/ 318448 h 782471"/>
                <a:gd name="connsiteX32" fmla="*/ 1574042 w 2984311"/>
                <a:gd name="connsiteY32" fmla="*/ 309349 h 782471"/>
                <a:gd name="connsiteX33" fmla="*/ 1542197 w 2984311"/>
                <a:gd name="connsiteY33" fmla="*/ 286603 h 782471"/>
                <a:gd name="connsiteX34" fmla="*/ 1501254 w 2984311"/>
                <a:gd name="connsiteY34" fmla="*/ 277505 h 782471"/>
                <a:gd name="connsiteX35" fmla="*/ 1473958 w 2984311"/>
                <a:gd name="connsiteY35" fmla="*/ 268406 h 782471"/>
                <a:gd name="connsiteX36" fmla="*/ 1460310 w 2984311"/>
                <a:gd name="connsiteY36" fmla="*/ 259308 h 782471"/>
                <a:gd name="connsiteX37" fmla="*/ 1433015 w 2984311"/>
                <a:gd name="connsiteY37" fmla="*/ 250209 h 782471"/>
                <a:gd name="connsiteX38" fmla="*/ 1360227 w 2984311"/>
                <a:gd name="connsiteY38" fmla="*/ 236561 h 782471"/>
                <a:gd name="connsiteX39" fmla="*/ 1332931 w 2984311"/>
                <a:gd name="connsiteY39" fmla="*/ 227463 h 782471"/>
                <a:gd name="connsiteX40" fmla="*/ 1319283 w 2984311"/>
                <a:gd name="connsiteY40" fmla="*/ 222913 h 782471"/>
                <a:gd name="connsiteX41" fmla="*/ 1278340 w 2984311"/>
                <a:gd name="connsiteY41" fmla="*/ 227463 h 782471"/>
                <a:gd name="connsiteX42" fmla="*/ 1264692 w 2984311"/>
                <a:gd name="connsiteY42" fmla="*/ 236561 h 782471"/>
                <a:gd name="connsiteX43" fmla="*/ 1246495 w 2984311"/>
                <a:gd name="connsiteY43" fmla="*/ 241111 h 782471"/>
                <a:gd name="connsiteX44" fmla="*/ 1219200 w 2984311"/>
                <a:gd name="connsiteY44" fmla="*/ 254758 h 782471"/>
                <a:gd name="connsiteX45" fmla="*/ 1191904 w 2984311"/>
                <a:gd name="connsiteY45" fmla="*/ 268406 h 782471"/>
                <a:gd name="connsiteX46" fmla="*/ 1160060 w 2984311"/>
                <a:gd name="connsiteY46" fmla="*/ 272955 h 782471"/>
                <a:gd name="connsiteX47" fmla="*/ 1105468 w 2984311"/>
                <a:gd name="connsiteY47" fmla="*/ 291152 h 782471"/>
                <a:gd name="connsiteX48" fmla="*/ 1073624 w 2984311"/>
                <a:gd name="connsiteY48" fmla="*/ 304800 h 782471"/>
                <a:gd name="connsiteX49" fmla="*/ 896203 w 2984311"/>
                <a:gd name="connsiteY49" fmla="*/ 309349 h 782471"/>
                <a:gd name="connsiteX50" fmla="*/ 868907 w 2984311"/>
                <a:gd name="connsiteY50" fmla="*/ 322997 h 782471"/>
                <a:gd name="connsiteX51" fmla="*/ 855260 w 2984311"/>
                <a:gd name="connsiteY51" fmla="*/ 327546 h 782471"/>
                <a:gd name="connsiteX52" fmla="*/ 782471 w 2984311"/>
                <a:gd name="connsiteY52" fmla="*/ 322997 h 782471"/>
                <a:gd name="connsiteX53" fmla="*/ 768824 w 2984311"/>
                <a:gd name="connsiteY53" fmla="*/ 318448 h 782471"/>
                <a:gd name="connsiteX54" fmla="*/ 723331 w 2984311"/>
                <a:gd name="connsiteY54" fmla="*/ 304800 h 782471"/>
                <a:gd name="connsiteX55" fmla="*/ 709683 w 2984311"/>
                <a:gd name="connsiteY55" fmla="*/ 300251 h 782471"/>
                <a:gd name="connsiteX56" fmla="*/ 696036 w 2984311"/>
                <a:gd name="connsiteY56" fmla="*/ 295702 h 782471"/>
                <a:gd name="connsiteX57" fmla="*/ 641445 w 2984311"/>
                <a:gd name="connsiteY57" fmla="*/ 291152 h 782471"/>
                <a:gd name="connsiteX58" fmla="*/ 591403 w 2984311"/>
                <a:gd name="connsiteY58" fmla="*/ 282054 h 782471"/>
                <a:gd name="connsiteX59" fmla="*/ 573206 w 2984311"/>
                <a:gd name="connsiteY59" fmla="*/ 277505 h 782471"/>
                <a:gd name="connsiteX60" fmla="*/ 545910 w 2984311"/>
                <a:gd name="connsiteY60" fmla="*/ 268406 h 782471"/>
                <a:gd name="connsiteX61" fmla="*/ 514066 w 2984311"/>
                <a:gd name="connsiteY61" fmla="*/ 263857 h 782471"/>
                <a:gd name="connsiteX62" fmla="*/ 491319 w 2984311"/>
                <a:gd name="connsiteY62" fmla="*/ 259308 h 782471"/>
                <a:gd name="connsiteX63" fmla="*/ 459474 w 2984311"/>
                <a:gd name="connsiteY63" fmla="*/ 254758 h 782471"/>
                <a:gd name="connsiteX64" fmla="*/ 432179 w 2984311"/>
                <a:gd name="connsiteY64" fmla="*/ 236561 h 782471"/>
                <a:gd name="connsiteX65" fmla="*/ 423080 w 2984311"/>
                <a:gd name="connsiteY65" fmla="*/ 222913 h 782471"/>
                <a:gd name="connsiteX66" fmla="*/ 404883 w 2984311"/>
                <a:gd name="connsiteY66" fmla="*/ 213815 h 782471"/>
                <a:gd name="connsiteX67" fmla="*/ 391236 w 2984311"/>
                <a:gd name="connsiteY67" fmla="*/ 204716 h 782471"/>
                <a:gd name="connsiteX68" fmla="*/ 373039 w 2984311"/>
                <a:gd name="connsiteY68" fmla="*/ 177421 h 782471"/>
                <a:gd name="connsiteX69" fmla="*/ 350292 w 2984311"/>
                <a:gd name="connsiteY69" fmla="*/ 150125 h 782471"/>
                <a:gd name="connsiteX70" fmla="*/ 322997 w 2984311"/>
                <a:gd name="connsiteY70" fmla="*/ 131928 h 782471"/>
                <a:gd name="connsiteX71" fmla="*/ 295701 w 2984311"/>
                <a:gd name="connsiteY71" fmla="*/ 113731 h 782471"/>
                <a:gd name="connsiteX72" fmla="*/ 286603 w 2984311"/>
                <a:gd name="connsiteY72" fmla="*/ 100084 h 782471"/>
                <a:gd name="connsiteX73" fmla="*/ 272955 w 2984311"/>
                <a:gd name="connsiteY73" fmla="*/ 95534 h 782471"/>
                <a:gd name="connsiteX74" fmla="*/ 259307 w 2984311"/>
                <a:gd name="connsiteY74" fmla="*/ 86436 h 782471"/>
                <a:gd name="connsiteX75" fmla="*/ 232012 w 2984311"/>
                <a:gd name="connsiteY75" fmla="*/ 77337 h 782471"/>
                <a:gd name="connsiteX76" fmla="*/ 218364 w 2984311"/>
                <a:gd name="connsiteY76" fmla="*/ 72788 h 782471"/>
                <a:gd name="connsiteX77" fmla="*/ 204716 w 2984311"/>
                <a:gd name="connsiteY77" fmla="*/ 68239 h 782471"/>
                <a:gd name="connsiteX78" fmla="*/ 191068 w 2984311"/>
                <a:gd name="connsiteY78" fmla="*/ 59140 h 782471"/>
                <a:gd name="connsiteX79" fmla="*/ 163773 w 2984311"/>
                <a:gd name="connsiteY79" fmla="*/ 50042 h 782471"/>
                <a:gd name="connsiteX80" fmla="*/ 136477 w 2984311"/>
                <a:gd name="connsiteY80" fmla="*/ 40943 h 782471"/>
                <a:gd name="connsiteX81" fmla="*/ 122830 w 2984311"/>
                <a:gd name="connsiteY81" fmla="*/ 36394 h 782471"/>
                <a:gd name="connsiteX82" fmla="*/ 0 w 2984311"/>
                <a:gd name="connsiteY82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20369 w 2984311"/>
                <a:gd name="connsiteY5" fmla="*/ 491319 h 782471"/>
                <a:gd name="connsiteX6" fmla="*/ 2370161 w 2984311"/>
                <a:gd name="connsiteY6" fmla="*/ 459475 h 782471"/>
                <a:gd name="connsiteX7" fmla="*/ 2247331 w 2984311"/>
                <a:gd name="connsiteY7" fmla="*/ 413982 h 782471"/>
                <a:gd name="connsiteX8" fmla="*/ 2233683 w 2984311"/>
                <a:gd name="connsiteY8" fmla="*/ 409433 h 782471"/>
                <a:gd name="connsiteX9" fmla="*/ 2197290 w 2984311"/>
                <a:gd name="connsiteY9" fmla="*/ 423081 h 782471"/>
                <a:gd name="connsiteX10" fmla="*/ 2069910 w 2984311"/>
                <a:gd name="connsiteY10" fmla="*/ 473122 h 782471"/>
                <a:gd name="connsiteX11" fmla="*/ 2056263 w 2984311"/>
                <a:gd name="connsiteY11" fmla="*/ 477672 h 782471"/>
                <a:gd name="connsiteX12" fmla="*/ 1988024 w 2984311"/>
                <a:gd name="connsiteY12" fmla="*/ 473122 h 782471"/>
                <a:gd name="connsiteX13" fmla="*/ 1969827 w 2984311"/>
                <a:gd name="connsiteY13" fmla="*/ 468573 h 782471"/>
                <a:gd name="connsiteX14" fmla="*/ 1878842 w 2984311"/>
                <a:gd name="connsiteY14" fmla="*/ 473122 h 782471"/>
                <a:gd name="connsiteX15" fmla="*/ 1851546 w 2984311"/>
                <a:gd name="connsiteY15" fmla="*/ 486770 h 782471"/>
                <a:gd name="connsiteX16" fmla="*/ 1842448 w 2984311"/>
                <a:gd name="connsiteY16" fmla="*/ 500418 h 782471"/>
                <a:gd name="connsiteX17" fmla="*/ 1815152 w 2984311"/>
                <a:gd name="connsiteY17" fmla="*/ 509516 h 782471"/>
                <a:gd name="connsiteX18" fmla="*/ 1787857 w 2984311"/>
                <a:gd name="connsiteY18" fmla="*/ 518615 h 782471"/>
                <a:gd name="connsiteX19" fmla="*/ 1774209 w 2984311"/>
                <a:gd name="connsiteY19" fmla="*/ 523164 h 782471"/>
                <a:gd name="connsiteX20" fmla="*/ 1733266 w 2984311"/>
                <a:gd name="connsiteY20" fmla="*/ 509516 h 782471"/>
                <a:gd name="connsiteX21" fmla="*/ 1728716 w 2984311"/>
                <a:gd name="connsiteY21" fmla="*/ 495869 h 782471"/>
                <a:gd name="connsiteX22" fmla="*/ 1724167 w 2984311"/>
                <a:gd name="connsiteY22" fmla="*/ 468573 h 782471"/>
                <a:gd name="connsiteX23" fmla="*/ 1710519 w 2984311"/>
                <a:gd name="connsiteY23" fmla="*/ 464024 h 782471"/>
                <a:gd name="connsiteX24" fmla="*/ 1701421 w 2984311"/>
                <a:gd name="connsiteY24" fmla="*/ 450376 h 782471"/>
                <a:gd name="connsiteX25" fmla="*/ 1687773 w 2984311"/>
                <a:gd name="connsiteY25" fmla="*/ 441278 h 782471"/>
                <a:gd name="connsiteX26" fmla="*/ 1683224 w 2984311"/>
                <a:gd name="connsiteY26" fmla="*/ 427630 h 782471"/>
                <a:gd name="connsiteX27" fmla="*/ 1665027 w 2984311"/>
                <a:gd name="connsiteY27" fmla="*/ 400334 h 782471"/>
                <a:gd name="connsiteX28" fmla="*/ 1646830 w 2984311"/>
                <a:gd name="connsiteY28" fmla="*/ 373039 h 782471"/>
                <a:gd name="connsiteX29" fmla="*/ 1633182 w 2984311"/>
                <a:gd name="connsiteY29" fmla="*/ 363940 h 782471"/>
                <a:gd name="connsiteX30" fmla="*/ 1601337 w 2984311"/>
                <a:gd name="connsiteY30" fmla="*/ 345743 h 782471"/>
                <a:gd name="connsiteX31" fmla="*/ 1587689 w 2984311"/>
                <a:gd name="connsiteY31" fmla="*/ 318448 h 782471"/>
                <a:gd name="connsiteX32" fmla="*/ 1574042 w 2984311"/>
                <a:gd name="connsiteY32" fmla="*/ 309349 h 782471"/>
                <a:gd name="connsiteX33" fmla="*/ 1542197 w 2984311"/>
                <a:gd name="connsiteY33" fmla="*/ 286603 h 782471"/>
                <a:gd name="connsiteX34" fmla="*/ 1501254 w 2984311"/>
                <a:gd name="connsiteY34" fmla="*/ 277505 h 782471"/>
                <a:gd name="connsiteX35" fmla="*/ 1473958 w 2984311"/>
                <a:gd name="connsiteY35" fmla="*/ 268406 h 782471"/>
                <a:gd name="connsiteX36" fmla="*/ 1460310 w 2984311"/>
                <a:gd name="connsiteY36" fmla="*/ 259308 h 782471"/>
                <a:gd name="connsiteX37" fmla="*/ 1433015 w 2984311"/>
                <a:gd name="connsiteY37" fmla="*/ 250209 h 782471"/>
                <a:gd name="connsiteX38" fmla="*/ 1360227 w 2984311"/>
                <a:gd name="connsiteY38" fmla="*/ 236561 h 782471"/>
                <a:gd name="connsiteX39" fmla="*/ 1332931 w 2984311"/>
                <a:gd name="connsiteY39" fmla="*/ 227463 h 782471"/>
                <a:gd name="connsiteX40" fmla="*/ 1319283 w 2984311"/>
                <a:gd name="connsiteY40" fmla="*/ 222913 h 782471"/>
                <a:gd name="connsiteX41" fmla="*/ 1278340 w 2984311"/>
                <a:gd name="connsiteY41" fmla="*/ 227463 h 782471"/>
                <a:gd name="connsiteX42" fmla="*/ 1264692 w 2984311"/>
                <a:gd name="connsiteY42" fmla="*/ 236561 h 782471"/>
                <a:gd name="connsiteX43" fmla="*/ 1246495 w 2984311"/>
                <a:gd name="connsiteY43" fmla="*/ 241111 h 782471"/>
                <a:gd name="connsiteX44" fmla="*/ 1219200 w 2984311"/>
                <a:gd name="connsiteY44" fmla="*/ 254758 h 782471"/>
                <a:gd name="connsiteX45" fmla="*/ 1191904 w 2984311"/>
                <a:gd name="connsiteY45" fmla="*/ 268406 h 782471"/>
                <a:gd name="connsiteX46" fmla="*/ 1160060 w 2984311"/>
                <a:gd name="connsiteY46" fmla="*/ 272955 h 782471"/>
                <a:gd name="connsiteX47" fmla="*/ 1105468 w 2984311"/>
                <a:gd name="connsiteY47" fmla="*/ 291152 h 782471"/>
                <a:gd name="connsiteX48" fmla="*/ 1073624 w 2984311"/>
                <a:gd name="connsiteY48" fmla="*/ 304800 h 782471"/>
                <a:gd name="connsiteX49" fmla="*/ 896203 w 2984311"/>
                <a:gd name="connsiteY49" fmla="*/ 309349 h 782471"/>
                <a:gd name="connsiteX50" fmla="*/ 868907 w 2984311"/>
                <a:gd name="connsiteY50" fmla="*/ 322997 h 782471"/>
                <a:gd name="connsiteX51" fmla="*/ 855260 w 2984311"/>
                <a:gd name="connsiteY51" fmla="*/ 327546 h 782471"/>
                <a:gd name="connsiteX52" fmla="*/ 782471 w 2984311"/>
                <a:gd name="connsiteY52" fmla="*/ 322997 h 782471"/>
                <a:gd name="connsiteX53" fmla="*/ 768824 w 2984311"/>
                <a:gd name="connsiteY53" fmla="*/ 318448 h 782471"/>
                <a:gd name="connsiteX54" fmla="*/ 723331 w 2984311"/>
                <a:gd name="connsiteY54" fmla="*/ 304800 h 782471"/>
                <a:gd name="connsiteX55" fmla="*/ 709683 w 2984311"/>
                <a:gd name="connsiteY55" fmla="*/ 300251 h 782471"/>
                <a:gd name="connsiteX56" fmla="*/ 696036 w 2984311"/>
                <a:gd name="connsiteY56" fmla="*/ 295702 h 782471"/>
                <a:gd name="connsiteX57" fmla="*/ 641445 w 2984311"/>
                <a:gd name="connsiteY57" fmla="*/ 291152 h 782471"/>
                <a:gd name="connsiteX58" fmla="*/ 591403 w 2984311"/>
                <a:gd name="connsiteY58" fmla="*/ 282054 h 782471"/>
                <a:gd name="connsiteX59" fmla="*/ 573206 w 2984311"/>
                <a:gd name="connsiteY59" fmla="*/ 277505 h 782471"/>
                <a:gd name="connsiteX60" fmla="*/ 545910 w 2984311"/>
                <a:gd name="connsiteY60" fmla="*/ 268406 h 782471"/>
                <a:gd name="connsiteX61" fmla="*/ 514066 w 2984311"/>
                <a:gd name="connsiteY61" fmla="*/ 263857 h 782471"/>
                <a:gd name="connsiteX62" fmla="*/ 491319 w 2984311"/>
                <a:gd name="connsiteY62" fmla="*/ 259308 h 782471"/>
                <a:gd name="connsiteX63" fmla="*/ 459474 w 2984311"/>
                <a:gd name="connsiteY63" fmla="*/ 254758 h 782471"/>
                <a:gd name="connsiteX64" fmla="*/ 432179 w 2984311"/>
                <a:gd name="connsiteY64" fmla="*/ 236561 h 782471"/>
                <a:gd name="connsiteX65" fmla="*/ 423080 w 2984311"/>
                <a:gd name="connsiteY65" fmla="*/ 222913 h 782471"/>
                <a:gd name="connsiteX66" fmla="*/ 404883 w 2984311"/>
                <a:gd name="connsiteY66" fmla="*/ 213815 h 782471"/>
                <a:gd name="connsiteX67" fmla="*/ 391236 w 2984311"/>
                <a:gd name="connsiteY67" fmla="*/ 204716 h 782471"/>
                <a:gd name="connsiteX68" fmla="*/ 373039 w 2984311"/>
                <a:gd name="connsiteY68" fmla="*/ 177421 h 782471"/>
                <a:gd name="connsiteX69" fmla="*/ 350292 w 2984311"/>
                <a:gd name="connsiteY69" fmla="*/ 150125 h 782471"/>
                <a:gd name="connsiteX70" fmla="*/ 322997 w 2984311"/>
                <a:gd name="connsiteY70" fmla="*/ 131928 h 782471"/>
                <a:gd name="connsiteX71" fmla="*/ 295701 w 2984311"/>
                <a:gd name="connsiteY71" fmla="*/ 113731 h 782471"/>
                <a:gd name="connsiteX72" fmla="*/ 286603 w 2984311"/>
                <a:gd name="connsiteY72" fmla="*/ 100084 h 782471"/>
                <a:gd name="connsiteX73" fmla="*/ 272955 w 2984311"/>
                <a:gd name="connsiteY73" fmla="*/ 95534 h 782471"/>
                <a:gd name="connsiteX74" fmla="*/ 259307 w 2984311"/>
                <a:gd name="connsiteY74" fmla="*/ 86436 h 782471"/>
                <a:gd name="connsiteX75" fmla="*/ 232012 w 2984311"/>
                <a:gd name="connsiteY75" fmla="*/ 77337 h 782471"/>
                <a:gd name="connsiteX76" fmla="*/ 218364 w 2984311"/>
                <a:gd name="connsiteY76" fmla="*/ 72788 h 782471"/>
                <a:gd name="connsiteX77" fmla="*/ 204716 w 2984311"/>
                <a:gd name="connsiteY77" fmla="*/ 68239 h 782471"/>
                <a:gd name="connsiteX78" fmla="*/ 191068 w 2984311"/>
                <a:gd name="connsiteY78" fmla="*/ 59140 h 782471"/>
                <a:gd name="connsiteX79" fmla="*/ 163773 w 2984311"/>
                <a:gd name="connsiteY79" fmla="*/ 50042 h 782471"/>
                <a:gd name="connsiteX80" fmla="*/ 136477 w 2984311"/>
                <a:gd name="connsiteY80" fmla="*/ 40943 h 782471"/>
                <a:gd name="connsiteX81" fmla="*/ 122830 w 2984311"/>
                <a:gd name="connsiteY81" fmla="*/ 36394 h 782471"/>
                <a:gd name="connsiteX82" fmla="*/ 0 w 2984311"/>
                <a:gd name="connsiteY82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20369 w 2984311"/>
                <a:gd name="connsiteY5" fmla="*/ 491319 h 782471"/>
                <a:gd name="connsiteX6" fmla="*/ 2370161 w 2984311"/>
                <a:gd name="connsiteY6" fmla="*/ 459475 h 782471"/>
                <a:gd name="connsiteX7" fmla="*/ 2247331 w 2984311"/>
                <a:gd name="connsiteY7" fmla="*/ 413982 h 782471"/>
                <a:gd name="connsiteX8" fmla="*/ 2233683 w 2984311"/>
                <a:gd name="connsiteY8" fmla="*/ 409433 h 782471"/>
                <a:gd name="connsiteX9" fmla="*/ 2197290 w 2984311"/>
                <a:gd name="connsiteY9" fmla="*/ 423081 h 782471"/>
                <a:gd name="connsiteX10" fmla="*/ 2056263 w 2984311"/>
                <a:gd name="connsiteY10" fmla="*/ 477672 h 782471"/>
                <a:gd name="connsiteX11" fmla="*/ 1988024 w 2984311"/>
                <a:gd name="connsiteY11" fmla="*/ 473122 h 782471"/>
                <a:gd name="connsiteX12" fmla="*/ 1969827 w 2984311"/>
                <a:gd name="connsiteY12" fmla="*/ 468573 h 782471"/>
                <a:gd name="connsiteX13" fmla="*/ 1878842 w 2984311"/>
                <a:gd name="connsiteY13" fmla="*/ 473122 h 782471"/>
                <a:gd name="connsiteX14" fmla="*/ 1851546 w 2984311"/>
                <a:gd name="connsiteY14" fmla="*/ 486770 h 782471"/>
                <a:gd name="connsiteX15" fmla="*/ 1842448 w 2984311"/>
                <a:gd name="connsiteY15" fmla="*/ 500418 h 782471"/>
                <a:gd name="connsiteX16" fmla="*/ 1815152 w 2984311"/>
                <a:gd name="connsiteY16" fmla="*/ 509516 h 782471"/>
                <a:gd name="connsiteX17" fmla="*/ 1787857 w 2984311"/>
                <a:gd name="connsiteY17" fmla="*/ 518615 h 782471"/>
                <a:gd name="connsiteX18" fmla="*/ 1774209 w 2984311"/>
                <a:gd name="connsiteY18" fmla="*/ 523164 h 782471"/>
                <a:gd name="connsiteX19" fmla="*/ 1733266 w 2984311"/>
                <a:gd name="connsiteY19" fmla="*/ 509516 h 782471"/>
                <a:gd name="connsiteX20" fmla="*/ 1728716 w 2984311"/>
                <a:gd name="connsiteY20" fmla="*/ 495869 h 782471"/>
                <a:gd name="connsiteX21" fmla="*/ 1724167 w 2984311"/>
                <a:gd name="connsiteY21" fmla="*/ 468573 h 782471"/>
                <a:gd name="connsiteX22" fmla="*/ 1710519 w 2984311"/>
                <a:gd name="connsiteY22" fmla="*/ 464024 h 782471"/>
                <a:gd name="connsiteX23" fmla="*/ 1701421 w 2984311"/>
                <a:gd name="connsiteY23" fmla="*/ 450376 h 782471"/>
                <a:gd name="connsiteX24" fmla="*/ 1687773 w 2984311"/>
                <a:gd name="connsiteY24" fmla="*/ 441278 h 782471"/>
                <a:gd name="connsiteX25" fmla="*/ 1683224 w 2984311"/>
                <a:gd name="connsiteY25" fmla="*/ 427630 h 782471"/>
                <a:gd name="connsiteX26" fmla="*/ 1665027 w 2984311"/>
                <a:gd name="connsiteY26" fmla="*/ 400334 h 782471"/>
                <a:gd name="connsiteX27" fmla="*/ 1646830 w 2984311"/>
                <a:gd name="connsiteY27" fmla="*/ 373039 h 782471"/>
                <a:gd name="connsiteX28" fmla="*/ 1633182 w 2984311"/>
                <a:gd name="connsiteY28" fmla="*/ 363940 h 782471"/>
                <a:gd name="connsiteX29" fmla="*/ 1601337 w 2984311"/>
                <a:gd name="connsiteY29" fmla="*/ 345743 h 782471"/>
                <a:gd name="connsiteX30" fmla="*/ 1587689 w 2984311"/>
                <a:gd name="connsiteY30" fmla="*/ 318448 h 782471"/>
                <a:gd name="connsiteX31" fmla="*/ 1574042 w 2984311"/>
                <a:gd name="connsiteY31" fmla="*/ 309349 h 782471"/>
                <a:gd name="connsiteX32" fmla="*/ 1542197 w 2984311"/>
                <a:gd name="connsiteY32" fmla="*/ 286603 h 782471"/>
                <a:gd name="connsiteX33" fmla="*/ 1501254 w 2984311"/>
                <a:gd name="connsiteY33" fmla="*/ 277505 h 782471"/>
                <a:gd name="connsiteX34" fmla="*/ 1473958 w 2984311"/>
                <a:gd name="connsiteY34" fmla="*/ 268406 h 782471"/>
                <a:gd name="connsiteX35" fmla="*/ 1460310 w 2984311"/>
                <a:gd name="connsiteY35" fmla="*/ 259308 h 782471"/>
                <a:gd name="connsiteX36" fmla="*/ 1433015 w 2984311"/>
                <a:gd name="connsiteY36" fmla="*/ 250209 h 782471"/>
                <a:gd name="connsiteX37" fmla="*/ 1360227 w 2984311"/>
                <a:gd name="connsiteY37" fmla="*/ 236561 h 782471"/>
                <a:gd name="connsiteX38" fmla="*/ 1332931 w 2984311"/>
                <a:gd name="connsiteY38" fmla="*/ 227463 h 782471"/>
                <a:gd name="connsiteX39" fmla="*/ 1319283 w 2984311"/>
                <a:gd name="connsiteY39" fmla="*/ 222913 h 782471"/>
                <a:gd name="connsiteX40" fmla="*/ 1278340 w 2984311"/>
                <a:gd name="connsiteY40" fmla="*/ 227463 h 782471"/>
                <a:gd name="connsiteX41" fmla="*/ 1264692 w 2984311"/>
                <a:gd name="connsiteY41" fmla="*/ 236561 h 782471"/>
                <a:gd name="connsiteX42" fmla="*/ 1246495 w 2984311"/>
                <a:gd name="connsiteY42" fmla="*/ 241111 h 782471"/>
                <a:gd name="connsiteX43" fmla="*/ 1219200 w 2984311"/>
                <a:gd name="connsiteY43" fmla="*/ 254758 h 782471"/>
                <a:gd name="connsiteX44" fmla="*/ 1191904 w 2984311"/>
                <a:gd name="connsiteY44" fmla="*/ 268406 h 782471"/>
                <a:gd name="connsiteX45" fmla="*/ 1160060 w 2984311"/>
                <a:gd name="connsiteY45" fmla="*/ 272955 h 782471"/>
                <a:gd name="connsiteX46" fmla="*/ 1105468 w 2984311"/>
                <a:gd name="connsiteY46" fmla="*/ 291152 h 782471"/>
                <a:gd name="connsiteX47" fmla="*/ 1073624 w 2984311"/>
                <a:gd name="connsiteY47" fmla="*/ 304800 h 782471"/>
                <a:gd name="connsiteX48" fmla="*/ 896203 w 2984311"/>
                <a:gd name="connsiteY48" fmla="*/ 309349 h 782471"/>
                <a:gd name="connsiteX49" fmla="*/ 868907 w 2984311"/>
                <a:gd name="connsiteY49" fmla="*/ 322997 h 782471"/>
                <a:gd name="connsiteX50" fmla="*/ 855260 w 2984311"/>
                <a:gd name="connsiteY50" fmla="*/ 327546 h 782471"/>
                <a:gd name="connsiteX51" fmla="*/ 782471 w 2984311"/>
                <a:gd name="connsiteY51" fmla="*/ 322997 h 782471"/>
                <a:gd name="connsiteX52" fmla="*/ 768824 w 2984311"/>
                <a:gd name="connsiteY52" fmla="*/ 318448 h 782471"/>
                <a:gd name="connsiteX53" fmla="*/ 723331 w 2984311"/>
                <a:gd name="connsiteY53" fmla="*/ 304800 h 782471"/>
                <a:gd name="connsiteX54" fmla="*/ 709683 w 2984311"/>
                <a:gd name="connsiteY54" fmla="*/ 300251 h 782471"/>
                <a:gd name="connsiteX55" fmla="*/ 696036 w 2984311"/>
                <a:gd name="connsiteY55" fmla="*/ 295702 h 782471"/>
                <a:gd name="connsiteX56" fmla="*/ 641445 w 2984311"/>
                <a:gd name="connsiteY56" fmla="*/ 291152 h 782471"/>
                <a:gd name="connsiteX57" fmla="*/ 591403 w 2984311"/>
                <a:gd name="connsiteY57" fmla="*/ 282054 h 782471"/>
                <a:gd name="connsiteX58" fmla="*/ 573206 w 2984311"/>
                <a:gd name="connsiteY58" fmla="*/ 277505 h 782471"/>
                <a:gd name="connsiteX59" fmla="*/ 545910 w 2984311"/>
                <a:gd name="connsiteY59" fmla="*/ 268406 h 782471"/>
                <a:gd name="connsiteX60" fmla="*/ 514066 w 2984311"/>
                <a:gd name="connsiteY60" fmla="*/ 263857 h 782471"/>
                <a:gd name="connsiteX61" fmla="*/ 491319 w 2984311"/>
                <a:gd name="connsiteY61" fmla="*/ 259308 h 782471"/>
                <a:gd name="connsiteX62" fmla="*/ 459474 w 2984311"/>
                <a:gd name="connsiteY62" fmla="*/ 254758 h 782471"/>
                <a:gd name="connsiteX63" fmla="*/ 432179 w 2984311"/>
                <a:gd name="connsiteY63" fmla="*/ 236561 h 782471"/>
                <a:gd name="connsiteX64" fmla="*/ 423080 w 2984311"/>
                <a:gd name="connsiteY64" fmla="*/ 222913 h 782471"/>
                <a:gd name="connsiteX65" fmla="*/ 404883 w 2984311"/>
                <a:gd name="connsiteY65" fmla="*/ 213815 h 782471"/>
                <a:gd name="connsiteX66" fmla="*/ 391236 w 2984311"/>
                <a:gd name="connsiteY66" fmla="*/ 204716 h 782471"/>
                <a:gd name="connsiteX67" fmla="*/ 373039 w 2984311"/>
                <a:gd name="connsiteY67" fmla="*/ 177421 h 782471"/>
                <a:gd name="connsiteX68" fmla="*/ 350292 w 2984311"/>
                <a:gd name="connsiteY68" fmla="*/ 150125 h 782471"/>
                <a:gd name="connsiteX69" fmla="*/ 322997 w 2984311"/>
                <a:gd name="connsiteY69" fmla="*/ 131928 h 782471"/>
                <a:gd name="connsiteX70" fmla="*/ 295701 w 2984311"/>
                <a:gd name="connsiteY70" fmla="*/ 113731 h 782471"/>
                <a:gd name="connsiteX71" fmla="*/ 286603 w 2984311"/>
                <a:gd name="connsiteY71" fmla="*/ 100084 h 782471"/>
                <a:gd name="connsiteX72" fmla="*/ 272955 w 2984311"/>
                <a:gd name="connsiteY72" fmla="*/ 95534 h 782471"/>
                <a:gd name="connsiteX73" fmla="*/ 259307 w 2984311"/>
                <a:gd name="connsiteY73" fmla="*/ 86436 h 782471"/>
                <a:gd name="connsiteX74" fmla="*/ 232012 w 2984311"/>
                <a:gd name="connsiteY74" fmla="*/ 77337 h 782471"/>
                <a:gd name="connsiteX75" fmla="*/ 218364 w 2984311"/>
                <a:gd name="connsiteY75" fmla="*/ 72788 h 782471"/>
                <a:gd name="connsiteX76" fmla="*/ 204716 w 2984311"/>
                <a:gd name="connsiteY76" fmla="*/ 68239 h 782471"/>
                <a:gd name="connsiteX77" fmla="*/ 191068 w 2984311"/>
                <a:gd name="connsiteY77" fmla="*/ 59140 h 782471"/>
                <a:gd name="connsiteX78" fmla="*/ 163773 w 2984311"/>
                <a:gd name="connsiteY78" fmla="*/ 50042 h 782471"/>
                <a:gd name="connsiteX79" fmla="*/ 136477 w 2984311"/>
                <a:gd name="connsiteY79" fmla="*/ 40943 h 782471"/>
                <a:gd name="connsiteX80" fmla="*/ 122830 w 2984311"/>
                <a:gd name="connsiteY80" fmla="*/ 36394 h 782471"/>
                <a:gd name="connsiteX81" fmla="*/ 0 w 2984311"/>
                <a:gd name="connsiteY81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20369 w 2984311"/>
                <a:gd name="connsiteY5" fmla="*/ 491319 h 782471"/>
                <a:gd name="connsiteX6" fmla="*/ 2370161 w 2984311"/>
                <a:gd name="connsiteY6" fmla="*/ 459475 h 782471"/>
                <a:gd name="connsiteX7" fmla="*/ 2247331 w 2984311"/>
                <a:gd name="connsiteY7" fmla="*/ 413982 h 782471"/>
                <a:gd name="connsiteX8" fmla="*/ 2233683 w 2984311"/>
                <a:gd name="connsiteY8" fmla="*/ 409433 h 782471"/>
                <a:gd name="connsiteX9" fmla="*/ 2197290 w 2984311"/>
                <a:gd name="connsiteY9" fmla="*/ 423081 h 782471"/>
                <a:gd name="connsiteX10" fmla="*/ 2056263 w 2984311"/>
                <a:gd name="connsiteY10" fmla="*/ 477672 h 782471"/>
                <a:gd name="connsiteX11" fmla="*/ 1969827 w 2984311"/>
                <a:gd name="connsiteY11" fmla="*/ 468573 h 782471"/>
                <a:gd name="connsiteX12" fmla="*/ 1878842 w 2984311"/>
                <a:gd name="connsiteY12" fmla="*/ 473122 h 782471"/>
                <a:gd name="connsiteX13" fmla="*/ 1851546 w 2984311"/>
                <a:gd name="connsiteY13" fmla="*/ 486770 h 782471"/>
                <a:gd name="connsiteX14" fmla="*/ 1842448 w 2984311"/>
                <a:gd name="connsiteY14" fmla="*/ 500418 h 782471"/>
                <a:gd name="connsiteX15" fmla="*/ 1815152 w 2984311"/>
                <a:gd name="connsiteY15" fmla="*/ 509516 h 782471"/>
                <a:gd name="connsiteX16" fmla="*/ 1787857 w 2984311"/>
                <a:gd name="connsiteY16" fmla="*/ 518615 h 782471"/>
                <a:gd name="connsiteX17" fmla="*/ 1774209 w 2984311"/>
                <a:gd name="connsiteY17" fmla="*/ 523164 h 782471"/>
                <a:gd name="connsiteX18" fmla="*/ 1733266 w 2984311"/>
                <a:gd name="connsiteY18" fmla="*/ 509516 h 782471"/>
                <a:gd name="connsiteX19" fmla="*/ 1728716 w 2984311"/>
                <a:gd name="connsiteY19" fmla="*/ 495869 h 782471"/>
                <a:gd name="connsiteX20" fmla="*/ 1724167 w 2984311"/>
                <a:gd name="connsiteY20" fmla="*/ 468573 h 782471"/>
                <a:gd name="connsiteX21" fmla="*/ 1710519 w 2984311"/>
                <a:gd name="connsiteY21" fmla="*/ 464024 h 782471"/>
                <a:gd name="connsiteX22" fmla="*/ 1701421 w 2984311"/>
                <a:gd name="connsiteY22" fmla="*/ 450376 h 782471"/>
                <a:gd name="connsiteX23" fmla="*/ 1687773 w 2984311"/>
                <a:gd name="connsiteY23" fmla="*/ 441278 h 782471"/>
                <a:gd name="connsiteX24" fmla="*/ 1683224 w 2984311"/>
                <a:gd name="connsiteY24" fmla="*/ 427630 h 782471"/>
                <a:gd name="connsiteX25" fmla="*/ 1665027 w 2984311"/>
                <a:gd name="connsiteY25" fmla="*/ 400334 h 782471"/>
                <a:gd name="connsiteX26" fmla="*/ 1646830 w 2984311"/>
                <a:gd name="connsiteY26" fmla="*/ 373039 h 782471"/>
                <a:gd name="connsiteX27" fmla="*/ 1633182 w 2984311"/>
                <a:gd name="connsiteY27" fmla="*/ 363940 h 782471"/>
                <a:gd name="connsiteX28" fmla="*/ 1601337 w 2984311"/>
                <a:gd name="connsiteY28" fmla="*/ 345743 h 782471"/>
                <a:gd name="connsiteX29" fmla="*/ 1587689 w 2984311"/>
                <a:gd name="connsiteY29" fmla="*/ 318448 h 782471"/>
                <a:gd name="connsiteX30" fmla="*/ 1574042 w 2984311"/>
                <a:gd name="connsiteY30" fmla="*/ 309349 h 782471"/>
                <a:gd name="connsiteX31" fmla="*/ 1542197 w 2984311"/>
                <a:gd name="connsiteY31" fmla="*/ 286603 h 782471"/>
                <a:gd name="connsiteX32" fmla="*/ 1501254 w 2984311"/>
                <a:gd name="connsiteY32" fmla="*/ 277505 h 782471"/>
                <a:gd name="connsiteX33" fmla="*/ 1473958 w 2984311"/>
                <a:gd name="connsiteY33" fmla="*/ 268406 h 782471"/>
                <a:gd name="connsiteX34" fmla="*/ 1460310 w 2984311"/>
                <a:gd name="connsiteY34" fmla="*/ 259308 h 782471"/>
                <a:gd name="connsiteX35" fmla="*/ 1433015 w 2984311"/>
                <a:gd name="connsiteY35" fmla="*/ 250209 h 782471"/>
                <a:gd name="connsiteX36" fmla="*/ 1360227 w 2984311"/>
                <a:gd name="connsiteY36" fmla="*/ 236561 h 782471"/>
                <a:gd name="connsiteX37" fmla="*/ 1332931 w 2984311"/>
                <a:gd name="connsiteY37" fmla="*/ 227463 h 782471"/>
                <a:gd name="connsiteX38" fmla="*/ 1319283 w 2984311"/>
                <a:gd name="connsiteY38" fmla="*/ 222913 h 782471"/>
                <a:gd name="connsiteX39" fmla="*/ 1278340 w 2984311"/>
                <a:gd name="connsiteY39" fmla="*/ 227463 h 782471"/>
                <a:gd name="connsiteX40" fmla="*/ 1264692 w 2984311"/>
                <a:gd name="connsiteY40" fmla="*/ 236561 h 782471"/>
                <a:gd name="connsiteX41" fmla="*/ 1246495 w 2984311"/>
                <a:gd name="connsiteY41" fmla="*/ 241111 h 782471"/>
                <a:gd name="connsiteX42" fmla="*/ 1219200 w 2984311"/>
                <a:gd name="connsiteY42" fmla="*/ 254758 h 782471"/>
                <a:gd name="connsiteX43" fmla="*/ 1191904 w 2984311"/>
                <a:gd name="connsiteY43" fmla="*/ 268406 h 782471"/>
                <a:gd name="connsiteX44" fmla="*/ 1160060 w 2984311"/>
                <a:gd name="connsiteY44" fmla="*/ 272955 h 782471"/>
                <a:gd name="connsiteX45" fmla="*/ 1105468 w 2984311"/>
                <a:gd name="connsiteY45" fmla="*/ 291152 h 782471"/>
                <a:gd name="connsiteX46" fmla="*/ 1073624 w 2984311"/>
                <a:gd name="connsiteY46" fmla="*/ 304800 h 782471"/>
                <a:gd name="connsiteX47" fmla="*/ 896203 w 2984311"/>
                <a:gd name="connsiteY47" fmla="*/ 309349 h 782471"/>
                <a:gd name="connsiteX48" fmla="*/ 868907 w 2984311"/>
                <a:gd name="connsiteY48" fmla="*/ 322997 h 782471"/>
                <a:gd name="connsiteX49" fmla="*/ 855260 w 2984311"/>
                <a:gd name="connsiteY49" fmla="*/ 327546 h 782471"/>
                <a:gd name="connsiteX50" fmla="*/ 782471 w 2984311"/>
                <a:gd name="connsiteY50" fmla="*/ 322997 h 782471"/>
                <a:gd name="connsiteX51" fmla="*/ 768824 w 2984311"/>
                <a:gd name="connsiteY51" fmla="*/ 318448 h 782471"/>
                <a:gd name="connsiteX52" fmla="*/ 723331 w 2984311"/>
                <a:gd name="connsiteY52" fmla="*/ 304800 h 782471"/>
                <a:gd name="connsiteX53" fmla="*/ 709683 w 2984311"/>
                <a:gd name="connsiteY53" fmla="*/ 300251 h 782471"/>
                <a:gd name="connsiteX54" fmla="*/ 696036 w 2984311"/>
                <a:gd name="connsiteY54" fmla="*/ 295702 h 782471"/>
                <a:gd name="connsiteX55" fmla="*/ 641445 w 2984311"/>
                <a:gd name="connsiteY55" fmla="*/ 291152 h 782471"/>
                <a:gd name="connsiteX56" fmla="*/ 591403 w 2984311"/>
                <a:gd name="connsiteY56" fmla="*/ 282054 h 782471"/>
                <a:gd name="connsiteX57" fmla="*/ 573206 w 2984311"/>
                <a:gd name="connsiteY57" fmla="*/ 277505 h 782471"/>
                <a:gd name="connsiteX58" fmla="*/ 545910 w 2984311"/>
                <a:gd name="connsiteY58" fmla="*/ 268406 h 782471"/>
                <a:gd name="connsiteX59" fmla="*/ 514066 w 2984311"/>
                <a:gd name="connsiteY59" fmla="*/ 263857 h 782471"/>
                <a:gd name="connsiteX60" fmla="*/ 491319 w 2984311"/>
                <a:gd name="connsiteY60" fmla="*/ 259308 h 782471"/>
                <a:gd name="connsiteX61" fmla="*/ 459474 w 2984311"/>
                <a:gd name="connsiteY61" fmla="*/ 254758 h 782471"/>
                <a:gd name="connsiteX62" fmla="*/ 432179 w 2984311"/>
                <a:gd name="connsiteY62" fmla="*/ 236561 h 782471"/>
                <a:gd name="connsiteX63" fmla="*/ 423080 w 2984311"/>
                <a:gd name="connsiteY63" fmla="*/ 222913 h 782471"/>
                <a:gd name="connsiteX64" fmla="*/ 404883 w 2984311"/>
                <a:gd name="connsiteY64" fmla="*/ 213815 h 782471"/>
                <a:gd name="connsiteX65" fmla="*/ 391236 w 2984311"/>
                <a:gd name="connsiteY65" fmla="*/ 204716 h 782471"/>
                <a:gd name="connsiteX66" fmla="*/ 373039 w 2984311"/>
                <a:gd name="connsiteY66" fmla="*/ 177421 h 782471"/>
                <a:gd name="connsiteX67" fmla="*/ 350292 w 2984311"/>
                <a:gd name="connsiteY67" fmla="*/ 150125 h 782471"/>
                <a:gd name="connsiteX68" fmla="*/ 322997 w 2984311"/>
                <a:gd name="connsiteY68" fmla="*/ 131928 h 782471"/>
                <a:gd name="connsiteX69" fmla="*/ 295701 w 2984311"/>
                <a:gd name="connsiteY69" fmla="*/ 113731 h 782471"/>
                <a:gd name="connsiteX70" fmla="*/ 286603 w 2984311"/>
                <a:gd name="connsiteY70" fmla="*/ 100084 h 782471"/>
                <a:gd name="connsiteX71" fmla="*/ 272955 w 2984311"/>
                <a:gd name="connsiteY71" fmla="*/ 95534 h 782471"/>
                <a:gd name="connsiteX72" fmla="*/ 259307 w 2984311"/>
                <a:gd name="connsiteY72" fmla="*/ 86436 h 782471"/>
                <a:gd name="connsiteX73" fmla="*/ 232012 w 2984311"/>
                <a:gd name="connsiteY73" fmla="*/ 77337 h 782471"/>
                <a:gd name="connsiteX74" fmla="*/ 218364 w 2984311"/>
                <a:gd name="connsiteY74" fmla="*/ 72788 h 782471"/>
                <a:gd name="connsiteX75" fmla="*/ 204716 w 2984311"/>
                <a:gd name="connsiteY75" fmla="*/ 68239 h 782471"/>
                <a:gd name="connsiteX76" fmla="*/ 191068 w 2984311"/>
                <a:gd name="connsiteY76" fmla="*/ 59140 h 782471"/>
                <a:gd name="connsiteX77" fmla="*/ 163773 w 2984311"/>
                <a:gd name="connsiteY77" fmla="*/ 50042 h 782471"/>
                <a:gd name="connsiteX78" fmla="*/ 136477 w 2984311"/>
                <a:gd name="connsiteY78" fmla="*/ 40943 h 782471"/>
                <a:gd name="connsiteX79" fmla="*/ 122830 w 2984311"/>
                <a:gd name="connsiteY79" fmla="*/ 36394 h 782471"/>
                <a:gd name="connsiteX80" fmla="*/ 0 w 2984311"/>
                <a:gd name="connsiteY80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20369 w 2984311"/>
                <a:gd name="connsiteY5" fmla="*/ 491319 h 782471"/>
                <a:gd name="connsiteX6" fmla="*/ 2370161 w 2984311"/>
                <a:gd name="connsiteY6" fmla="*/ 459475 h 782471"/>
                <a:gd name="connsiteX7" fmla="*/ 2247331 w 2984311"/>
                <a:gd name="connsiteY7" fmla="*/ 413982 h 782471"/>
                <a:gd name="connsiteX8" fmla="*/ 2233683 w 2984311"/>
                <a:gd name="connsiteY8" fmla="*/ 409433 h 782471"/>
                <a:gd name="connsiteX9" fmla="*/ 2197290 w 2984311"/>
                <a:gd name="connsiteY9" fmla="*/ 423081 h 782471"/>
                <a:gd name="connsiteX10" fmla="*/ 2056263 w 2984311"/>
                <a:gd name="connsiteY10" fmla="*/ 477672 h 782471"/>
                <a:gd name="connsiteX11" fmla="*/ 1969827 w 2984311"/>
                <a:gd name="connsiteY11" fmla="*/ 468573 h 782471"/>
                <a:gd name="connsiteX12" fmla="*/ 1851546 w 2984311"/>
                <a:gd name="connsiteY12" fmla="*/ 486770 h 782471"/>
                <a:gd name="connsiteX13" fmla="*/ 1842448 w 2984311"/>
                <a:gd name="connsiteY13" fmla="*/ 500418 h 782471"/>
                <a:gd name="connsiteX14" fmla="*/ 1815152 w 2984311"/>
                <a:gd name="connsiteY14" fmla="*/ 509516 h 782471"/>
                <a:gd name="connsiteX15" fmla="*/ 1787857 w 2984311"/>
                <a:gd name="connsiteY15" fmla="*/ 518615 h 782471"/>
                <a:gd name="connsiteX16" fmla="*/ 1774209 w 2984311"/>
                <a:gd name="connsiteY16" fmla="*/ 523164 h 782471"/>
                <a:gd name="connsiteX17" fmla="*/ 1733266 w 2984311"/>
                <a:gd name="connsiteY17" fmla="*/ 509516 h 782471"/>
                <a:gd name="connsiteX18" fmla="*/ 1728716 w 2984311"/>
                <a:gd name="connsiteY18" fmla="*/ 495869 h 782471"/>
                <a:gd name="connsiteX19" fmla="*/ 1724167 w 2984311"/>
                <a:gd name="connsiteY19" fmla="*/ 468573 h 782471"/>
                <a:gd name="connsiteX20" fmla="*/ 1710519 w 2984311"/>
                <a:gd name="connsiteY20" fmla="*/ 464024 h 782471"/>
                <a:gd name="connsiteX21" fmla="*/ 1701421 w 2984311"/>
                <a:gd name="connsiteY21" fmla="*/ 450376 h 782471"/>
                <a:gd name="connsiteX22" fmla="*/ 1687773 w 2984311"/>
                <a:gd name="connsiteY22" fmla="*/ 441278 h 782471"/>
                <a:gd name="connsiteX23" fmla="*/ 1683224 w 2984311"/>
                <a:gd name="connsiteY23" fmla="*/ 427630 h 782471"/>
                <a:gd name="connsiteX24" fmla="*/ 1665027 w 2984311"/>
                <a:gd name="connsiteY24" fmla="*/ 400334 h 782471"/>
                <a:gd name="connsiteX25" fmla="*/ 1646830 w 2984311"/>
                <a:gd name="connsiteY25" fmla="*/ 373039 h 782471"/>
                <a:gd name="connsiteX26" fmla="*/ 1633182 w 2984311"/>
                <a:gd name="connsiteY26" fmla="*/ 363940 h 782471"/>
                <a:gd name="connsiteX27" fmla="*/ 1601337 w 2984311"/>
                <a:gd name="connsiteY27" fmla="*/ 345743 h 782471"/>
                <a:gd name="connsiteX28" fmla="*/ 1587689 w 2984311"/>
                <a:gd name="connsiteY28" fmla="*/ 318448 h 782471"/>
                <a:gd name="connsiteX29" fmla="*/ 1574042 w 2984311"/>
                <a:gd name="connsiteY29" fmla="*/ 309349 h 782471"/>
                <a:gd name="connsiteX30" fmla="*/ 1542197 w 2984311"/>
                <a:gd name="connsiteY30" fmla="*/ 286603 h 782471"/>
                <a:gd name="connsiteX31" fmla="*/ 1501254 w 2984311"/>
                <a:gd name="connsiteY31" fmla="*/ 277505 h 782471"/>
                <a:gd name="connsiteX32" fmla="*/ 1473958 w 2984311"/>
                <a:gd name="connsiteY32" fmla="*/ 268406 h 782471"/>
                <a:gd name="connsiteX33" fmla="*/ 1460310 w 2984311"/>
                <a:gd name="connsiteY33" fmla="*/ 259308 h 782471"/>
                <a:gd name="connsiteX34" fmla="*/ 1433015 w 2984311"/>
                <a:gd name="connsiteY34" fmla="*/ 250209 h 782471"/>
                <a:gd name="connsiteX35" fmla="*/ 1360227 w 2984311"/>
                <a:gd name="connsiteY35" fmla="*/ 236561 h 782471"/>
                <a:gd name="connsiteX36" fmla="*/ 1332931 w 2984311"/>
                <a:gd name="connsiteY36" fmla="*/ 227463 h 782471"/>
                <a:gd name="connsiteX37" fmla="*/ 1319283 w 2984311"/>
                <a:gd name="connsiteY37" fmla="*/ 222913 h 782471"/>
                <a:gd name="connsiteX38" fmla="*/ 1278340 w 2984311"/>
                <a:gd name="connsiteY38" fmla="*/ 227463 h 782471"/>
                <a:gd name="connsiteX39" fmla="*/ 1264692 w 2984311"/>
                <a:gd name="connsiteY39" fmla="*/ 236561 h 782471"/>
                <a:gd name="connsiteX40" fmla="*/ 1246495 w 2984311"/>
                <a:gd name="connsiteY40" fmla="*/ 241111 h 782471"/>
                <a:gd name="connsiteX41" fmla="*/ 1219200 w 2984311"/>
                <a:gd name="connsiteY41" fmla="*/ 254758 h 782471"/>
                <a:gd name="connsiteX42" fmla="*/ 1191904 w 2984311"/>
                <a:gd name="connsiteY42" fmla="*/ 268406 h 782471"/>
                <a:gd name="connsiteX43" fmla="*/ 1160060 w 2984311"/>
                <a:gd name="connsiteY43" fmla="*/ 272955 h 782471"/>
                <a:gd name="connsiteX44" fmla="*/ 1105468 w 2984311"/>
                <a:gd name="connsiteY44" fmla="*/ 291152 h 782471"/>
                <a:gd name="connsiteX45" fmla="*/ 1073624 w 2984311"/>
                <a:gd name="connsiteY45" fmla="*/ 304800 h 782471"/>
                <a:gd name="connsiteX46" fmla="*/ 896203 w 2984311"/>
                <a:gd name="connsiteY46" fmla="*/ 309349 h 782471"/>
                <a:gd name="connsiteX47" fmla="*/ 868907 w 2984311"/>
                <a:gd name="connsiteY47" fmla="*/ 322997 h 782471"/>
                <a:gd name="connsiteX48" fmla="*/ 855260 w 2984311"/>
                <a:gd name="connsiteY48" fmla="*/ 327546 h 782471"/>
                <a:gd name="connsiteX49" fmla="*/ 782471 w 2984311"/>
                <a:gd name="connsiteY49" fmla="*/ 322997 h 782471"/>
                <a:gd name="connsiteX50" fmla="*/ 768824 w 2984311"/>
                <a:gd name="connsiteY50" fmla="*/ 318448 h 782471"/>
                <a:gd name="connsiteX51" fmla="*/ 723331 w 2984311"/>
                <a:gd name="connsiteY51" fmla="*/ 304800 h 782471"/>
                <a:gd name="connsiteX52" fmla="*/ 709683 w 2984311"/>
                <a:gd name="connsiteY52" fmla="*/ 300251 h 782471"/>
                <a:gd name="connsiteX53" fmla="*/ 696036 w 2984311"/>
                <a:gd name="connsiteY53" fmla="*/ 295702 h 782471"/>
                <a:gd name="connsiteX54" fmla="*/ 641445 w 2984311"/>
                <a:gd name="connsiteY54" fmla="*/ 291152 h 782471"/>
                <a:gd name="connsiteX55" fmla="*/ 591403 w 2984311"/>
                <a:gd name="connsiteY55" fmla="*/ 282054 h 782471"/>
                <a:gd name="connsiteX56" fmla="*/ 573206 w 2984311"/>
                <a:gd name="connsiteY56" fmla="*/ 277505 h 782471"/>
                <a:gd name="connsiteX57" fmla="*/ 545910 w 2984311"/>
                <a:gd name="connsiteY57" fmla="*/ 268406 h 782471"/>
                <a:gd name="connsiteX58" fmla="*/ 514066 w 2984311"/>
                <a:gd name="connsiteY58" fmla="*/ 263857 h 782471"/>
                <a:gd name="connsiteX59" fmla="*/ 491319 w 2984311"/>
                <a:gd name="connsiteY59" fmla="*/ 259308 h 782471"/>
                <a:gd name="connsiteX60" fmla="*/ 459474 w 2984311"/>
                <a:gd name="connsiteY60" fmla="*/ 254758 h 782471"/>
                <a:gd name="connsiteX61" fmla="*/ 432179 w 2984311"/>
                <a:gd name="connsiteY61" fmla="*/ 236561 h 782471"/>
                <a:gd name="connsiteX62" fmla="*/ 423080 w 2984311"/>
                <a:gd name="connsiteY62" fmla="*/ 222913 h 782471"/>
                <a:gd name="connsiteX63" fmla="*/ 404883 w 2984311"/>
                <a:gd name="connsiteY63" fmla="*/ 213815 h 782471"/>
                <a:gd name="connsiteX64" fmla="*/ 391236 w 2984311"/>
                <a:gd name="connsiteY64" fmla="*/ 204716 h 782471"/>
                <a:gd name="connsiteX65" fmla="*/ 373039 w 2984311"/>
                <a:gd name="connsiteY65" fmla="*/ 177421 h 782471"/>
                <a:gd name="connsiteX66" fmla="*/ 350292 w 2984311"/>
                <a:gd name="connsiteY66" fmla="*/ 150125 h 782471"/>
                <a:gd name="connsiteX67" fmla="*/ 322997 w 2984311"/>
                <a:gd name="connsiteY67" fmla="*/ 131928 h 782471"/>
                <a:gd name="connsiteX68" fmla="*/ 295701 w 2984311"/>
                <a:gd name="connsiteY68" fmla="*/ 113731 h 782471"/>
                <a:gd name="connsiteX69" fmla="*/ 286603 w 2984311"/>
                <a:gd name="connsiteY69" fmla="*/ 100084 h 782471"/>
                <a:gd name="connsiteX70" fmla="*/ 272955 w 2984311"/>
                <a:gd name="connsiteY70" fmla="*/ 95534 h 782471"/>
                <a:gd name="connsiteX71" fmla="*/ 259307 w 2984311"/>
                <a:gd name="connsiteY71" fmla="*/ 86436 h 782471"/>
                <a:gd name="connsiteX72" fmla="*/ 232012 w 2984311"/>
                <a:gd name="connsiteY72" fmla="*/ 77337 h 782471"/>
                <a:gd name="connsiteX73" fmla="*/ 218364 w 2984311"/>
                <a:gd name="connsiteY73" fmla="*/ 72788 h 782471"/>
                <a:gd name="connsiteX74" fmla="*/ 204716 w 2984311"/>
                <a:gd name="connsiteY74" fmla="*/ 68239 h 782471"/>
                <a:gd name="connsiteX75" fmla="*/ 191068 w 2984311"/>
                <a:gd name="connsiteY75" fmla="*/ 59140 h 782471"/>
                <a:gd name="connsiteX76" fmla="*/ 163773 w 2984311"/>
                <a:gd name="connsiteY76" fmla="*/ 50042 h 782471"/>
                <a:gd name="connsiteX77" fmla="*/ 136477 w 2984311"/>
                <a:gd name="connsiteY77" fmla="*/ 40943 h 782471"/>
                <a:gd name="connsiteX78" fmla="*/ 122830 w 2984311"/>
                <a:gd name="connsiteY78" fmla="*/ 36394 h 782471"/>
                <a:gd name="connsiteX79" fmla="*/ 0 w 2984311"/>
                <a:gd name="connsiteY79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20369 w 2984311"/>
                <a:gd name="connsiteY5" fmla="*/ 491319 h 782471"/>
                <a:gd name="connsiteX6" fmla="*/ 2370161 w 2984311"/>
                <a:gd name="connsiteY6" fmla="*/ 459475 h 782471"/>
                <a:gd name="connsiteX7" fmla="*/ 2247331 w 2984311"/>
                <a:gd name="connsiteY7" fmla="*/ 413982 h 782471"/>
                <a:gd name="connsiteX8" fmla="*/ 2233683 w 2984311"/>
                <a:gd name="connsiteY8" fmla="*/ 409433 h 782471"/>
                <a:gd name="connsiteX9" fmla="*/ 2197290 w 2984311"/>
                <a:gd name="connsiteY9" fmla="*/ 423081 h 782471"/>
                <a:gd name="connsiteX10" fmla="*/ 2056263 w 2984311"/>
                <a:gd name="connsiteY10" fmla="*/ 477672 h 782471"/>
                <a:gd name="connsiteX11" fmla="*/ 1969827 w 2984311"/>
                <a:gd name="connsiteY11" fmla="*/ 468573 h 782471"/>
                <a:gd name="connsiteX12" fmla="*/ 1851546 w 2984311"/>
                <a:gd name="connsiteY12" fmla="*/ 486770 h 782471"/>
                <a:gd name="connsiteX13" fmla="*/ 1906138 w 2984311"/>
                <a:gd name="connsiteY13" fmla="*/ 473122 h 782471"/>
                <a:gd name="connsiteX14" fmla="*/ 1815152 w 2984311"/>
                <a:gd name="connsiteY14" fmla="*/ 509516 h 782471"/>
                <a:gd name="connsiteX15" fmla="*/ 1787857 w 2984311"/>
                <a:gd name="connsiteY15" fmla="*/ 518615 h 782471"/>
                <a:gd name="connsiteX16" fmla="*/ 1774209 w 2984311"/>
                <a:gd name="connsiteY16" fmla="*/ 523164 h 782471"/>
                <a:gd name="connsiteX17" fmla="*/ 1733266 w 2984311"/>
                <a:gd name="connsiteY17" fmla="*/ 509516 h 782471"/>
                <a:gd name="connsiteX18" fmla="*/ 1728716 w 2984311"/>
                <a:gd name="connsiteY18" fmla="*/ 495869 h 782471"/>
                <a:gd name="connsiteX19" fmla="*/ 1724167 w 2984311"/>
                <a:gd name="connsiteY19" fmla="*/ 468573 h 782471"/>
                <a:gd name="connsiteX20" fmla="*/ 1710519 w 2984311"/>
                <a:gd name="connsiteY20" fmla="*/ 464024 h 782471"/>
                <a:gd name="connsiteX21" fmla="*/ 1701421 w 2984311"/>
                <a:gd name="connsiteY21" fmla="*/ 450376 h 782471"/>
                <a:gd name="connsiteX22" fmla="*/ 1687773 w 2984311"/>
                <a:gd name="connsiteY22" fmla="*/ 441278 h 782471"/>
                <a:gd name="connsiteX23" fmla="*/ 1683224 w 2984311"/>
                <a:gd name="connsiteY23" fmla="*/ 427630 h 782471"/>
                <a:gd name="connsiteX24" fmla="*/ 1665027 w 2984311"/>
                <a:gd name="connsiteY24" fmla="*/ 400334 h 782471"/>
                <a:gd name="connsiteX25" fmla="*/ 1646830 w 2984311"/>
                <a:gd name="connsiteY25" fmla="*/ 373039 h 782471"/>
                <a:gd name="connsiteX26" fmla="*/ 1633182 w 2984311"/>
                <a:gd name="connsiteY26" fmla="*/ 363940 h 782471"/>
                <a:gd name="connsiteX27" fmla="*/ 1601337 w 2984311"/>
                <a:gd name="connsiteY27" fmla="*/ 345743 h 782471"/>
                <a:gd name="connsiteX28" fmla="*/ 1587689 w 2984311"/>
                <a:gd name="connsiteY28" fmla="*/ 318448 h 782471"/>
                <a:gd name="connsiteX29" fmla="*/ 1574042 w 2984311"/>
                <a:gd name="connsiteY29" fmla="*/ 309349 h 782471"/>
                <a:gd name="connsiteX30" fmla="*/ 1542197 w 2984311"/>
                <a:gd name="connsiteY30" fmla="*/ 286603 h 782471"/>
                <a:gd name="connsiteX31" fmla="*/ 1501254 w 2984311"/>
                <a:gd name="connsiteY31" fmla="*/ 277505 h 782471"/>
                <a:gd name="connsiteX32" fmla="*/ 1473958 w 2984311"/>
                <a:gd name="connsiteY32" fmla="*/ 268406 h 782471"/>
                <a:gd name="connsiteX33" fmla="*/ 1460310 w 2984311"/>
                <a:gd name="connsiteY33" fmla="*/ 259308 h 782471"/>
                <a:gd name="connsiteX34" fmla="*/ 1433015 w 2984311"/>
                <a:gd name="connsiteY34" fmla="*/ 250209 h 782471"/>
                <a:gd name="connsiteX35" fmla="*/ 1360227 w 2984311"/>
                <a:gd name="connsiteY35" fmla="*/ 236561 h 782471"/>
                <a:gd name="connsiteX36" fmla="*/ 1332931 w 2984311"/>
                <a:gd name="connsiteY36" fmla="*/ 227463 h 782471"/>
                <a:gd name="connsiteX37" fmla="*/ 1319283 w 2984311"/>
                <a:gd name="connsiteY37" fmla="*/ 222913 h 782471"/>
                <a:gd name="connsiteX38" fmla="*/ 1278340 w 2984311"/>
                <a:gd name="connsiteY38" fmla="*/ 227463 h 782471"/>
                <a:gd name="connsiteX39" fmla="*/ 1264692 w 2984311"/>
                <a:gd name="connsiteY39" fmla="*/ 236561 h 782471"/>
                <a:gd name="connsiteX40" fmla="*/ 1246495 w 2984311"/>
                <a:gd name="connsiteY40" fmla="*/ 241111 h 782471"/>
                <a:gd name="connsiteX41" fmla="*/ 1219200 w 2984311"/>
                <a:gd name="connsiteY41" fmla="*/ 254758 h 782471"/>
                <a:gd name="connsiteX42" fmla="*/ 1191904 w 2984311"/>
                <a:gd name="connsiteY42" fmla="*/ 268406 h 782471"/>
                <a:gd name="connsiteX43" fmla="*/ 1160060 w 2984311"/>
                <a:gd name="connsiteY43" fmla="*/ 272955 h 782471"/>
                <a:gd name="connsiteX44" fmla="*/ 1105468 w 2984311"/>
                <a:gd name="connsiteY44" fmla="*/ 291152 h 782471"/>
                <a:gd name="connsiteX45" fmla="*/ 1073624 w 2984311"/>
                <a:gd name="connsiteY45" fmla="*/ 304800 h 782471"/>
                <a:gd name="connsiteX46" fmla="*/ 896203 w 2984311"/>
                <a:gd name="connsiteY46" fmla="*/ 309349 h 782471"/>
                <a:gd name="connsiteX47" fmla="*/ 868907 w 2984311"/>
                <a:gd name="connsiteY47" fmla="*/ 322997 h 782471"/>
                <a:gd name="connsiteX48" fmla="*/ 855260 w 2984311"/>
                <a:gd name="connsiteY48" fmla="*/ 327546 h 782471"/>
                <a:gd name="connsiteX49" fmla="*/ 782471 w 2984311"/>
                <a:gd name="connsiteY49" fmla="*/ 322997 h 782471"/>
                <a:gd name="connsiteX50" fmla="*/ 768824 w 2984311"/>
                <a:gd name="connsiteY50" fmla="*/ 318448 h 782471"/>
                <a:gd name="connsiteX51" fmla="*/ 723331 w 2984311"/>
                <a:gd name="connsiteY51" fmla="*/ 304800 h 782471"/>
                <a:gd name="connsiteX52" fmla="*/ 709683 w 2984311"/>
                <a:gd name="connsiteY52" fmla="*/ 300251 h 782471"/>
                <a:gd name="connsiteX53" fmla="*/ 696036 w 2984311"/>
                <a:gd name="connsiteY53" fmla="*/ 295702 h 782471"/>
                <a:gd name="connsiteX54" fmla="*/ 641445 w 2984311"/>
                <a:gd name="connsiteY54" fmla="*/ 291152 h 782471"/>
                <a:gd name="connsiteX55" fmla="*/ 591403 w 2984311"/>
                <a:gd name="connsiteY55" fmla="*/ 282054 h 782471"/>
                <a:gd name="connsiteX56" fmla="*/ 573206 w 2984311"/>
                <a:gd name="connsiteY56" fmla="*/ 277505 h 782471"/>
                <a:gd name="connsiteX57" fmla="*/ 545910 w 2984311"/>
                <a:gd name="connsiteY57" fmla="*/ 268406 h 782471"/>
                <a:gd name="connsiteX58" fmla="*/ 514066 w 2984311"/>
                <a:gd name="connsiteY58" fmla="*/ 263857 h 782471"/>
                <a:gd name="connsiteX59" fmla="*/ 491319 w 2984311"/>
                <a:gd name="connsiteY59" fmla="*/ 259308 h 782471"/>
                <a:gd name="connsiteX60" fmla="*/ 459474 w 2984311"/>
                <a:gd name="connsiteY60" fmla="*/ 254758 h 782471"/>
                <a:gd name="connsiteX61" fmla="*/ 432179 w 2984311"/>
                <a:gd name="connsiteY61" fmla="*/ 236561 h 782471"/>
                <a:gd name="connsiteX62" fmla="*/ 423080 w 2984311"/>
                <a:gd name="connsiteY62" fmla="*/ 222913 h 782471"/>
                <a:gd name="connsiteX63" fmla="*/ 404883 w 2984311"/>
                <a:gd name="connsiteY63" fmla="*/ 213815 h 782471"/>
                <a:gd name="connsiteX64" fmla="*/ 391236 w 2984311"/>
                <a:gd name="connsiteY64" fmla="*/ 204716 h 782471"/>
                <a:gd name="connsiteX65" fmla="*/ 373039 w 2984311"/>
                <a:gd name="connsiteY65" fmla="*/ 177421 h 782471"/>
                <a:gd name="connsiteX66" fmla="*/ 350292 w 2984311"/>
                <a:gd name="connsiteY66" fmla="*/ 150125 h 782471"/>
                <a:gd name="connsiteX67" fmla="*/ 322997 w 2984311"/>
                <a:gd name="connsiteY67" fmla="*/ 131928 h 782471"/>
                <a:gd name="connsiteX68" fmla="*/ 295701 w 2984311"/>
                <a:gd name="connsiteY68" fmla="*/ 113731 h 782471"/>
                <a:gd name="connsiteX69" fmla="*/ 286603 w 2984311"/>
                <a:gd name="connsiteY69" fmla="*/ 100084 h 782471"/>
                <a:gd name="connsiteX70" fmla="*/ 272955 w 2984311"/>
                <a:gd name="connsiteY70" fmla="*/ 95534 h 782471"/>
                <a:gd name="connsiteX71" fmla="*/ 259307 w 2984311"/>
                <a:gd name="connsiteY71" fmla="*/ 86436 h 782471"/>
                <a:gd name="connsiteX72" fmla="*/ 232012 w 2984311"/>
                <a:gd name="connsiteY72" fmla="*/ 77337 h 782471"/>
                <a:gd name="connsiteX73" fmla="*/ 218364 w 2984311"/>
                <a:gd name="connsiteY73" fmla="*/ 72788 h 782471"/>
                <a:gd name="connsiteX74" fmla="*/ 204716 w 2984311"/>
                <a:gd name="connsiteY74" fmla="*/ 68239 h 782471"/>
                <a:gd name="connsiteX75" fmla="*/ 191068 w 2984311"/>
                <a:gd name="connsiteY75" fmla="*/ 59140 h 782471"/>
                <a:gd name="connsiteX76" fmla="*/ 163773 w 2984311"/>
                <a:gd name="connsiteY76" fmla="*/ 50042 h 782471"/>
                <a:gd name="connsiteX77" fmla="*/ 136477 w 2984311"/>
                <a:gd name="connsiteY77" fmla="*/ 40943 h 782471"/>
                <a:gd name="connsiteX78" fmla="*/ 122830 w 2984311"/>
                <a:gd name="connsiteY78" fmla="*/ 36394 h 782471"/>
                <a:gd name="connsiteX79" fmla="*/ 0 w 2984311"/>
                <a:gd name="connsiteY79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20369 w 2984311"/>
                <a:gd name="connsiteY5" fmla="*/ 491319 h 782471"/>
                <a:gd name="connsiteX6" fmla="*/ 2370161 w 2984311"/>
                <a:gd name="connsiteY6" fmla="*/ 459475 h 782471"/>
                <a:gd name="connsiteX7" fmla="*/ 2247331 w 2984311"/>
                <a:gd name="connsiteY7" fmla="*/ 413982 h 782471"/>
                <a:gd name="connsiteX8" fmla="*/ 2233683 w 2984311"/>
                <a:gd name="connsiteY8" fmla="*/ 409433 h 782471"/>
                <a:gd name="connsiteX9" fmla="*/ 2197290 w 2984311"/>
                <a:gd name="connsiteY9" fmla="*/ 423081 h 782471"/>
                <a:gd name="connsiteX10" fmla="*/ 2056263 w 2984311"/>
                <a:gd name="connsiteY10" fmla="*/ 477672 h 782471"/>
                <a:gd name="connsiteX11" fmla="*/ 1969827 w 2984311"/>
                <a:gd name="connsiteY11" fmla="*/ 468573 h 782471"/>
                <a:gd name="connsiteX12" fmla="*/ 1851546 w 2984311"/>
                <a:gd name="connsiteY12" fmla="*/ 486770 h 782471"/>
                <a:gd name="connsiteX13" fmla="*/ 1815152 w 2984311"/>
                <a:gd name="connsiteY13" fmla="*/ 509516 h 782471"/>
                <a:gd name="connsiteX14" fmla="*/ 1787857 w 2984311"/>
                <a:gd name="connsiteY14" fmla="*/ 518615 h 782471"/>
                <a:gd name="connsiteX15" fmla="*/ 1774209 w 2984311"/>
                <a:gd name="connsiteY15" fmla="*/ 523164 h 782471"/>
                <a:gd name="connsiteX16" fmla="*/ 1733266 w 2984311"/>
                <a:gd name="connsiteY16" fmla="*/ 509516 h 782471"/>
                <a:gd name="connsiteX17" fmla="*/ 1728716 w 2984311"/>
                <a:gd name="connsiteY17" fmla="*/ 495869 h 782471"/>
                <a:gd name="connsiteX18" fmla="*/ 1724167 w 2984311"/>
                <a:gd name="connsiteY18" fmla="*/ 468573 h 782471"/>
                <a:gd name="connsiteX19" fmla="*/ 1710519 w 2984311"/>
                <a:gd name="connsiteY19" fmla="*/ 464024 h 782471"/>
                <a:gd name="connsiteX20" fmla="*/ 1701421 w 2984311"/>
                <a:gd name="connsiteY20" fmla="*/ 450376 h 782471"/>
                <a:gd name="connsiteX21" fmla="*/ 1687773 w 2984311"/>
                <a:gd name="connsiteY21" fmla="*/ 441278 h 782471"/>
                <a:gd name="connsiteX22" fmla="*/ 1683224 w 2984311"/>
                <a:gd name="connsiteY22" fmla="*/ 427630 h 782471"/>
                <a:gd name="connsiteX23" fmla="*/ 1665027 w 2984311"/>
                <a:gd name="connsiteY23" fmla="*/ 400334 h 782471"/>
                <a:gd name="connsiteX24" fmla="*/ 1646830 w 2984311"/>
                <a:gd name="connsiteY24" fmla="*/ 373039 h 782471"/>
                <a:gd name="connsiteX25" fmla="*/ 1633182 w 2984311"/>
                <a:gd name="connsiteY25" fmla="*/ 363940 h 782471"/>
                <a:gd name="connsiteX26" fmla="*/ 1601337 w 2984311"/>
                <a:gd name="connsiteY26" fmla="*/ 345743 h 782471"/>
                <a:gd name="connsiteX27" fmla="*/ 1587689 w 2984311"/>
                <a:gd name="connsiteY27" fmla="*/ 318448 h 782471"/>
                <a:gd name="connsiteX28" fmla="*/ 1574042 w 2984311"/>
                <a:gd name="connsiteY28" fmla="*/ 309349 h 782471"/>
                <a:gd name="connsiteX29" fmla="*/ 1542197 w 2984311"/>
                <a:gd name="connsiteY29" fmla="*/ 286603 h 782471"/>
                <a:gd name="connsiteX30" fmla="*/ 1501254 w 2984311"/>
                <a:gd name="connsiteY30" fmla="*/ 277505 h 782471"/>
                <a:gd name="connsiteX31" fmla="*/ 1473958 w 2984311"/>
                <a:gd name="connsiteY31" fmla="*/ 268406 h 782471"/>
                <a:gd name="connsiteX32" fmla="*/ 1460310 w 2984311"/>
                <a:gd name="connsiteY32" fmla="*/ 259308 h 782471"/>
                <a:gd name="connsiteX33" fmla="*/ 1433015 w 2984311"/>
                <a:gd name="connsiteY33" fmla="*/ 250209 h 782471"/>
                <a:gd name="connsiteX34" fmla="*/ 1360227 w 2984311"/>
                <a:gd name="connsiteY34" fmla="*/ 236561 h 782471"/>
                <a:gd name="connsiteX35" fmla="*/ 1332931 w 2984311"/>
                <a:gd name="connsiteY35" fmla="*/ 227463 h 782471"/>
                <a:gd name="connsiteX36" fmla="*/ 1319283 w 2984311"/>
                <a:gd name="connsiteY36" fmla="*/ 222913 h 782471"/>
                <a:gd name="connsiteX37" fmla="*/ 1278340 w 2984311"/>
                <a:gd name="connsiteY37" fmla="*/ 227463 h 782471"/>
                <a:gd name="connsiteX38" fmla="*/ 1264692 w 2984311"/>
                <a:gd name="connsiteY38" fmla="*/ 236561 h 782471"/>
                <a:gd name="connsiteX39" fmla="*/ 1246495 w 2984311"/>
                <a:gd name="connsiteY39" fmla="*/ 241111 h 782471"/>
                <a:gd name="connsiteX40" fmla="*/ 1219200 w 2984311"/>
                <a:gd name="connsiteY40" fmla="*/ 254758 h 782471"/>
                <a:gd name="connsiteX41" fmla="*/ 1191904 w 2984311"/>
                <a:gd name="connsiteY41" fmla="*/ 268406 h 782471"/>
                <a:gd name="connsiteX42" fmla="*/ 1160060 w 2984311"/>
                <a:gd name="connsiteY42" fmla="*/ 272955 h 782471"/>
                <a:gd name="connsiteX43" fmla="*/ 1105468 w 2984311"/>
                <a:gd name="connsiteY43" fmla="*/ 291152 h 782471"/>
                <a:gd name="connsiteX44" fmla="*/ 1073624 w 2984311"/>
                <a:gd name="connsiteY44" fmla="*/ 304800 h 782471"/>
                <a:gd name="connsiteX45" fmla="*/ 896203 w 2984311"/>
                <a:gd name="connsiteY45" fmla="*/ 309349 h 782471"/>
                <a:gd name="connsiteX46" fmla="*/ 868907 w 2984311"/>
                <a:gd name="connsiteY46" fmla="*/ 322997 h 782471"/>
                <a:gd name="connsiteX47" fmla="*/ 855260 w 2984311"/>
                <a:gd name="connsiteY47" fmla="*/ 327546 h 782471"/>
                <a:gd name="connsiteX48" fmla="*/ 782471 w 2984311"/>
                <a:gd name="connsiteY48" fmla="*/ 322997 h 782471"/>
                <a:gd name="connsiteX49" fmla="*/ 768824 w 2984311"/>
                <a:gd name="connsiteY49" fmla="*/ 318448 h 782471"/>
                <a:gd name="connsiteX50" fmla="*/ 723331 w 2984311"/>
                <a:gd name="connsiteY50" fmla="*/ 304800 h 782471"/>
                <a:gd name="connsiteX51" fmla="*/ 709683 w 2984311"/>
                <a:gd name="connsiteY51" fmla="*/ 300251 h 782471"/>
                <a:gd name="connsiteX52" fmla="*/ 696036 w 2984311"/>
                <a:gd name="connsiteY52" fmla="*/ 295702 h 782471"/>
                <a:gd name="connsiteX53" fmla="*/ 641445 w 2984311"/>
                <a:gd name="connsiteY53" fmla="*/ 291152 h 782471"/>
                <a:gd name="connsiteX54" fmla="*/ 591403 w 2984311"/>
                <a:gd name="connsiteY54" fmla="*/ 282054 h 782471"/>
                <a:gd name="connsiteX55" fmla="*/ 573206 w 2984311"/>
                <a:gd name="connsiteY55" fmla="*/ 277505 h 782471"/>
                <a:gd name="connsiteX56" fmla="*/ 545910 w 2984311"/>
                <a:gd name="connsiteY56" fmla="*/ 268406 h 782471"/>
                <a:gd name="connsiteX57" fmla="*/ 514066 w 2984311"/>
                <a:gd name="connsiteY57" fmla="*/ 263857 h 782471"/>
                <a:gd name="connsiteX58" fmla="*/ 491319 w 2984311"/>
                <a:gd name="connsiteY58" fmla="*/ 259308 h 782471"/>
                <a:gd name="connsiteX59" fmla="*/ 459474 w 2984311"/>
                <a:gd name="connsiteY59" fmla="*/ 254758 h 782471"/>
                <a:gd name="connsiteX60" fmla="*/ 432179 w 2984311"/>
                <a:gd name="connsiteY60" fmla="*/ 236561 h 782471"/>
                <a:gd name="connsiteX61" fmla="*/ 423080 w 2984311"/>
                <a:gd name="connsiteY61" fmla="*/ 222913 h 782471"/>
                <a:gd name="connsiteX62" fmla="*/ 404883 w 2984311"/>
                <a:gd name="connsiteY62" fmla="*/ 213815 h 782471"/>
                <a:gd name="connsiteX63" fmla="*/ 391236 w 2984311"/>
                <a:gd name="connsiteY63" fmla="*/ 204716 h 782471"/>
                <a:gd name="connsiteX64" fmla="*/ 373039 w 2984311"/>
                <a:gd name="connsiteY64" fmla="*/ 177421 h 782471"/>
                <a:gd name="connsiteX65" fmla="*/ 350292 w 2984311"/>
                <a:gd name="connsiteY65" fmla="*/ 150125 h 782471"/>
                <a:gd name="connsiteX66" fmla="*/ 322997 w 2984311"/>
                <a:gd name="connsiteY66" fmla="*/ 131928 h 782471"/>
                <a:gd name="connsiteX67" fmla="*/ 295701 w 2984311"/>
                <a:gd name="connsiteY67" fmla="*/ 113731 h 782471"/>
                <a:gd name="connsiteX68" fmla="*/ 286603 w 2984311"/>
                <a:gd name="connsiteY68" fmla="*/ 100084 h 782471"/>
                <a:gd name="connsiteX69" fmla="*/ 272955 w 2984311"/>
                <a:gd name="connsiteY69" fmla="*/ 95534 h 782471"/>
                <a:gd name="connsiteX70" fmla="*/ 259307 w 2984311"/>
                <a:gd name="connsiteY70" fmla="*/ 86436 h 782471"/>
                <a:gd name="connsiteX71" fmla="*/ 232012 w 2984311"/>
                <a:gd name="connsiteY71" fmla="*/ 77337 h 782471"/>
                <a:gd name="connsiteX72" fmla="*/ 218364 w 2984311"/>
                <a:gd name="connsiteY72" fmla="*/ 72788 h 782471"/>
                <a:gd name="connsiteX73" fmla="*/ 204716 w 2984311"/>
                <a:gd name="connsiteY73" fmla="*/ 68239 h 782471"/>
                <a:gd name="connsiteX74" fmla="*/ 191068 w 2984311"/>
                <a:gd name="connsiteY74" fmla="*/ 59140 h 782471"/>
                <a:gd name="connsiteX75" fmla="*/ 163773 w 2984311"/>
                <a:gd name="connsiteY75" fmla="*/ 50042 h 782471"/>
                <a:gd name="connsiteX76" fmla="*/ 136477 w 2984311"/>
                <a:gd name="connsiteY76" fmla="*/ 40943 h 782471"/>
                <a:gd name="connsiteX77" fmla="*/ 122830 w 2984311"/>
                <a:gd name="connsiteY77" fmla="*/ 36394 h 782471"/>
                <a:gd name="connsiteX78" fmla="*/ 0 w 2984311"/>
                <a:gd name="connsiteY78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20369 w 2984311"/>
                <a:gd name="connsiteY5" fmla="*/ 491319 h 782471"/>
                <a:gd name="connsiteX6" fmla="*/ 2370161 w 2984311"/>
                <a:gd name="connsiteY6" fmla="*/ 459475 h 782471"/>
                <a:gd name="connsiteX7" fmla="*/ 2247331 w 2984311"/>
                <a:gd name="connsiteY7" fmla="*/ 413982 h 782471"/>
                <a:gd name="connsiteX8" fmla="*/ 2233683 w 2984311"/>
                <a:gd name="connsiteY8" fmla="*/ 409433 h 782471"/>
                <a:gd name="connsiteX9" fmla="*/ 2197290 w 2984311"/>
                <a:gd name="connsiteY9" fmla="*/ 423081 h 782471"/>
                <a:gd name="connsiteX10" fmla="*/ 2056263 w 2984311"/>
                <a:gd name="connsiteY10" fmla="*/ 477672 h 782471"/>
                <a:gd name="connsiteX11" fmla="*/ 1969827 w 2984311"/>
                <a:gd name="connsiteY11" fmla="*/ 468573 h 782471"/>
                <a:gd name="connsiteX12" fmla="*/ 1883391 w 2984311"/>
                <a:gd name="connsiteY12" fmla="*/ 477672 h 782471"/>
                <a:gd name="connsiteX13" fmla="*/ 1815152 w 2984311"/>
                <a:gd name="connsiteY13" fmla="*/ 509516 h 782471"/>
                <a:gd name="connsiteX14" fmla="*/ 1787857 w 2984311"/>
                <a:gd name="connsiteY14" fmla="*/ 518615 h 782471"/>
                <a:gd name="connsiteX15" fmla="*/ 1774209 w 2984311"/>
                <a:gd name="connsiteY15" fmla="*/ 523164 h 782471"/>
                <a:gd name="connsiteX16" fmla="*/ 1733266 w 2984311"/>
                <a:gd name="connsiteY16" fmla="*/ 509516 h 782471"/>
                <a:gd name="connsiteX17" fmla="*/ 1728716 w 2984311"/>
                <a:gd name="connsiteY17" fmla="*/ 495869 h 782471"/>
                <a:gd name="connsiteX18" fmla="*/ 1724167 w 2984311"/>
                <a:gd name="connsiteY18" fmla="*/ 468573 h 782471"/>
                <a:gd name="connsiteX19" fmla="*/ 1710519 w 2984311"/>
                <a:gd name="connsiteY19" fmla="*/ 464024 h 782471"/>
                <a:gd name="connsiteX20" fmla="*/ 1701421 w 2984311"/>
                <a:gd name="connsiteY20" fmla="*/ 450376 h 782471"/>
                <a:gd name="connsiteX21" fmla="*/ 1687773 w 2984311"/>
                <a:gd name="connsiteY21" fmla="*/ 441278 h 782471"/>
                <a:gd name="connsiteX22" fmla="*/ 1683224 w 2984311"/>
                <a:gd name="connsiteY22" fmla="*/ 427630 h 782471"/>
                <a:gd name="connsiteX23" fmla="*/ 1665027 w 2984311"/>
                <a:gd name="connsiteY23" fmla="*/ 400334 h 782471"/>
                <a:gd name="connsiteX24" fmla="*/ 1646830 w 2984311"/>
                <a:gd name="connsiteY24" fmla="*/ 373039 h 782471"/>
                <a:gd name="connsiteX25" fmla="*/ 1633182 w 2984311"/>
                <a:gd name="connsiteY25" fmla="*/ 363940 h 782471"/>
                <a:gd name="connsiteX26" fmla="*/ 1601337 w 2984311"/>
                <a:gd name="connsiteY26" fmla="*/ 345743 h 782471"/>
                <a:gd name="connsiteX27" fmla="*/ 1587689 w 2984311"/>
                <a:gd name="connsiteY27" fmla="*/ 318448 h 782471"/>
                <a:gd name="connsiteX28" fmla="*/ 1574042 w 2984311"/>
                <a:gd name="connsiteY28" fmla="*/ 309349 h 782471"/>
                <a:gd name="connsiteX29" fmla="*/ 1542197 w 2984311"/>
                <a:gd name="connsiteY29" fmla="*/ 286603 h 782471"/>
                <a:gd name="connsiteX30" fmla="*/ 1501254 w 2984311"/>
                <a:gd name="connsiteY30" fmla="*/ 277505 h 782471"/>
                <a:gd name="connsiteX31" fmla="*/ 1473958 w 2984311"/>
                <a:gd name="connsiteY31" fmla="*/ 268406 h 782471"/>
                <a:gd name="connsiteX32" fmla="*/ 1460310 w 2984311"/>
                <a:gd name="connsiteY32" fmla="*/ 259308 h 782471"/>
                <a:gd name="connsiteX33" fmla="*/ 1433015 w 2984311"/>
                <a:gd name="connsiteY33" fmla="*/ 250209 h 782471"/>
                <a:gd name="connsiteX34" fmla="*/ 1360227 w 2984311"/>
                <a:gd name="connsiteY34" fmla="*/ 236561 h 782471"/>
                <a:gd name="connsiteX35" fmla="*/ 1332931 w 2984311"/>
                <a:gd name="connsiteY35" fmla="*/ 227463 h 782471"/>
                <a:gd name="connsiteX36" fmla="*/ 1319283 w 2984311"/>
                <a:gd name="connsiteY36" fmla="*/ 222913 h 782471"/>
                <a:gd name="connsiteX37" fmla="*/ 1278340 w 2984311"/>
                <a:gd name="connsiteY37" fmla="*/ 227463 h 782471"/>
                <a:gd name="connsiteX38" fmla="*/ 1264692 w 2984311"/>
                <a:gd name="connsiteY38" fmla="*/ 236561 h 782471"/>
                <a:gd name="connsiteX39" fmla="*/ 1246495 w 2984311"/>
                <a:gd name="connsiteY39" fmla="*/ 241111 h 782471"/>
                <a:gd name="connsiteX40" fmla="*/ 1219200 w 2984311"/>
                <a:gd name="connsiteY40" fmla="*/ 254758 h 782471"/>
                <a:gd name="connsiteX41" fmla="*/ 1191904 w 2984311"/>
                <a:gd name="connsiteY41" fmla="*/ 268406 h 782471"/>
                <a:gd name="connsiteX42" fmla="*/ 1160060 w 2984311"/>
                <a:gd name="connsiteY42" fmla="*/ 272955 h 782471"/>
                <a:gd name="connsiteX43" fmla="*/ 1105468 w 2984311"/>
                <a:gd name="connsiteY43" fmla="*/ 291152 h 782471"/>
                <a:gd name="connsiteX44" fmla="*/ 1073624 w 2984311"/>
                <a:gd name="connsiteY44" fmla="*/ 304800 h 782471"/>
                <a:gd name="connsiteX45" fmla="*/ 896203 w 2984311"/>
                <a:gd name="connsiteY45" fmla="*/ 309349 h 782471"/>
                <a:gd name="connsiteX46" fmla="*/ 868907 w 2984311"/>
                <a:gd name="connsiteY46" fmla="*/ 322997 h 782471"/>
                <a:gd name="connsiteX47" fmla="*/ 855260 w 2984311"/>
                <a:gd name="connsiteY47" fmla="*/ 327546 h 782471"/>
                <a:gd name="connsiteX48" fmla="*/ 782471 w 2984311"/>
                <a:gd name="connsiteY48" fmla="*/ 322997 h 782471"/>
                <a:gd name="connsiteX49" fmla="*/ 768824 w 2984311"/>
                <a:gd name="connsiteY49" fmla="*/ 318448 h 782471"/>
                <a:gd name="connsiteX50" fmla="*/ 723331 w 2984311"/>
                <a:gd name="connsiteY50" fmla="*/ 304800 h 782471"/>
                <a:gd name="connsiteX51" fmla="*/ 709683 w 2984311"/>
                <a:gd name="connsiteY51" fmla="*/ 300251 h 782471"/>
                <a:gd name="connsiteX52" fmla="*/ 696036 w 2984311"/>
                <a:gd name="connsiteY52" fmla="*/ 295702 h 782471"/>
                <a:gd name="connsiteX53" fmla="*/ 641445 w 2984311"/>
                <a:gd name="connsiteY53" fmla="*/ 291152 h 782471"/>
                <a:gd name="connsiteX54" fmla="*/ 591403 w 2984311"/>
                <a:gd name="connsiteY54" fmla="*/ 282054 h 782471"/>
                <a:gd name="connsiteX55" fmla="*/ 573206 w 2984311"/>
                <a:gd name="connsiteY55" fmla="*/ 277505 h 782471"/>
                <a:gd name="connsiteX56" fmla="*/ 545910 w 2984311"/>
                <a:gd name="connsiteY56" fmla="*/ 268406 h 782471"/>
                <a:gd name="connsiteX57" fmla="*/ 514066 w 2984311"/>
                <a:gd name="connsiteY57" fmla="*/ 263857 h 782471"/>
                <a:gd name="connsiteX58" fmla="*/ 491319 w 2984311"/>
                <a:gd name="connsiteY58" fmla="*/ 259308 h 782471"/>
                <a:gd name="connsiteX59" fmla="*/ 459474 w 2984311"/>
                <a:gd name="connsiteY59" fmla="*/ 254758 h 782471"/>
                <a:gd name="connsiteX60" fmla="*/ 432179 w 2984311"/>
                <a:gd name="connsiteY60" fmla="*/ 236561 h 782471"/>
                <a:gd name="connsiteX61" fmla="*/ 423080 w 2984311"/>
                <a:gd name="connsiteY61" fmla="*/ 222913 h 782471"/>
                <a:gd name="connsiteX62" fmla="*/ 404883 w 2984311"/>
                <a:gd name="connsiteY62" fmla="*/ 213815 h 782471"/>
                <a:gd name="connsiteX63" fmla="*/ 391236 w 2984311"/>
                <a:gd name="connsiteY63" fmla="*/ 204716 h 782471"/>
                <a:gd name="connsiteX64" fmla="*/ 373039 w 2984311"/>
                <a:gd name="connsiteY64" fmla="*/ 177421 h 782471"/>
                <a:gd name="connsiteX65" fmla="*/ 350292 w 2984311"/>
                <a:gd name="connsiteY65" fmla="*/ 150125 h 782471"/>
                <a:gd name="connsiteX66" fmla="*/ 322997 w 2984311"/>
                <a:gd name="connsiteY66" fmla="*/ 131928 h 782471"/>
                <a:gd name="connsiteX67" fmla="*/ 295701 w 2984311"/>
                <a:gd name="connsiteY67" fmla="*/ 113731 h 782471"/>
                <a:gd name="connsiteX68" fmla="*/ 286603 w 2984311"/>
                <a:gd name="connsiteY68" fmla="*/ 100084 h 782471"/>
                <a:gd name="connsiteX69" fmla="*/ 272955 w 2984311"/>
                <a:gd name="connsiteY69" fmla="*/ 95534 h 782471"/>
                <a:gd name="connsiteX70" fmla="*/ 259307 w 2984311"/>
                <a:gd name="connsiteY70" fmla="*/ 86436 h 782471"/>
                <a:gd name="connsiteX71" fmla="*/ 232012 w 2984311"/>
                <a:gd name="connsiteY71" fmla="*/ 77337 h 782471"/>
                <a:gd name="connsiteX72" fmla="*/ 218364 w 2984311"/>
                <a:gd name="connsiteY72" fmla="*/ 72788 h 782471"/>
                <a:gd name="connsiteX73" fmla="*/ 204716 w 2984311"/>
                <a:gd name="connsiteY73" fmla="*/ 68239 h 782471"/>
                <a:gd name="connsiteX74" fmla="*/ 191068 w 2984311"/>
                <a:gd name="connsiteY74" fmla="*/ 59140 h 782471"/>
                <a:gd name="connsiteX75" fmla="*/ 163773 w 2984311"/>
                <a:gd name="connsiteY75" fmla="*/ 50042 h 782471"/>
                <a:gd name="connsiteX76" fmla="*/ 136477 w 2984311"/>
                <a:gd name="connsiteY76" fmla="*/ 40943 h 782471"/>
                <a:gd name="connsiteX77" fmla="*/ 122830 w 2984311"/>
                <a:gd name="connsiteY77" fmla="*/ 36394 h 782471"/>
                <a:gd name="connsiteX78" fmla="*/ 0 w 2984311"/>
                <a:gd name="connsiteY78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20369 w 2984311"/>
                <a:gd name="connsiteY5" fmla="*/ 491319 h 782471"/>
                <a:gd name="connsiteX6" fmla="*/ 2370161 w 2984311"/>
                <a:gd name="connsiteY6" fmla="*/ 459475 h 782471"/>
                <a:gd name="connsiteX7" fmla="*/ 2247331 w 2984311"/>
                <a:gd name="connsiteY7" fmla="*/ 413982 h 782471"/>
                <a:gd name="connsiteX8" fmla="*/ 2233683 w 2984311"/>
                <a:gd name="connsiteY8" fmla="*/ 409433 h 782471"/>
                <a:gd name="connsiteX9" fmla="*/ 2197290 w 2984311"/>
                <a:gd name="connsiteY9" fmla="*/ 423081 h 782471"/>
                <a:gd name="connsiteX10" fmla="*/ 2056263 w 2984311"/>
                <a:gd name="connsiteY10" fmla="*/ 477672 h 782471"/>
                <a:gd name="connsiteX11" fmla="*/ 1969827 w 2984311"/>
                <a:gd name="connsiteY11" fmla="*/ 468573 h 782471"/>
                <a:gd name="connsiteX12" fmla="*/ 1883391 w 2984311"/>
                <a:gd name="connsiteY12" fmla="*/ 477672 h 782471"/>
                <a:gd name="connsiteX13" fmla="*/ 1815152 w 2984311"/>
                <a:gd name="connsiteY13" fmla="*/ 509516 h 782471"/>
                <a:gd name="connsiteX14" fmla="*/ 1774209 w 2984311"/>
                <a:gd name="connsiteY14" fmla="*/ 523164 h 782471"/>
                <a:gd name="connsiteX15" fmla="*/ 1733266 w 2984311"/>
                <a:gd name="connsiteY15" fmla="*/ 509516 h 782471"/>
                <a:gd name="connsiteX16" fmla="*/ 1728716 w 2984311"/>
                <a:gd name="connsiteY16" fmla="*/ 495869 h 782471"/>
                <a:gd name="connsiteX17" fmla="*/ 1724167 w 2984311"/>
                <a:gd name="connsiteY17" fmla="*/ 468573 h 782471"/>
                <a:gd name="connsiteX18" fmla="*/ 1710519 w 2984311"/>
                <a:gd name="connsiteY18" fmla="*/ 464024 h 782471"/>
                <a:gd name="connsiteX19" fmla="*/ 1701421 w 2984311"/>
                <a:gd name="connsiteY19" fmla="*/ 450376 h 782471"/>
                <a:gd name="connsiteX20" fmla="*/ 1687773 w 2984311"/>
                <a:gd name="connsiteY20" fmla="*/ 441278 h 782471"/>
                <a:gd name="connsiteX21" fmla="*/ 1683224 w 2984311"/>
                <a:gd name="connsiteY21" fmla="*/ 427630 h 782471"/>
                <a:gd name="connsiteX22" fmla="*/ 1665027 w 2984311"/>
                <a:gd name="connsiteY22" fmla="*/ 400334 h 782471"/>
                <a:gd name="connsiteX23" fmla="*/ 1646830 w 2984311"/>
                <a:gd name="connsiteY23" fmla="*/ 373039 h 782471"/>
                <a:gd name="connsiteX24" fmla="*/ 1633182 w 2984311"/>
                <a:gd name="connsiteY24" fmla="*/ 363940 h 782471"/>
                <a:gd name="connsiteX25" fmla="*/ 1601337 w 2984311"/>
                <a:gd name="connsiteY25" fmla="*/ 345743 h 782471"/>
                <a:gd name="connsiteX26" fmla="*/ 1587689 w 2984311"/>
                <a:gd name="connsiteY26" fmla="*/ 318448 h 782471"/>
                <a:gd name="connsiteX27" fmla="*/ 1574042 w 2984311"/>
                <a:gd name="connsiteY27" fmla="*/ 309349 h 782471"/>
                <a:gd name="connsiteX28" fmla="*/ 1542197 w 2984311"/>
                <a:gd name="connsiteY28" fmla="*/ 286603 h 782471"/>
                <a:gd name="connsiteX29" fmla="*/ 1501254 w 2984311"/>
                <a:gd name="connsiteY29" fmla="*/ 277505 h 782471"/>
                <a:gd name="connsiteX30" fmla="*/ 1473958 w 2984311"/>
                <a:gd name="connsiteY30" fmla="*/ 268406 h 782471"/>
                <a:gd name="connsiteX31" fmla="*/ 1460310 w 2984311"/>
                <a:gd name="connsiteY31" fmla="*/ 259308 h 782471"/>
                <a:gd name="connsiteX32" fmla="*/ 1433015 w 2984311"/>
                <a:gd name="connsiteY32" fmla="*/ 250209 h 782471"/>
                <a:gd name="connsiteX33" fmla="*/ 1360227 w 2984311"/>
                <a:gd name="connsiteY33" fmla="*/ 236561 h 782471"/>
                <a:gd name="connsiteX34" fmla="*/ 1332931 w 2984311"/>
                <a:gd name="connsiteY34" fmla="*/ 227463 h 782471"/>
                <a:gd name="connsiteX35" fmla="*/ 1319283 w 2984311"/>
                <a:gd name="connsiteY35" fmla="*/ 222913 h 782471"/>
                <a:gd name="connsiteX36" fmla="*/ 1278340 w 2984311"/>
                <a:gd name="connsiteY36" fmla="*/ 227463 h 782471"/>
                <a:gd name="connsiteX37" fmla="*/ 1264692 w 2984311"/>
                <a:gd name="connsiteY37" fmla="*/ 236561 h 782471"/>
                <a:gd name="connsiteX38" fmla="*/ 1246495 w 2984311"/>
                <a:gd name="connsiteY38" fmla="*/ 241111 h 782471"/>
                <a:gd name="connsiteX39" fmla="*/ 1219200 w 2984311"/>
                <a:gd name="connsiteY39" fmla="*/ 254758 h 782471"/>
                <a:gd name="connsiteX40" fmla="*/ 1191904 w 2984311"/>
                <a:gd name="connsiteY40" fmla="*/ 268406 h 782471"/>
                <a:gd name="connsiteX41" fmla="*/ 1160060 w 2984311"/>
                <a:gd name="connsiteY41" fmla="*/ 272955 h 782471"/>
                <a:gd name="connsiteX42" fmla="*/ 1105468 w 2984311"/>
                <a:gd name="connsiteY42" fmla="*/ 291152 h 782471"/>
                <a:gd name="connsiteX43" fmla="*/ 1073624 w 2984311"/>
                <a:gd name="connsiteY43" fmla="*/ 304800 h 782471"/>
                <a:gd name="connsiteX44" fmla="*/ 896203 w 2984311"/>
                <a:gd name="connsiteY44" fmla="*/ 309349 h 782471"/>
                <a:gd name="connsiteX45" fmla="*/ 868907 w 2984311"/>
                <a:gd name="connsiteY45" fmla="*/ 322997 h 782471"/>
                <a:gd name="connsiteX46" fmla="*/ 855260 w 2984311"/>
                <a:gd name="connsiteY46" fmla="*/ 327546 h 782471"/>
                <a:gd name="connsiteX47" fmla="*/ 782471 w 2984311"/>
                <a:gd name="connsiteY47" fmla="*/ 322997 h 782471"/>
                <a:gd name="connsiteX48" fmla="*/ 768824 w 2984311"/>
                <a:gd name="connsiteY48" fmla="*/ 318448 h 782471"/>
                <a:gd name="connsiteX49" fmla="*/ 723331 w 2984311"/>
                <a:gd name="connsiteY49" fmla="*/ 304800 h 782471"/>
                <a:gd name="connsiteX50" fmla="*/ 709683 w 2984311"/>
                <a:gd name="connsiteY50" fmla="*/ 300251 h 782471"/>
                <a:gd name="connsiteX51" fmla="*/ 696036 w 2984311"/>
                <a:gd name="connsiteY51" fmla="*/ 295702 h 782471"/>
                <a:gd name="connsiteX52" fmla="*/ 641445 w 2984311"/>
                <a:gd name="connsiteY52" fmla="*/ 291152 h 782471"/>
                <a:gd name="connsiteX53" fmla="*/ 591403 w 2984311"/>
                <a:gd name="connsiteY53" fmla="*/ 282054 h 782471"/>
                <a:gd name="connsiteX54" fmla="*/ 573206 w 2984311"/>
                <a:gd name="connsiteY54" fmla="*/ 277505 h 782471"/>
                <a:gd name="connsiteX55" fmla="*/ 545910 w 2984311"/>
                <a:gd name="connsiteY55" fmla="*/ 268406 h 782471"/>
                <a:gd name="connsiteX56" fmla="*/ 514066 w 2984311"/>
                <a:gd name="connsiteY56" fmla="*/ 263857 h 782471"/>
                <a:gd name="connsiteX57" fmla="*/ 491319 w 2984311"/>
                <a:gd name="connsiteY57" fmla="*/ 259308 h 782471"/>
                <a:gd name="connsiteX58" fmla="*/ 459474 w 2984311"/>
                <a:gd name="connsiteY58" fmla="*/ 254758 h 782471"/>
                <a:gd name="connsiteX59" fmla="*/ 432179 w 2984311"/>
                <a:gd name="connsiteY59" fmla="*/ 236561 h 782471"/>
                <a:gd name="connsiteX60" fmla="*/ 423080 w 2984311"/>
                <a:gd name="connsiteY60" fmla="*/ 222913 h 782471"/>
                <a:gd name="connsiteX61" fmla="*/ 404883 w 2984311"/>
                <a:gd name="connsiteY61" fmla="*/ 213815 h 782471"/>
                <a:gd name="connsiteX62" fmla="*/ 391236 w 2984311"/>
                <a:gd name="connsiteY62" fmla="*/ 204716 h 782471"/>
                <a:gd name="connsiteX63" fmla="*/ 373039 w 2984311"/>
                <a:gd name="connsiteY63" fmla="*/ 177421 h 782471"/>
                <a:gd name="connsiteX64" fmla="*/ 350292 w 2984311"/>
                <a:gd name="connsiteY64" fmla="*/ 150125 h 782471"/>
                <a:gd name="connsiteX65" fmla="*/ 322997 w 2984311"/>
                <a:gd name="connsiteY65" fmla="*/ 131928 h 782471"/>
                <a:gd name="connsiteX66" fmla="*/ 295701 w 2984311"/>
                <a:gd name="connsiteY66" fmla="*/ 113731 h 782471"/>
                <a:gd name="connsiteX67" fmla="*/ 286603 w 2984311"/>
                <a:gd name="connsiteY67" fmla="*/ 100084 h 782471"/>
                <a:gd name="connsiteX68" fmla="*/ 272955 w 2984311"/>
                <a:gd name="connsiteY68" fmla="*/ 95534 h 782471"/>
                <a:gd name="connsiteX69" fmla="*/ 259307 w 2984311"/>
                <a:gd name="connsiteY69" fmla="*/ 86436 h 782471"/>
                <a:gd name="connsiteX70" fmla="*/ 232012 w 2984311"/>
                <a:gd name="connsiteY70" fmla="*/ 77337 h 782471"/>
                <a:gd name="connsiteX71" fmla="*/ 218364 w 2984311"/>
                <a:gd name="connsiteY71" fmla="*/ 72788 h 782471"/>
                <a:gd name="connsiteX72" fmla="*/ 204716 w 2984311"/>
                <a:gd name="connsiteY72" fmla="*/ 68239 h 782471"/>
                <a:gd name="connsiteX73" fmla="*/ 191068 w 2984311"/>
                <a:gd name="connsiteY73" fmla="*/ 59140 h 782471"/>
                <a:gd name="connsiteX74" fmla="*/ 163773 w 2984311"/>
                <a:gd name="connsiteY74" fmla="*/ 50042 h 782471"/>
                <a:gd name="connsiteX75" fmla="*/ 136477 w 2984311"/>
                <a:gd name="connsiteY75" fmla="*/ 40943 h 782471"/>
                <a:gd name="connsiteX76" fmla="*/ 122830 w 2984311"/>
                <a:gd name="connsiteY76" fmla="*/ 36394 h 782471"/>
                <a:gd name="connsiteX77" fmla="*/ 0 w 2984311"/>
                <a:gd name="connsiteY77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20369 w 2984311"/>
                <a:gd name="connsiteY5" fmla="*/ 491319 h 782471"/>
                <a:gd name="connsiteX6" fmla="*/ 2370161 w 2984311"/>
                <a:gd name="connsiteY6" fmla="*/ 459475 h 782471"/>
                <a:gd name="connsiteX7" fmla="*/ 2247331 w 2984311"/>
                <a:gd name="connsiteY7" fmla="*/ 413982 h 782471"/>
                <a:gd name="connsiteX8" fmla="*/ 2233683 w 2984311"/>
                <a:gd name="connsiteY8" fmla="*/ 409433 h 782471"/>
                <a:gd name="connsiteX9" fmla="*/ 2197290 w 2984311"/>
                <a:gd name="connsiteY9" fmla="*/ 423081 h 782471"/>
                <a:gd name="connsiteX10" fmla="*/ 2056263 w 2984311"/>
                <a:gd name="connsiteY10" fmla="*/ 477672 h 782471"/>
                <a:gd name="connsiteX11" fmla="*/ 1969827 w 2984311"/>
                <a:gd name="connsiteY11" fmla="*/ 468573 h 782471"/>
                <a:gd name="connsiteX12" fmla="*/ 1883391 w 2984311"/>
                <a:gd name="connsiteY12" fmla="*/ 477672 h 782471"/>
                <a:gd name="connsiteX13" fmla="*/ 1815152 w 2984311"/>
                <a:gd name="connsiteY13" fmla="*/ 509516 h 782471"/>
                <a:gd name="connsiteX14" fmla="*/ 1774209 w 2984311"/>
                <a:gd name="connsiteY14" fmla="*/ 523164 h 782471"/>
                <a:gd name="connsiteX15" fmla="*/ 1733266 w 2984311"/>
                <a:gd name="connsiteY15" fmla="*/ 509516 h 782471"/>
                <a:gd name="connsiteX16" fmla="*/ 1728716 w 2984311"/>
                <a:gd name="connsiteY16" fmla="*/ 495869 h 782471"/>
                <a:gd name="connsiteX17" fmla="*/ 1724167 w 2984311"/>
                <a:gd name="connsiteY17" fmla="*/ 468573 h 782471"/>
                <a:gd name="connsiteX18" fmla="*/ 1710519 w 2984311"/>
                <a:gd name="connsiteY18" fmla="*/ 464024 h 782471"/>
                <a:gd name="connsiteX19" fmla="*/ 1701421 w 2984311"/>
                <a:gd name="connsiteY19" fmla="*/ 450376 h 782471"/>
                <a:gd name="connsiteX20" fmla="*/ 1687773 w 2984311"/>
                <a:gd name="connsiteY20" fmla="*/ 441278 h 782471"/>
                <a:gd name="connsiteX21" fmla="*/ 1683224 w 2984311"/>
                <a:gd name="connsiteY21" fmla="*/ 427630 h 782471"/>
                <a:gd name="connsiteX22" fmla="*/ 1665027 w 2984311"/>
                <a:gd name="connsiteY22" fmla="*/ 400334 h 782471"/>
                <a:gd name="connsiteX23" fmla="*/ 1646830 w 2984311"/>
                <a:gd name="connsiteY23" fmla="*/ 373039 h 782471"/>
                <a:gd name="connsiteX24" fmla="*/ 1633182 w 2984311"/>
                <a:gd name="connsiteY24" fmla="*/ 363940 h 782471"/>
                <a:gd name="connsiteX25" fmla="*/ 1601337 w 2984311"/>
                <a:gd name="connsiteY25" fmla="*/ 345743 h 782471"/>
                <a:gd name="connsiteX26" fmla="*/ 1587689 w 2984311"/>
                <a:gd name="connsiteY26" fmla="*/ 318448 h 782471"/>
                <a:gd name="connsiteX27" fmla="*/ 1574042 w 2984311"/>
                <a:gd name="connsiteY27" fmla="*/ 309349 h 782471"/>
                <a:gd name="connsiteX28" fmla="*/ 1542197 w 2984311"/>
                <a:gd name="connsiteY28" fmla="*/ 286603 h 782471"/>
                <a:gd name="connsiteX29" fmla="*/ 1501254 w 2984311"/>
                <a:gd name="connsiteY29" fmla="*/ 277505 h 782471"/>
                <a:gd name="connsiteX30" fmla="*/ 1473958 w 2984311"/>
                <a:gd name="connsiteY30" fmla="*/ 268406 h 782471"/>
                <a:gd name="connsiteX31" fmla="*/ 1460310 w 2984311"/>
                <a:gd name="connsiteY31" fmla="*/ 259308 h 782471"/>
                <a:gd name="connsiteX32" fmla="*/ 1433015 w 2984311"/>
                <a:gd name="connsiteY32" fmla="*/ 250209 h 782471"/>
                <a:gd name="connsiteX33" fmla="*/ 1360227 w 2984311"/>
                <a:gd name="connsiteY33" fmla="*/ 236561 h 782471"/>
                <a:gd name="connsiteX34" fmla="*/ 1332931 w 2984311"/>
                <a:gd name="connsiteY34" fmla="*/ 227463 h 782471"/>
                <a:gd name="connsiteX35" fmla="*/ 1319283 w 2984311"/>
                <a:gd name="connsiteY35" fmla="*/ 222913 h 782471"/>
                <a:gd name="connsiteX36" fmla="*/ 1278340 w 2984311"/>
                <a:gd name="connsiteY36" fmla="*/ 227463 h 782471"/>
                <a:gd name="connsiteX37" fmla="*/ 1264692 w 2984311"/>
                <a:gd name="connsiteY37" fmla="*/ 236561 h 782471"/>
                <a:gd name="connsiteX38" fmla="*/ 1246495 w 2984311"/>
                <a:gd name="connsiteY38" fmla="*/ 241111 h 782471"/>
                <a:gd name="connsiteX39" fmla="*/ 1219200 w 2984311"/>
                <a:gd name="connsiteY39" fmla="*/ 254758 h 782471"/>
                <a:gd name="connsiteX40" fmla="*/ 1191904 w 2984311"/>
                <a:gd name="connsiteY40" fmla="*/ 268406 h 782471"/>
                <a:gd name="connsiteX41" fmla="*/ 1160060 w 2984311"/>
                <a:gd name="connsiteY41" fmla="*/ 272955 h 782471"/>
                <a:gd name="connsiteX42" fmla="*/ 1105468 w 2984311"/>
                <a:gd name="connsiteY42" fmla="*/ 291152 h 782471"/>
                <a:gd name="connsiteX43" fmla="*/ 1073624 w 2984311"/>
                <a:gd name="connsiteY43" fmla="*/ 304800 h 782471"/>
                <a:gd name="connsiteX44" fmla="*/ 896203 w 2984311"/>
                <a:gd name="connsiteY44" fmla="*/ 309349 h 782471"/>
                <a:gd name="connsiteX45" fmla="*/ 868907 w 2984311"/>
                <a:gd name="connsiteY45" fmla="*/ 322997 h 782471"/>
                <a:gd name="connsiteX46" fmla="*/ 855260 w 2984311"/>
                <a:gd name="connsiteY46" fmla="*/ 327546 h 782471"/>
                <a:gd name="connsiteX47" fmla="*/ 782471 w 2984311"/>
                <a:gd name="connsiteY47" fmla="*/ 322997 h 782471"/>
                <a:gd name="connsiteX48" fmla="*/ 768824 w 2984311"/>
                <a:gd name="connsiteY48" fmla="*/ 318448 h 782471"/>
                <a:gd name="connsiteX49" fmla="*/ 723331 w 2984311"/>
                <a:gd name="connsiteY49" fmla="*/ 304800 h 782471"/>
                <a:gd name="connsiteX50" fmla="*/ 709683 w 2984311"/>
                <a:gd name="connsiteY50" fmla="*/ 300251 h 782471"/>
                <a:gd name="connsiteX51" fmla="*/ 696036 w 2984311"/>
                <a:gd name="connsiteY51" fmla="*/ 295702 h 782471"/>
                <a:gd name="connsiteX52" fmla="*/ 641445 w 2984311"/>
                <a:gd name="connsiteY52" fmla="*/ 291152 h 782471"/>
                <a:gd name="connsiteX53" fmla="*/ 591403 w 2984311"/>
                <a:gd name="connsiteY53" fmla="*/ 282054 h 782471"/>
                <a:gd name="connsiteX54" fmla="*/ 573206 w 2984311"/>
                <a:gd name="connsiteY54" fmla="*/ 277505 h 782471"/>
                <a:gd name="connsiteX55" fmla="*/ 545910 w 2984311"/>
                <a:gd name="connsiteY55" fmla="*/ 268406 h 782471"/>
                <a:gd name="connsiteX56" fmla="*/ 514066 w 2984311"/>
                <a:gd name="connsiteY56" fmla="*/ 263857 h 782471"/>
                <a:gd name="connsiteX57" fmla="*/ 491319 w 2984311"/>
                <a:gd name="connsiteY57" fmla="*/ 259308 h 782471"/>
                <a:gd name="connsiteX58" fmla="*/ 459474 w 2984311"/>
                <a:gd name="connsiteY58" fmla="*/ 254758 h 782471"/>
                <a:gd name="connsiteX59" fmla="*/ 432179 w 2984311"/>
                <a:gd name="connsiteY59" fmla="*/ 236561 h 782471"/>
                <a:gd name="connsiteX60" fmla="*/ 423080 w 2984311"/>
                <a:gd name="connsiteY60" fmla="*/ 222913 h 782471"/>
                <a:gd name="connsiteX61" fmla="*/ 404883 w 2984311"/>
                <a:gd name="connsiteY61" fmla="*/ 213815 h 782471"/>
                <a:gd name="connsiteX62" fmla="*/ 391236 w 2984311"/>
                <a:gd name="connsiteY62" fmla="*/ 204716 h 782471"/>
                <a:gd name="connsiteX63" fmla="*/ 373039 w 2984311"/>
                <a:gd name="connsiteY63" fmla="*/ 177421 h 782471"/>
                <a:gd name="connsiteX64" fmla="*/ 350292 w 2984311"/>
                <a:gd name="connsiteY64" fmla="*/ 150125 h 782471"/>
                <a:gd name="connsiteX65" fmla="*/ 322997 w 2984311"/>
                <a:gd name="connsiteY65" fmla="*/ 131928 h 782471"/>
                <a:gd name="connsiteX66" fmla="*/ 295701 w 2984311"/>
                <a:gd name="connsiteY66" fmla="*/ 113731 h 782471"/>
                <a:gd name="connsiteX67" fmla="*/ 286603 w 2984311"/>
                <a:gd name="connsiteY67" fmla="*/ 100084 h 782471"/>
                <a:gd name="connsiteX68" fmla="*/ 272955 w 2984311"/>
                <a:gd name="connsiteY68" fmla="*/ 95534 h 782471"/>
                <a:gd name="connsiteX69" fmla="*/ 259307 w 2984311"/>
                <a:gd name="connsiteY69" fmla="*/ 86436 h 782471"/>
                <a:gd name="connsiteX70" fmla="*/ 232012 w 2984311"/>
                <a:gd name="connsiteY70" fmla="*/ 77337 h 782471"/>
                <a:gd name="connsiteX71" fmla="*/ 218364 w 2984311"/>
                <a:gd name="connsiteY71" fmla="*/ 72788 h 782471"/>
                <a:gd name="connsiteX72" fmla="*/ 204716 w 2984311"/>
                <a:gd name="connsiteY72" fmla="*/ 68239 h 782471"/>
                <a:gd name="connsiteX73" fmla="*/ 191068 w 2984311"/>
                <a:gd name="connsiteY73" fmla="*/ 59140 h 782471"/>
                <a:gd name="connsiteX74" fmla="*/ 163773 w 2984311"/>
                <a:gd name="connsiteY74" fmla="*/ 50042 h 782471"/>
                <a:gd name="connsiteX75" fmla="*/ 136477 w 2984311"/>
                <a:gd name="connsiteY75" fmla="*/ 40943 h 782471"/>
                <a:gd name="connsiteX76" fmla="*/ 122830 w 2984311"/>
                <a:gd name="connsiteY76" fmla="*/ 36394 h 782471"/>
                <a:gd name="connsiteX77" fmla="*/ 0 w 2984311"/>
                <a:gd name="connsiteY77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20369 w 2984311"/>
                <a:gd name="connsiteY5" fmla="*/ 491319 h 782471"/>
                <a:gd name="connsiteX6" fmla="*/ 2370161 w 2984311"/>
                <a:gd name="connsiteY6" fmla="*/ 459475 h 782471"/>
                <a:gd name="connsiteX7" fmla="*/ 2247331 w 2984311"/>
                <a:gd name="connsiteY7" fmla="*/ 413982 h 782471"/>
                <a:gd name="connsiteX8" fmla="*/ 2233683 w 2984311"/>
                <a:gd name="connsiteY8" fmla="*/ 409433 h 782471"/>
                <a:gd name="connsiteX9" fmla="*/ 2197290 w 2984311"/>
                <a:gd name="connsiteY9" fmla="*/ 423081 h 782471"/>
                <a:gd name="connsiteX10" fmla="*/ 2056263 w 2984311"/>
                <a:gd name="connsiteY10" fmla="*/ 477672 h 782471"/>
                <a:gd name="connsiteX11" fmla="*/ 1969827 w 2984311"/>
                <a:gd name="connsiteY11" fmla="*/ 468573 h 782471"/>
                <a:gd name="connsiteX12" fmla="*/ 1883391 w 2984311"/>
                <a:gd name="connsiteY12" fmla="*/ 477672 h 782471"/>
                <a:gd name="connsiteX13" fmla="*/ 1774209 w 2984311"/>
                <a:gd name="connsiteY13" fmla="*/ 523164 h 782471"/>
                <a:gd name="connsiteX14" fmla="*/ 1733266 w 2984311"/>
                <a:gd name="connsiteY14" fmla="*/ 509516 h 782471"/>
                <a:gd name="connsiteX15" fmla="*/ 1728716 w 2984311"/>
                <a:gd name="connsiteY15" fmla="*/ 495869 h 782471"/>
                <a:gd name="connsiteX16" fmla="*/ 1724167 w 2984311"/>
                <a:gd name="connsiteY16" fmla="*/ 468573 h 782471"/>
                <a:gd name="connsiteX17" fmla="*/ 1710519 w 2984311"/>
                <a:gd name="connsiteY17" fmla="*/ 464024 h 782471"/>
                <a:gd name="connsiteX18" fmla="*/ 1701421 w 2984311"/>
                <a:gd name="connsiteY18" fmla="*/ 450376 h 782471"/>
                <a:gd name="connsiteX19" fmla="*/ 1687773 w 2984311"/>
                <a:gd name="connsiteY19" fmla="*/ 441278 h 782471"/>
                <a:gd name="connsiteX20" fmla="*/ 1683224 w 2984311"/>
                <a:gd name="connsiteY20" fmla="*/ 427630 h 782471"/>
                <a:gd name="connsiteX21" fmla="*/ 1665027 w 2984311"/>
                <a:gd name="connsiteY21" fmla="*/ 400334 h 782471"/>
                <a:gd name="connsiteX22" fmla="*/ 1646830 w 2984311"/>
                <a:gd name="connsiteY22" fmla="*/ 373039 h 782471"/>
                <a:gd name="connsiteX23" fmla="*/ 1633182 w 2984311"/>
                <a:gd name="connsiteY23" fmla="*/ 363940 h 782471"/>
                <a:gd name="connsiteX24" fmla="*/ 1601337 w 2984311"/>
                <a:gd name="connsiteY24" fmla="*/ 345743 h 782471"/>
                <a:gd name="connsiteX25" fmla="*/ 1587689 w 2984311"/>
                <a:gd name="connsiteY25" fmla="*/ 318448 h 782471"/>
                <a:gd name="connsiteX26" fmla="*/ 1574042 w 2984311"/>
                <a:gd name="connsiteY26" fmla="*/ 309349 h 782471"/>
                <a:gd name="connsiteX27" fmla="*/ 1542197 w 2984311"/>
                <a:gd name="connsiteY27" fmla="*/ 286603 h 782471"/>
                <a:gd name="connsiteX28" fmla="*/ 1501254 w 2984311"/>
                <a:gd name="connsiteY28" fmla="*/ 277505 h 782471"/>
                <a:gd name="connsiteX29" fmla="*/ 1473958 w 2984311"/>
                <a:gd name="connsiteY29" fmla="*/ 268406 h 782471"/>
                <a:gd name="connsiteX30" fmla="*/ 1460310 w 2984311"/>
                <a:gd name="connsiteY30" fmla="*/ 259308 h 782471"/>
                <a:gd name="connsiteX31" fmla="*/ 1433015 w 2984311"/>
                <a:gd name="connsiteY31" fmla="*/ 250209 h 782471"/>
                <a:gd name="connsiteX32" fmla="*/ 1360227 w 2984311"/>
                <a:gd name="connsiteY32" fmla="*/ 236561 h 782471"/>
                <a:gd name="connsiteX33" fmla="*/ 1332931 w 2984311"/>
                <a:gd name="connsiteY33" fmla="*/ 227463 h 782471"/>
                <a:gd name="connsiteX34" fmla="*/ 1319283 w 2984311"/>
                <a:gd name="connsiteY34" fmla="*/ 222913 h 782471"/>
                <a:gd name="connsiteX35" fmla="*/ 1278340 w 2984311"/>
                <a:gd name="connsiteY35" fmla="*/ 227463 h 782471"/>
                <a:gd name="connsiteX36" fmla="*/ 1264692 w 2984311"/>
                <a:gd name="connsiteY36" fmla="*/ 236561 h 782471"/>
                <a:gd name="connsiteX37" fmla="*/ 1246495 w 2984311"/>
                <a:gd name="connsiteY37" fmla="*/ 241111 h 782471"/>
                <a:gd name="connsiteX38" fmla="*/ 1219200 w 2984311"/>
                <a:gd name="connsiteY38" fmla="*/ 254758 h 782471"/>
                <a:gd name="connsiteX39" fmla="*/ 1191904 w 2984311"/>
                <a:gd name="connsiteY39" fmla="*/ 268406 h 782471"/>
                <a:gd name="connsiteX40" fmla="*/ 1160060 w 2984311"/>
                <a:gd name="connsiteY40" fmla="*/ 272955 h 782471"/>
                <a:gd name="connsiteX41" fmla="*/ 1105468 w 2984311"/>
                <a:gd name="connsiteY41" fmla="*/ 291152 h 782471"/>
                <a:gd name="connsiteX42" fmla="*/ 1073624 w 2984311"/>
                <a:gd name="connsiteY42" fmla="*/ 304800 h 782471"/>
                <a:gd name="connsiteX43" fmla="*/ 896203 w 2984311"/>
                <a:gd name="connsiteY43" fmla="*/ 309349 h 782471"/>
                <a:gd name="connsiteX44" fmla="*/ 868907 w 2984311"/>
                <a:gd name="connsiteY44" fmla="*/ 322997 h 782471"/>
                <a:gd name="connsiteX45" fmla="*/ 855260 w 2984311"/>
                <a:gd name="connsiteY45" fmla="*/ 327546 h 782471"/>
                <a:gd name="connsiteX46" fmla="*/ 782471 w 2984311"/>
                <a:gd name="connsiteY46" fmla="*/ 322997 h 782471"/>
                <a:gd name="connsiteX47" fmla="*/ 768824 w 2984311"/>
                <a:gd name="connsiteY47" fmla="*/ 318448 h 782471"/>
                <a:gd name="connsiteX48" fmla="*/ 723331 w 2984311"/>
                <a:gd name="connsiteY48" fmla="*/ 304800 h 782471"/>
                <a:gd name="connsiteX49" fmla="*/ 709683 w 2984311"/>
                <a:gd name="connsiteY49" fmla="*/ 300251 h 782471"/>
                <a:gd name="connsiteX50" fmla="*/ 696036 w 2984311"/>
                <a:gd name="connsiteY50" fmla="*/ 295702 h 782471"/>
                <a:gd name="connsiteX51" fmla="*/ 641445 w 2984311"/>
                <a:gd name="connsiteY51" fmla="*/ 291152 h 782471"/>
                <a:gd name="connsiteX52" fmla="*/ 591403 w 2984311"/>
                <a:gd name="connsiteY52" fmla="*/ 282054 h 782471"/>
                <a:gd name="connsiteX53" fmla="*/ 573206 w 2984311"/>
                <a:gd name="connsiteY53" fmla="*/ 277505 h 782471"/>
                <a:gd name="connsiteX54" fmla="*/ 545910 w 2984311"/>
                <a:gd name="connsiteY54" fmla="*/ 268406 h 782471"/>
                <a:gd name="connsiteX55" fmla="*/ 514066 w 2984311"/>
                <a:gd name="connsiteY55" fmla="*/ 263857 h 782471"/>
                <a:gd name="connsiteX56" fmla="*/ 491319 w 2984311"/>
                <a:gd name="connsiteY56" fmla="*/ 259308 h 782471"/>
                <a:gd name="connsiteX57" fmla="*/ 459474 w 2984311"/>
                <a:gd name="connsiteY57" fmla="*/ 254758 h 782471"/>
                <a:gd name="connsiteX58" fmla="*/ 432179 w 2984311"/>
                <a:gd name="connsiteY58" fmla="*/ 236561 h 782471"/>
                <a:gd name="connsiteX59" fmla="*/ 423080 w 2984311"/>
                <a:gd name="connsiteY59" fmla="*/ 222913 h 782471"/>
                <a:gd name="connsiteX60" fmla="*/ 404883 w 2984311"/>
                <a:gd name="connsiteY60" fmla="*/ 213815 h 782471"/>
                <a:gd name="connsiteX61" fmla="*/ 391236 w 2984311"/>
                <a:gd name="connsiteY61" fmla="*/ 204716 h 782471"/>
                <a:gd name="connsiteX62" fmla="*/ 373039 w 2984311"/>
                <a:gd name="connsiteY62" fmla="*/ 177421 h 782471"/>
                <a:gd name="connsiteX63" fmla="*/ 350292 w 2984311"/>
                <a:gd name="connsiteY63" fmla="*/ 150125 h 782471"/>
                <a:gd name="connsiteX64" fmla="*/ 322997 w 2984311"/>
                <a:gd name="connsiteY64" fmla="*/ 131928 h 782471"/>
                <a:gd name="connsiteX65" fmla="*/ 295701 w 2984311"/>
                <a:gd name="connsiteY65" fmla="*/ 113731 h 782471"/>
                <a:gd name="connsiteX66" fmla="*/ 286603 w 2984311"/>
                <a:gd name="connsiteY66" fmla="*/ 100084 h 782471"/>
                <a:gd name="connsiteX67" fmla="*/ 272955 w 2984311"/>
                <a:gd name="connsiteY67" fmla="*/ 95534 h 782471"/>
                <a:gd name="connsiteX68" fmla="*/ 259307 w 2984311"/>
                <a:gd name="connsiteY68" fmla="*/ 86436 h 782471"/>
                <a:gd name="connsiteX69" fmla="*/ 232012 w 2984311"/>
                <a:gd name="connsiteY69" fmla="*/ 77337 h 782471"/>
                <a:gd name="connsiteX70" fmla="*/ 218364 w 2984311"/>
                <a:gd name="connsiteY70" fmla="*/ 72788 h 782471"/>
                <a:gd name="connsiteX71" fmla="*/ 204716 w 2984311"/>
                <a:gd name="connsiteY71" fmla="*/ 68239 h 782471"/>
                <a:gd name="connsiteX72" fmla="*/ 191068 w 2984311"/>
                <a:gd name="connsiteY72" fmla="*/ 59140 h 782471"/>
                <a:gd name="connsiteX73" fmla="*/ 163773 w 2984311"/>
                <a:gd name="connsiteY73" fmla="*/ 50042 h 782471"/>
                <a:gd name="connsiteX74" fmla="*/ 136477 w 2984311"/>
                <a:gd name="connsiteY74" fmla="*/ 40943 h 782471"/>
                <a:gd name="connsiteX75" fmla="*/ 122830 w 2984311"/>
                <a:gd name="connsiteY75" fmla="*/ 36394 h 782471"/>
                <a:gd name="connsiteX76" fmla="*/ 0 w 2984311"/>
                <a:gd name="connsiteY76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20369 w 2984311"/>
                <a:gd name="connsiteY5" fmla="*/ 491319 h 782471"/>
                <a:gd name="connsiteX6" fmla="*/ 2370161 w 2984311"/>
                <a:gd name="connsiteY6" fmla="*/ 459475 h 782471"/>
                <a:gd name="connsiteX7" fmla="*/ 2247331 w 2984311"/>
                <a:gd name="connsiteY7" fmla="*/ 413982 h 782471"/>
                <a:gd name="connsiteX8" fmla="*/ 2233683 w 2984311"/>
                <a:gd name="connsiteY8" fmla="*/ 409433 h 782471"/>
                <a:gd name="connsiteX9" fmla="*/ 2197290 w 2984311"/>
                <a:gd name="connsiteY9" fmla="*/ 423081 h 782471"/>
                <a:gd name="connsiteX10" fmla="*/ 2056263 w 2984311"/>
                <a:gd name="connsiteY10" fmla="*/ 477672 h 782471"/>
                <a:gd name="connsiteX11" fmla="*/ 1969827 w 2984311"/>
                <a:gd name="connsiteY11" fmla="*/ 468573 h 782471"/>
                <a:gd name="connsiteX12" fmla="*/ 1883391 w 2984311"/>
                <a:gd name="connsiteY12" fmla="*/ 477672 h 782471"/>
                <a:gd name="connsiteX13" fmla="*/ 1796955 w 2984311"/>
                <a:gd name="connsiteY13" fmla="*/ 527713 h 782471"/>
                <a:gd name="connsiteX14" fmla="*/ 1733266 w 2984311"/>
                <a:gd name="connsiteY14" fmla="*/ 509516 h 782471"/>
                <a:gd name="connsiteX15" fmla="*/ 1728716 w 2984311"/>
                <a:gd name="connsiteY15" fmla="*/ 495869 h 782471"/>
                <a:gd name="connsiteX16" fmla="*/ 1724167 w 2984311"/>
                <a:gd name="connsiteY16" fmla="*/ 468573 h 782471"/>
                <a:gd name="connsiteX17" fmla="*/ 1710519 w 2984311"/>
                <a:gd name="connsiteY17" fmla="*/ 464024 h 782471"/>
                <a:gd name="connsiteX18" fmla="*/ 1701421 w 2984311"/>
                <a:gd name="connsiteY18" fmla="*/ 450376 h 782471"/>
                <a:gd name="connsiteX19" fmla="*/ 1687773 w 2984311"/>
                <a:gd name="connsiteY19" fmla="*/ 441278 h 782471"/>
                <a:gd name="connsiteX20" fmla="*/ 1683224 w 2984311"/>
                <a:gd name="connsiteY20" fmla="*/ 427630 h 782471"/>
                <a:gd name="connsiteX21" fmla="*/ 1665027 w 2984311"/>
                <a:gd name="connsiteY21" fmla="*/ 400334 h 782471"/>
                <a:gd name="connsiteX22" fmla="*/ 1646830 w 2984311"/>
                <a:gd name="connsiteY22" fmla="*/ 373039 h 782471"/>
                <a:gd name="connsiteX23" fmla="*/ 1633182 w 2984311"/>
                <a:gd name="connsiteY23" fmla="*/ 363940 h 782471"/>
                <a:gd name="connsiteX24" fmla="*/ 1601337 w 2984311"/>
                <a:gd name="connsiteY24" fmla="*/ 345743 h 782471"/>
                <a:gd name="connsiteX25" fmla="*/ 1587689 w 2984311"/>
                <a:gd name="connsiteY25" fmla="*/ 318448 h 782471"/>
                <a:gd name="connsiteX26" fmla="*/ 1574042 w 2984311"/>
                <a:gd name="connsiteY26" fmla="*/ 309349 h 782471"/>
                <a:gd name="connsiteX27" fmla="*/ 1542197 w 2984311"/>
                <a:gd name="connsiteY27" fmla="*/ 286603 h 782471"/>
                <a:gd name="connsiteX28" fmla="*/ 1501254 w 2984311"/>
                <a:gd name="connsiteY28" fmla="*/ 277505 h 782471"/>
                <a:gd name="connsiteX29" fmla="*/ 1473958 w 2984311"/>
                <a:gd name="connsiteY29" fmla="*/ 268406 h 782471"/>
                <a:gd name="connsiteX30" fmla="*/ 1460310 w 2984311"/>
                <a:gd name="connsiteY30" fmla="*/ 259308 h 782471"/>
                <a:gd name="connsiteX31" fmla="*/ 1433015 w 2984311"/>
                <a:gd name="connsiteY31" fmla="*/ 250209 h 782471"/>
                <a:gd name="connsiteX32" fmla="*/ 1360227 w 2984311"/>
                <a:gd name="connsiteY32" fmla="*/ 236561 h 782471"/>
                <a:gd name="connsiteX33" fmla="*/ 1332931 w 2984311"/>
                <a:gd name="connsiteY33" fmla="*/ 227463 h 782471"/>
                <a:gd name="connsiteX34" fmla="*/ 1319283 w 2984311"/>
                <a:gd name="connsiteY34" fmla="*/ 222913 h 782471"/>
                <a:gd name="connsiteX35" fmla="*/ 1278340 w 2984311"/>
                <a:gd name="connsiteY35" fmla="*/ 227463 h 782471"/>
                <a:gd name="connsiteX36" fmla="*/ 1264692 w 2984311"/>
                <a:gd name="connsiteY36" fmla="*/ 236561 h 782471"/>
                <a:gd name="connsiteX37" fmla="*/ 1246495 w 2984311"/>
                <a:gd name="connsiteY37" fmla="*/ 241111 h 782471"/>
                <a:gd name="connsiteX38" fmla="*/ 1219200 w 2984311"/>
                <a:gd name="connsiteY38" fmla="*/ 254758 h 782471"/>
                <a:gd name="connsiteX39" fmla="*/ 1191904 w 2984311"/>
                <a:gd name="connsiteY39" fmla="*/ 268406 h 782471"/>
                <a:gd name="connsiteX40" fmla="*/ 1160060 w 2984311"/>
                <a:gd name="connsiteY40" fmla="*/ 272955 h 782471"/>
                <a:gd name="connsiteX41" fmla="*/ 1105468 w 2984311"/>
                <a:gd name="connsiteY41" fmla="*/ 291152 h 782471"/>
                <a:gd name="connsiteX42" fmla="*/ 1073624 w 2984311"/>
                <a:gd name="connsiteY42" fmla="*/ 304800 h 782471"/>
                <a:gd name="connsiteX43" fmla="*/ 896203 w 2984311"/>
                <a:gd name="connsiteY43" fmla="*/ 309349 h 782471"/>
                <a:gd name="connsiteX44" fmla="*/ 868907 w 2984311"/>
                <a:gd name="connsiteY44" fmla="*/ 322997 h 782471"/>
                <a:gd name="connsiteX45" fmla="*/ 855260 w 2984311"/>
                <a:gd name="connsiteY45" fmla="*/ 327546 h 782471"/>
                <a:gd name="connsiteX46" fmla="*/ 782471 w 2984311"/>
                <a:gd name="connsiteY46" fmla="*/ 322997 h 782471"/>
                <a:gd name="connsiteX47" fmla="*/ 768824 w 2984311"/>
                <a:gd name="connsiteY47" fmla="*/ 318448 h 782471"/>
                <a:gd name="connsiteX48" fmla="*/ 723331 w 2984311"/>
                <a:gd name="connsiteY48" fmla="*/ 304800 h 782471"/>
                <a:gd name="connsiteX49" fmla="*/ 709683 w 2984311"/>
                <a:gd name="connsiteY49" fmla="*/ 300251 h 782471"/>
                <a:gd name="connsiteX50" fmla="*/ 696036 w 2984311"/>
                <a:gd name="connsiteY50" fmla="*/ 295702 h 782471"/>
                <a:gd name="connsiteX51" fmla="*/ 641445 w 2984311"/>
                <a:gd name="connsiteY51" fmla="*/ 291152 h 782471"/>
                <a:gd name="connsiteX52" fmla="*/ 591403 w 2984311"/>
                <a:gd name="connsiteY52" fmla="*/ 282054 h 782471"/>
                <a:gd name="connsiteX53" fmla="*/ 573206 w 2984311"/>
                <a:gd name="connsiteY53" fmla="*/ 277505 h 782471"/>
                <a:gd name="connsiteX54" fmla="*/ 545910 w 2984311"/>
                <a:gd name="connsiteY54" fmla="*/ 268406 h 782471"/>
                <a:gd name="connsiteX55" fmla="*/ 514066 w 2984311"/>
                <a:gd name="connsiteY55" fmla="*/ 263857 h 782471"/>
                <a:gd name="connsiteX56" fmla="*/ 491319 w 2984311"/>
                <a:gd name="connsiteY56" fmla="*/ 259308 h 782471"/>
                <a:gd name="connsiteX57" fmla="*/ 459474 w 2984311"/>
                <a:gd name="connsiteY57" fmla="*/ 254758 h 782471"/>
                <a:gd name="connsiteX58" fmla="*/ 432179 w 2984311"/>
                <a:gd name="connsiteY58" fmla="*/ 236561 h 782471"/>
                <a:gd name="connsiteX59" fmla="*/ 423080 w 2984311"/>
                <a:gd name="connsiteY59" fmla="*/ 222913 h 782471"/>
                <a:gd name="connsiteX60" fmla="*/ 404883 w 2984311"/>
                <a:gd name="connsiteY60" fmla="*/ 213815 h 782471"/>
                <a:gd name="connsiteX61" fmla="*/ 391236 w 2984311"/>
                <a:gd name="connsiteY61" fmla="*/ 204716 h 782471"/>
                <a:gd name="connsiteX62" fmla="*/ 373039 w 2984311"/>
                <a:gd name="connsiteY62" fmla="*/ 177421 h 782471"/>
                <a:gd name="connsiteX63" fmla="*/ 350292 w 2984311"/>
                <a:gd name="connsiteY63" fmla="*/ 150125 h 782471"/>
                <a:gd name="connsiteX64" fmla="*/ 322997 w 2984311"/>
                <a:gd name="connsiteY64" fmla="*/ 131928 h 782471"/>
                <a:gd name="connsiteX65" fmla="*/ 295701 w 2984311"/>
                <a:gd name="connsiteY65" fmla="*/ 113731 h 782471"/>
                <a:gd name="connsiteX66" fmla="*/ 286603 w 2984311"/>
                <a:gd name="connsiteY66" fmla="*/ 100084 h 782471"/>
                <a:gd name="connsiteX67" fmla="*/ 272955 w 2984311"/>
                <a:gd name="connsiteY67" fmla="*/ 95534 h 782471"/>
                <a:gd name="connsiteX68" fmla="*/ 259307 w 2984311"/>
                <a:gd name="connsiteY68" fmla="*/ 86436 h 782471"/>
                <a:gd name="connsiteX69" fmla="*/ 232012 w 2984311"/>
                <a:gd name="connsiteY69" fmla="*/ 77337 h 782471"/>
                <a:gd name="connsiteX70" fmla="*/ 218364 w 2984311"/>
                <a:gd name="connsiteY70" fmla="*/ 72788 h 782471"/>
                <a:gd name="connsiteX71" fmla="*/ 204716 w 2984311"/>
                <a:gd name="connsiteY71" fmla="*/ 68239 h 782471"/>
                <a:gd name="connsiteX72" fmla="*/ 191068 w 2984311"/>
                <a:gd name="connsiteY72" fmla="*/ 59140 h 782471"/>
                <a:gd name="connsiteX73" fmla="*/ 163773 w 2984311"/>
                <a:gd name="connsiteY73" fmla="*/ 50042 h 782471"/>
                <a:gd name="connsiteX74" fmla="*/ 136477 w 2984311"/>
                <a:gd name="connsiteY74" fmla="*/ 40943 h 782471"/>
                <a:gd name="connsiteX75" fmla="*/ 122830 w 2984311"/>
                <a:gd name="connsiteY75" fmla="*/ 36394 h 782471"/>
                <a:gd name="connsiteX76" fmla="*/ 0 w 2984311"/>
                <a:gd name="connsiteY76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20369 w 2984311"/>
                <a:gd name="connsiteY5" fmla="*/ 491319 h 782471"/>
                <a:gd name="connsiteX6" fmla="*/ 2370161 w 2984311"/>
                <a:gd name="connsiteY6" fmla="*/ 459475 h 782471"/>
                <a:gd name="connsiteX7" fmla="*/ 2247331 w 2984311"/>
                <a:gd name="connsiteY7" fmla="*/ 413982 h 782471"/>
                <a:gd name="connsiteX8" fmla="*/ 2233683 w 2984311"/>
                <a:gd name="connsiteY8" fmla="*/ 409433 h 782471"/>
                <a:gd name="connsiteX9" fmla="*/ 2197290 w 2984311"/>
                <a:gd name="connsiteY9" fmla="*/ 423081 h 782471"/>
                <a:gd name="connsiteX10" fmla="*/ 2056263 w 2984311"/>
                <a:gd name="connsiteY10" fmla="*/ 477672 h 782471"/>
                <a:gd name="connsiteX11" fmla="*/ 1969827 w 2984311"/>
                <a:gd name="connsiteY11" fmla="*/ 468573 h 782471"/>
                <a:gd name="connsiteX12" fmla="*/ 1883391 w 2984311"/>
                <a:gd name="connsiteY12" fmla="*/ 477672 h 782471"/>
                <a:gd name="connsiteX13" fmla="*/ 1796955 w 2984311"/>
                <a:gd name="connsiteY13" fmla="*/ 527713 h 782471"/>
                <a:gd name="connsiteX14" fmla="*/ 1733266 w 2984311"/>
                <a:gd name="connsiteY14" fmla="*/ 509516 h 782471"/>
                <a:gd name="connsiteX15" fmla="*/ 1728716 w 2984311"/>
                <a:gd name="connsiteY15" fmla="*/ 495869 h 782471"/>
                <a:gd name="connsiteX16" fmla="*/ 1724167 w 2984311"/>
                <a:gd name="connsiteY16" fmla="*/ 468573 h 782471"/>
                <a:gd name="connsiteX17" fmla="*/ 1710519 w 2984311"/>
                <a:gd name="connsiteY17" fmla="*/ 464024 h 782471"/>
                <a:gd name="connsiteX18" fmla="*/ 1687773 w 2984311"/>
                <a:gd name="connsiteY18" fmla="*/ 441278 h 782471"/>
                <a:gd name="connsiteX19" fmla="*/ 1683224 w 2984311"/>
                <a:gd name="connsiteY19" fmla="*/ 427630 h 782471"/>
                <a:gd name="connsiteX20" fmla="*/ 1665027 w 2984311"/>
                <a:gd name="connsiteY20" fmla="*/ 400334 h 782471"/>
                <a:gd name="connsiteX21" fmla="*/ 1646830 w 2984311"/>
                <a:gd name="connsiteY21" fmla="*/ 373039 h 782471"/>
                <a:gd name="connsiteX22" fmla="*/ 1633182 w 2984311"/>
                <a:gd name="connsiteY22" fmla="*/ 363940 h 782471"/>
                <a:gd name="connsiteX23" fmla="*/ 1601337 w 2984311"/>
                <a:gd name="connsiteY23" fmla="*/ 345743 h 782471"/>
                <a:gd name="connsiteX24" fmla="*/ 1587689 w 2984311"/>
                <a:gd name="connsiteY24" fmla="*/ 318448 h 782471"/>
                <a:gd name="connsiteX25" fmla="*/ 1574042 w 2984311"/>
                <a:gd name="connsiteY25" fmla="*/ 309349 h 782471"/>
                <a:gd name="connsiteX26" fmla="*/ 1542197 w 2984311"/>
                <a:gd name="connsiteY26" fmla="*/ 286603 h 782471"/>
                <a:gd name="connsiteX27" fmla="*/ 1501254 w 2984311"/>
                <a:gd name="connsiteY27" fmla="*/ 277505 h 782471"/>
                <a:gd name="connsiteX28" fmla="*/ 1473958 w 2984311"/>
                <a:gd name="connsiteY28" fmla="*/ 268406 h 782471"/>
                <a:gd name="connsiteX29" fmla="*/ 1460310 w 2984311"/>
                <a:gd name="connsiteY29" fmla="*/ 259308 h 782471"/>
                <a:gd name="connsiteX30" fmla="*/ 1433015 w 2984311"/>
                <a:gd name="connsiteY30" fmla="*/ 250209 h 782471"/>
                <a:gd name="connsiteX31" fmla="*/ 1360227 w 2984311"/>
                <a:gd name="connsiteY31" fmla="*/ 236561 h 782471"/>
                <a:gd name="connsiteX32" fmla="*/ 1332931 w 2984311"/>
                <a:gd name="connsiteY32" fmla="*/ 227463 h 782471"/>
                <a:gd name="connsiteX33" fmla="*/ 1319283 w 2984311"/>
                <a:gd name="connsiteY33" fmla="*/ 222913 h 782471"/>
                <a:gd name="connsiteX34" fmla="*/ 1278340 w 2984311"/>
                <a:gd name="connsiteY34" fmla="*/ 227463 h 782471"/>
                <a:gd name="connsiteX35" fmla="*/ 1264692 w 2984311"/>
                <a:gd name="connsiteY35" fmla="*/ 236561 h 782471"/>
                <a:gd name="connsiteX36" fmla="*/ 1246495 w 2984311"/>
                <a:gd name="connsiteY36" fmla="*/ 241111 h 782471"/>
                <a:gd name="connsiteX37" fmla="*/ 1219200 w 2984311"/>
                <a:gd name="connsiteY37" fmla="*/ 254758 h 782471"/>
                <a:gd name="connsiteX38" fmla="*/ 1191904 w 2984311"/>
                <a:gd name="connsiteY38" fmla="*/ 268406 h 782471"/>
                <a:gd name="connsiteX39" fmla="*/ 1160060 w 2984311"/>
                <a:gd name="connsiteY39" fmla="*/ 272955 h 782471"/>
                <a:gd name="connsiteX40" fmla="*/ 1105468 w 2984311"/>
                <a:gd name="connsiteY40" fmla="*/ 291152 h 782471"/>
                <a:gd name="connsiteX41" fmla="*/ 1073624 w 2984311"/>
                <a:gd name="connsiteY41" fmla="*/ 304800 h 782471"/>
                <a:gd name="connsiteX42" fmla="*/ 896203 w 2984311"/>
                <a:gd name="connsiteY42" fmla="*/ 309349 h 782471"/>
                <a:gd name="connsiteX43" fmla="*/ 868907 w 2984311"/>
                <a:gd name="connsiteY43" fmla="*/ 322997 h 782471"/>
                <a:gd name="connsiteX44" fmla="*/ 855260 w 2984311"/>
                <a:gd name="connsiteY44" fmla="*/ 327546 h 782471"/>
                <a:gd name="connsiteX45" fmla="*/ 782471 w 2984311"/>
                <a:gd name="connsiteY45" fmla="*/ 322997 h 782471"/>
                <a:gd name="connsiteX46" fmla="*/ 768824 w 2984311"/>
                <a:gd name="connsiteY46" fmla="*/ 318448 h 782471"/>
                <a:gd name="connsiteX47" fmla="*/ 723331 w 2984311"/>
                <a:gd name="connsiteY47" fmla="*/ 304800 h 782471"/>
                <a:gd name="connsiteX48" fmla="*/ 709683 w 2984311"/>
                <a:gd name="connsiteY48" fmla="*/ 300251 h 782471"/>
                <a:gd name="connsiteX49" fmla="*/ 696036 w 2984311"/>
                <a:gd name="connsiteY49" fmla="*/ 295702 h 782471"/>
                <a:gd name="connsiteX50" fmla="*/ 641445 w 2984311"/>
                <a:gd name="connsiteY50" fmla="*/ 291152 h 782471"/>
                <a:gd name="connsiteX51" fmla="*/ 591403 w 2984311"/>
                <a:gd name="connsiteY51" fmla="*/ 282054 h 782471"/>
                <a:gd name="connsiteX52" fmla="*/ 573206 w 2984311"/>
                <a:gd name="connsiteY52" fmla="*/ 277505 h 782471"/>
                <a:gd name="connsiteX53" fmla="*/ 545910 w 2984311"/>
                <a:gd name="connsiteY53" fmla="*/ 268406 h 782471"/>
                <a:gd name="connsiteX54" fmla="*/ 514066 w 2984311"/>
                <a:gd name="connsiteY54" fmla="*/ 263857 h 782471"/>
                <a:gd name="connsiteX55" fmla="*/ 491319 w 2984311"/>
                <a:gd name="connsiteY55" fmla="*/ 259308 h 782471"/>
                <a:gd name="connsiteX56" fmla="*/ 459474 w 2984311"/>
                <a:gd name="connsiteY56" fmla="*/ 254758 h 782471"/>
                <a:gd name="connsiteX57" fmla="*/ 432179 w 2984311"/>
                <a:gd name="connsiteY57" fmla="*/ 236561 h 782471"/>
                <a:gd name="connsiteX58" fmla="*/ 423080 w 2984311"/>
                <a:gd name="connsiteY58" fmla="*/ 222913 h 782471"/>
                <a:gd name="connsiteX59" fmla="*/ 404883 w 2984311"/>
                <a:gd name="connsiteY59" fmla="*/ 213815 h 782471"/>
                <a:gd name="connsiteX60" fmla="*/ 391236 w 2984311"/>
                <a:gd name="connsiteY60" fmla="*/ 204716 h 782471"/>
                <a:gd name="connsiteX61" fmla="*/ 373039 w 2984311"/>
                <a:gd name="connsiteY61" fmla="*/ 177421 h 782471"/>
                <a:gd name="connsiteX62" fmla="*/ 350292 w 2984311"/>
                <a:gd name="connsiteY62" fmla="*/ 150125 h 782471"/>
                <a:gd name="connsiteX63" fmla="*/ 322997 w 2984311"/>
                <a:gd name="connsiteY63" fmla="*/ 131928 h 782471"/>
                <a:gd name="connsiteX64" fmla="*/ 295701 w 2984311"/>
                <a:gd name="connsiteY64" fmla="*/ 113731 h 782471"/>
                <a:gd name="connsiteX65" fmla="*/ 286603 w 2984311"/>
                <a:gd name="connsiteY65" fmla="*/ 100084 h 782471"/>
                <a:gd name="connsiteX66" fmla="*/ 272955 w 2984311"/>
                <a:gd name="connsiteY66" fmla="*/ 95534 h 782471"/>
                <a:gd name="connsiteX67" fmla="*/ 259307 w 2984311"/>
                <a:gd name="connsiteY67" fmla="*/ 86436 h 782471"/>
                <a:gd name="connsiteX68" fmla="*/ 232012 w 2984311"/>
                <a:gd name="connsiteY68" fmla="*/ 77337 h 782471"/>
                <a:gd name="connsiteX69" fmla="*/ 218364 w 2984311"/>
                <a:gd name="connsiteY69" fmla="*/ 72788 h 782471"/>
                <a:gd name="connsiteX70" fmla="*/ 204716 w 2984311"/>
                <a:gd name="connsiteY70" fmla="*/ 68239 h 782471"/>
                <a:gd name="connsiteX71" fmla="*/ 191068 w 2984311"/>
                <a:gd name="connsiteY71" fmla="*/ 59140 h 782471"/>
                <a:gd name="connsiteX72" fmla="*/ 163773 w 2984311"/>
                <a:gd name="connsiteY72" fmla="*/ 50042 h 782471"/>
                <a:gd name="connsiteX73" fmla="*/ 136477 w 2984311"/>
                <a:gd name="connsiteY73" fmla="*/ 40943 h 782471"/>
                <a:gd name="connsiteX74" fmla="*/ 122830 w 2984311"/>
                <a:gd name="connsiteY74" fmla="*/ 36394 h 782471"/>
                <a:gd name="connsiteX75" fmla="*/ 0 w 2984311"/>
                <a:gd name="connsiteY75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20369 w 2984311"/>
                <a:gd name="connsiteY5" fmla="*/ 491319 h 782471"/>
                <a:gd name="connsiteX6" fmla="*/ 2370161 w 2984311"/>
                <a:gd name="connsiteY6" fmla="*/ 459475 h 782471"/>
                <a:gd name="connsiteX7" fmla="*/ 2247331 w 2984311"/>
                <a:gd name="connsiteY7" fmla="*/ 413982 h 782471"/>
                <a:gd name="connsiteX8" fmla="*/ 2233683 w 2984311"/>
                <a:gd name="connsiteY8" fmla="*/ 409433 h 782471"/>
                <a:gd name="connsiteX9" fmla="*/ 2197290 w 2984311"/>
                <a:gd name="connsiteY9" fmla="*/ 423081 h 782471"/>
                <a:gd name="connsiteX10" fmla="*/ 2056263 w 2984311"/>
                <a:gd name="connsiteY10" fmla="*/ 477672 h 782471"/>
                <a:gd name="connsiteX11" fmla="*/ 1969827 w 2984311"/>
                <a:gd name="connsiteY11" fmla="*/ 468573 h 782471"/>
                <a:gd name="connsiteX12" fmla="*/ 1883391 w 2984311"/>
                <a:gd name="connsiteY12" fmla="*/ 477672 h 782471"/>
                <a:gd name="connsiteX13" fmla="*/ 1796955 w 2984311"/>
                <a:gd name="connsiteY13" fmla="*/ 527713 h 782471"/>
                <a:gd name="connsiteX14" fmla="*/ 1733266 w 2984311"/>
                <a:gd name="connsiteY14" fmla="*/ 509516 h 782471"/>
                <a:gd name="connsiteX15" fmla="*/ 1728716 w 2984311"/>
                <a:gd name="connsiteY15" fmla="*/ 495869 h 782471"/>
                <a:gd name="connsiteX16" fmla="*/ 1724167 w 2984311"/>
                <a:gd name="connsiteY16" fmla="*/ 468573 h 782471"/>
                <a:gd name="connsiteX17" fmla="*/ 1710519 w 2984311"/>
                <a:gd name="connsiteY17" fmla="*/ 464024 h 782471"/>
                <a:gd name="connsiteX18" fmla="*/ 1687773 w 2984311"/>
                <a:gd name="connsiteY18" fmla="*/ 441278 h 782471"/>
                <a:gd name="connsiteX19" fmla="*/ 1683224 w 2984311"/>
                <a:gd name="connsiteY19" fmla="*/ 427630 h 782471"/>
                <a:gd name="connsiteX20" fmla="*/ 1665027 w 2984311"/>
                <a:gd name="connsiteY20" fmla="*/ 400334 h 782471"/>
                <a:gd name="connsiteX21" fmla="*/ 1646830 w 2984311"/>
                <a:gd name="connsiteY21" fmla="*/ 373039 h 782471"/>
                <a:gd name="connsiteX22" fmla="*/ 1633182 w 2984311"/>
                <a:gd name="connsiteY22" fmla="*/ 363940 h 782471"/>
                <a:gd name="connsiteX23" fmla="*/ 1601337 w 2984311"/>
                <a:gd name="connsiteY23" fmla="*/ 345743 h 782471"/>
                <a:gd name="connsiteX24" fmla="*/ 1587689 w 2984311"/>
                <a:gd name="connsiteY24" fmla="*/ 318448 h 782471"/>
                <a:gd name="connsiteX25" fmla="*/ 1574042 w 2984311"/>
                <a:gd name="connsiteY25" fmla="*/ 309349 h 782471"/>
                <a:gd name="connsiteX26" fmla="*/ 1542197 w 2984311"/>
                <a:gd name="connsiteY26" fmla="*/ 286603 h 782471"/>
                <a:gd name="connsiteX27" fmla="*/ 1501254 w 2984311"/>
                <a:gd name="connsiteY27" fmla="*/ 277505 h 782471"/>
                <a:gd name="connsiteX28" fmla="*/ 1473958 w 2984311"/>
                <a:gd name="connsiteY28" fmla="*/ 268406 h 782471"/>
                <a:gd name="connsiteX29" fmla="*/ 1460310 w 2984311"/>
                <a:gd name="connsiteY29" fmla="*/ 259308 h 782471"/>
                <a:gd name="connsiteX30" fmla="*/ 1433015 w 2984311"/>
                <a:gd name="connsiteY30" fmla="*/ 250209 h 782471"/>
                <a:gd name="connsiteX31" fmla="*/ 1360227 w 2984311"/>
                <a:gd name="connsiteY31" fmla="*/ 236561 h 782471"/>
                <a:gd name="connsiteX32" fmla="*/ 1332931 w 2984311"/>
                <a:gd name="connsiteY32" fmla="*/ 227463 h 782471"/>
                <a:gd name="connsiteX33" fmla="*/ 1319283 w 2984311"/>
                <a:gd name="connsiteY33" fmla="*/ 222913 h 782471"/>
                <a:gd name="connsiteX34" fmla="*/ 1278340 w 2984311"/>
                <a:gd name="connsiteY34" fmla="*/ 227463 h 782471"/>
                <a:gd name="connsiteX35" fmla="*/ 1264692 w 2984311"/>
                <a:gd name="connsiteY35" fmla="*/ 236561 h 782471"/>
                <a:gd name="connsiteX36" fmla="*/ 1246495 w 2984311"/>
                <a:gd name="connsiteY36" fmla="*/ 241111 h 782471"/>
                <a:gd name="connsiteX37" fmla="*/ 1219200 w 2984311"/>
                <a:gd name="connsiteY37" fmla="*/ 254758 h 782471"/>
                <a:gd name="connsiteX38" fmla="*/ 1191904 w 2984311"/>
                <a:gd name="connsiteY38" fmla="*/ 268406 h 782471"/>
                <a:gd name="connsiteX39" fmla="*/ 1160060 w 2984311"/>
                <a:gd name="connsiteY39" fmla="*/ 272955 h 782471"/>
                <a:gd name="connsiteX40" fmla="*/ 1105468 w 2984311"/>
                <a:gd name="connsiteY40" fmla="*/ 291152 h 782471"/>
                <a:gd name="connsiteX41" fmla="*/ 1073624 w 2984311"/>
                <a:gd name="connsiteY41" fmla="*/ 304800 h 782471"/>
                <a:gd name="connsiteX42" fmla="*/ 896203 w 2984311"/>
                <a:gd name="connsiteY42" fmla="*/ 309349 h 782471"/>
                <a:gd name="connsiteX43" fmla="*/ 868907 w 2984311"/>
                <a:gd name="connsiteY43" fmla="*/ 322997 h 782471"/>
                <a:gd name="connsiteX44" fmla="*/ 855260 w 2984311"/>
                <a:gd name="connsiteY44" fmla="*/ 327546 h 782471"/>
                <a:gd name="connsiteX45" fmla="*/ 782471 w 2984311"/>
                <a:gd name="connsiteY45" fmla="*/ 322997 h 782471"/>
                <a:gd name="connsiteX46" fmla="*/ 768824 w 2984311"/>
                <a:gd name="connsiteY46" fmla="*/ 318448 h 782471"/>
                <a:gd name="connsiteX47" fmla="*/ 723331 w 2984311"/>
                <a:gd name="connsiteY47" fmla="*/ 304800 h 782471"/>
                <a:gd name="connsiteX48" fmla="*/ 709683 w 2984311"/>
                <a:gd name="connsiteY48" fmla="*/ 300251 h 782471"/>
                <a:gd name="connsiteX49" fmla="*/ 696036 w 2984311"/>
                <a:gd name="connsiteY49" fmla="*/ 295702 h 782471"/>
                <a:gd name="connsiteX50" fmla="*/ 641445 w 2984311"/>
                <a:gd name="connsiteY50" fmla="*/ 291152 h 782471"/>
                <a:gd name="connsiteX51" fmla="*/ 591403 w 2984311"/>
                <a:gd name="connsiteY51" fmla="*/ 282054 h 782471"/>
                <a:gd name="connsiteX52" fmla="*/ 573206 w 2984311"/>
                <a:gd name="connsiteY52" fmla="*/ 277505 h 782471"/>
                <a:gd name="connsiteX53" fmla="*/ 545910 w 2984311"/>
                <a:gd name="connsiteY53" fmla="*/ 268406 h 782471"/>
                <a:gd name="connsiteX54" fmla="*/ 514066 w 2984311"/>
                <a:gd name="connsiteY54" fmla="*/ 263857 h 782471"/>
                <a:gd name="connsiteX55" fmla="*/ 491319 w 2984311"/>
                <a:gd name="connsiteY55" fmla="*/ 259308 h 782471"/>
                <a:gd name="connsiteX56" fmla="*/ 459474 w 2984311"/>
                <a:gd name="connsiteY56" fmla="*/ 254758 h 782471"/>
                <a:gd name="connsiteX57" fmla="*/ 432179 w 2984311"/>
                <a:gd name="connsiteY57" fmla="*/ 236561 h 782471"/>
                <a:gd name="connsiteX58" fmla="*/ 423080 w 2984311"/>
                <a:gd name="connsiteY58" fmla="*/ 222913 h 782471"/>
                <a:gd name="connsiteX59" fmla="*/ 404883 w 2984311"/>
                <a:gd name="connsiteY59" fmla="*/ 213815 h 782471"/>
                <a:gd name="connsiteX60" fmla="*/ 391236 w 2984311"/>
                <a:gd name="connsiteY60" fmla="*/ 204716 h 782471"/>
                <a:gd name="connsiteX61" fmla="*/ 373039 w 2984311"/>
                <a:gd name="connsiteY61" fmla="*/ 177421 h 782471"/>
                <a:gd name="connsiteX62" fmla="*/ 350292 w 2984311"/>
                <a:gd name="connsiteY62" fmla="*/ 150125 h 782471"/>
                <a:gd name="connsiteX63" fmla="*/ 322997 w 2984311"/>
                <a:gd name="connsiteY63" fmla="*/ 131928 h 782471"/>
                <a:gd name="connsiteX64" fmla="*/ 295701 w 2984311"/>
                <a:gd name="connsiteY64" fmla="*/ 113731 h 782471"/>
                <a:gd name="connsiteX65" fmla="*/ 286603 w 2984311"/>
                <a:gd name="connsiteY65" fmla="*/ 100084 h 782471"/>
                <a:gd name="connsiteX66" fmla="*/ 272955 w 2984311"/>
                <a:gd name="connsiteY66" fmla="*/ 95534 h 782471"/>
                <a:gd name="connsiteX67" fmla="*/ 259307 w 2984311"/>
                <a:gd name="connsiteY67" fmla="*/ 86436 h 782471"/>
                <a:gd name="connsiteX68" fmla="*/ 232012 w 2984311"/>
                <a:gd name="connsiteY68" fmla="*/ 77337 h 782471"/>
                <a:gd name="connsiteX69" fmla="*/ 218364 w 2984311"/>
                <a:gd name="connsiteY69" fmla="*/ 72788 h 782471"/>
                <a:gd name="connsiteX70" fmla="*/ 204716 w 2984311"/>
                <a:gd name="connsiteY70" fmla="*/ 68239 h 782471"/>
                <a:gd name="connsiteX71" fmla="*/ 191068 w 2984311"/>
                <a:gd name="connsiteY71" fmla="*/ 59140 h 782471"/>
                <a:gd name="connsiteX72" fmla="*/ 163773 w 2984311"/>
                <a:gd name="connsiteY72" fmla="*/ 50042 h 782471"/>
                <a:gd name="connsiteX73" fmla="*/ 136477 w 2984311"/>
                <a:gd name="connsiteY73" fmla="*/ 40943 h 782471"/>
                <a:gd name="connsiteX74" fmla="*/ 122830 w 2984311"/>
                <a:gd name="connsiteY74" fmla="*/ 36394 h 782471"/>
                <a:gd name="connsiteX75" fmla="*/ 0 w 2984311"/>
                <a:gd name="connsiteY75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20369 w 2984311"/>
                <a:gd name="connsiteY5" fmla="*/ 491319 h 782471"/>
                <a:gd name="connsiteX6" fmla="*/ 2370161 w 2984311"/>
                <a:gd name="connsiteY6" fmla="*/ 459475 h 782471"/>
                <a:gd name="connsiteX7" fmla="*/ 2247331 w 2984311"/>
                <a:gd name="connsiteY7" fmla="*/ 413982 h 782471"/>
                <a:gd name="connsiteX8" fmla="*/ 2233683 w 2984311"/>
                <a:gd name="connsiteY8" fmla="*/ 409433 h 782471"/>
                <a:gd name="connsiteX9" fmla="*/ 2197290 w 2984311"/>
                <a:gd name="connsiteY9" fmla="*/ 423081 h 782471"/>
                <a:gd name="connsiteX10" fmla="*/ 2056263 w 2984311"/>
                <a:gd name="connsiteY10" fmla="*/ 477672 h 782471"/>
                <a:gd name="connsiteX11" fmla="*/ 1969827 w 2984311"/>
                <a:gd name="connsiteY11" fmla="*/ 468573 h 782471"/>
                <a:gd name="connsiteX12" fmla="*/ 1883391 w 2984311"/>
                <a:gd name="connsiteY12" fmla="*/ 477672 h 782471"/>
                <a:gd name="connsiteX13" fmla="*/ 1796955 w 2984311"/>
                <a:gd name="connsiteY13" fmla="*/ 527713 h 782471"/>
                <a:gd name="connsiteX14" fmla="*/ 1733266 w 2984311"/>
                <a:gd name="connsiteY14" fmla="*/ 509516 h 782471"/>
                <a:gd name="connsiteX15" fmla="*/ 1728716 w 2984311"/>
                <a:gd name="connsiteY15" fmla="*/ 495869 h 782471"/>
                <a:gd name="connsiteX16" fmla="*/ 1724167 w 2984311"/>
                <a:gd name="connsiteY16" fmla="*/ 468573 h 782471"/>
                <a:gd name="connsiteX17" fmla="*/ 1687773 w 2984311"/>
                <a:gd name="connsiteY17" fmla="*/ 441278 h 782471"/>
                <a:gd name="connsiteX18" fmla="*/ 1683224 w 2984311"/>
                <a:gd name="connsiteY18" fmla="*/ 427630 h 782471"/>
                <a:gd name="connsiteX19" fmla="*/ 1665027 w 2984311"/>
                <a:gd name="connsiteY19" fmla="*/ 400334 h 782471"/>
                <a:gd name="connsiteX20" fmla="*/ 1646830 w 2984311"/>
                <a:gd name="connsiteY20" fmla="*/ 373039 h 782471"/>
                <a:gd name="connsiteX21" fmla="*/ 1633182 w 2984311"/>
                <a:gd name="connsiteY21" fmla="*/ 363940 h 782471"/>
                <a:gd name="connsiteX22" fmla="*/ 1601337 w 2984311"/>
                <a:gd name="connsiteY22" fmla="*/ 345743 h 782471"/>
                <a:gd name="connsiteX23" fmla="*/ 1587689 w 2984311"/>
                <a:gd name="connsiteY23" fmla="*/ 318448 h 782471"/>
                <a:gd name="connsiteX24" fmla="*/ 1574042 w 2984311"/>
                <a:gd name="connsiteY24" fmla="*/ 309349 h 782471"/>
                <a:gd name="connsiteX25" fmla="*/ 1542197 w 2984311"/>
                <a:gd name="connsiteY25" fmla="*/ 286603 h 782471"/>
                <a:gd name="connsiteX26" fmla="*/ 1501254 w 2984311"/>
                <a:gd name="connsiteY26" fmla="*/ 277505 h 782471"/>
                <a:gd name="connsiteX27" fmla="*/ 1473958 w 2984311"/>
                <a:gd name="connsiteY27" fmla="*/ 268406 h 782471"/>
                <a:gd name="connsiteX28" fmla="*/ 1460310 w 2984311"/>
                <a:gd name="connsiteY28" fmla="*/ 259308 h 782471"/>
                <a:gd name="connsiteX29" fmla="*/ 1433015 w 2984311"/>
                <a:gd name="connsiteY29" fmla="*/ 250209 h 782471"/>
                <a:gd name="connsiteX30" fmla="*/ 1360227 w 2984311"/>
                <a:gd name="connsiteY30" fmla="*/ 236561 h 782471"/>
                <a:gd name="connsiteX31" fmla="*/ 1332931 w 2984311"/>
                <a:gd name="connsiteY31" fmla="*/ 227463 h 782471"/>
                <a:gd name="connsiteX32" fmla="*/ 1319283 w 2984311"/>
                <a:gd name="connsiteY32" fmla="*/ 222913 h 782471"/>
                <a:gd name="connsiteX33" fmla="*/ 1278340 w 2984311"/>
                <a:gd name="connsiteY33" fmla="*/ 227463 h 782471"/>
                <a:gd name="connsiteX34" fmla="*/ 1264692 w 2984311"/>
                <a:gd name="connsiteY34" fmla="*/ 236561 h 782471"/>
                <a:gd name="connsiteX35" fmla="*/ 1246495 w 2984311"/>
                <a:gd name="connsiteY35" fmla="*/ 241111 h 782471"/>
                <a:gd name="connsiteX36" fmla="*/ 1219200 w 2984311"/>
                <a:gd name="connsiteY36" fmla="*/ 254758 h 782471"/>
                <a:gd name="connsiteX37" fmla="*/ 1191904 w 2984311"/>
                <a:gd name="connsiteY37" fmla="*/ 268406 h 782471"/>
                <a:gd name="connsiteX38" fmla="*/ 1160060 w 2984311"/>
                <a:gd name="connsiteY38" fmla="*/ 272955 h 782471"/>
                <a:gd name="connsiteX39" fmla="*/ 1105468 w 2984311"/>
                <a:gd name="connsiteY39" fmla="*/ 291152 h 782471"/>
                <a:gd name="connsiteX40" fmla="*/ 1073624 w 2984311"/>
                <a:gd name="connsiteY40" fmla="*/ 304800 h 782471"/>
                <a:gd name="connsiteX41" fmla="*/ 896203 w 2984311"/>
                <a:gd name="connsiteY41" fmla="*/ 309349 h 782471"/>
                <a:gd name="connsiteX42" fmla="*/ 868907 w 2984311"/>
                <a:gd name="connsiteY42" fmla="*/ 322997 h 782471"/>
                <a:gd name="connsiteX43" fmla="*/ 855260 w 2984311"/>
                <a:gd name="connsiteY43" fmla="*/ 327546 h 782471"/>
                <a:gd name="connsiteX44" fmla="*/ 782471 w 2984311"/>
                <a:gd name="connsiteY44" fmla="*/ 322997 h 782471"/>
                <a:gd name="connsiteX45" fmla="*/ 768824 w 2984311"/>
                <a:gd name="connsiteY45" fmla="*/ 318448 h 782471"/>
                <a:gd name="connsiteX46" fmla="*/ 723331 w 2984311"/>
                <a:gd name="connsiteY46" fmla="*/ 304800 h 782471"/>
                <a:gd name="connsiteX47" fmla="*/ 709683 w 2984311"/>
                <a:gd name="connsiteY47" fmla="*/ 300251 h 782471"/>
                <a:gd name="connsiteX48" fmla="*/ 696036 w 2984311"/>
                <a:gd name="connsiteY48" fmla="*/ 295702 h 782471"/>
                <a:gd name="connsiteX49" fmla="*/ 641445 w 2984311"/>
                <a:gd name="connsiteY49" fmla="*/ 291152 h 782471"/>
                <a:gd name="connsiteX50" fmla="*/ 591403 w 2984311"/>
                <a:gd name="connsiteY50" fmla="*/ 282054 h 782471"/>
                <a:gd name="connsiteX51" fmla="*/ 573206 w 2984311"/>
                <a:gd name="connsiteY51" fmla="*/ 277505 h 782471"/>
                <a:gd name="connsiteX52" fmla="*/ 545910 w 2984311"/>
                <a:gd name="connsiteY52" fmla="*/ 268406 h 782471"/>
                <a:gd name="connsiteX53" fmla="*/ 514066 w 2984311"/>
                <a:gd name="connsiteY53" fmla="*/ 263857 h 782471"/>
                <a:gd name="connsiteX54" fmla="*/ 491319 w 2984311"/>
                <a:gd name="connsiteY54" fmla="*/ 259308 h 782471"/>
                <a:gd name="connsiteX55" fmla="*/ 459474 w 2984311"/>
                <a:gd name="connsiteY55" fmla="*/ 254758 h 782471"/>
                <a:gd name="connsiteX56" fmla="*/ 432179 w 2984311"/>
                <a:gd name="connsiteY56" fmla="*/ 236561 h 782471"/>
                <a:gd name="connsiteX57" fmla="*/ 423080 w 2984311"/>
                <a:gd name="connsiteY57" fmla="*/ 222913 h 782471"/>
                <a:gd name="connsiteX58" fmla="*/ 404883 w 2984311"/>
                <a:gd name="connsiteY58" fmla="*/ 213815 h 782471"/>
                <a:gd name="connsiteX59" fmla="*/ 391236 w 2984311"/>
                <a:gd name="connsiteY59" fmla="*/ 204716 h 782471"/>
                <a:gd name="connsiteX60" fmla="*/ 373039 w 2984311"/>
                <a:gd name="connsiteY60" fmla="*/ 177421 h 782471"/>
                <a:gd name="connsiteX61" fmla="*/ 350292 w 2984311"/>
                <a:gd name="connsiteY61" fmla="*/ 150125 h 782471"/>
                <a:gd name="connsiteX62" fmla="*/ 322997 w 2984311"/>
                <a:gd name="connsiteY62" fmla="*/ 131928 h 782471"/>
                <a:gd name="connsiteX63" fmla="*/ 295701 w 2984311"/>
                <a:gd name="connsiteY63" fmla="*/ 113731 h 782471"/>
                <a:gd name="connsiteX64" fmla="*/ 286603 w 2984311"/>
                <a:gd name="connsiteY64" fmla="*/ 100084 h 782471"/>
                <a:gd name="connsiteX65" fmla="*/ 272955 w 2984311"/>
                <a:gd name="connsiteY65" fmla="*/ 95534 h 782471"/>
                <a:gd name="connsiteX66" fmla="*/ 259307 w 2984311"/>
                <a:gd name="connsiteY66" fmla="*/ 86436 h 782471"/>
                <a:gd name="connsiteX67" fmla="*/ 232012 w 2984311"/>
                <a:gd name="connsiteY67" fmla="*/ 77337 h 782471"/>
                <a:gd name="connsiteX68" fmla="*/ 218364 w 2984311"/>
                <a:gd name="connsiteY68" fmla="*/ 72788 h 782471"/>
                <a:gd name="connsiteX69" fmla="*/ 204716 w 2984311"/>
                <a:gd name="connsiteY69" fmla="*/ 68239 h 782471"/>
                <a:gd name="connsiteX70" fmla="*/ 191068 w 2984311"/>
                <a:gd name="connsiteY70" fmla="*/ 59140 h 782471"/>
                <a:gd name="connsiteX71" fmla="*/ 163773 w 2984311"/>
                <a:gd name="connsiteY71" fmla="*/ 50042 h 782471"/>
                <a:gd name="connsiteX72" fmla="*/ 136477 w 2984311"/>
                <a:gd name="connsiteY72" fmla="*/ 40943 h 782471"/>
                <a:gd name="connsiteX73" fmla="*/ 122830 w 2984311"/>
                <a:gd name="connsiteY73" fmla="*/ 36394 h 782471"/>
                <a:gd name="connsiteX74" fmla="*/ 0 w 2984311"/>
                <a:gd name="connsiteY74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20369 w 2984311"/>
                <a:gd name="connsiteY5" fmla="*/ 491319 h 782471"/>
                <a:gd name="connsiteX6" fmla="*/ 2370161 w 2984311"/>
                <a:gd name="connsiteY6" fmla="*/ 459475 h 782471"/>
                <a:gd name="connsiteX7" fmla="*/ 2247331 w 2984311"/>
                <a:gd name="connsiteY7" fmla="*/ 413982 h 782471"/>
                <a:gd name="connsiteX8" fmla="*/ 2233683 w 2984311"/>
                <a:gd name="connsiteY8" fmla="*/ 409433 h 782471"/>
                <a:gd name="connsiteX9" fmla="*/ 2197290 w 2984311"/>
                <a:gd name="connsiteY9" fmla="*/ 423081 h 782471"/>
                <a:gd name="connsiteX10" fmla="*/ 2056263 w 2984311"/>
                <a:gd name="connsiteY10" fmla="*/ 477672 h 782471"/>
                <a:gd name="connsiteX11" fmla="*/ 1969827 w 2984311"/>
                <a:gd name="connsiteY11" fmla="*/ 468573 h 782471"/>
                <a:gd name="connsiteX12" fmla="*/ 1883391 w 2984311"/>
                <a:gd name="connsiteY12" fmla="*/ 477672 h 782471"/>
                <a:gd name="connsiteX13" fmla="*/ 1796955 w 2984311"/>
                <a:gd name="connsiteY13" fmla="*/ 527713 h 782471"/>
                <a:gd name="connsiteX14" fmla="*/ 1733266 w 2984311"/>
                <a:gd name="connsiteY14" fmla="*/ 509516 h 782471"/>
                <a:gd name="connsiteX15" fmla="*/ 1728716 w 2984311"/>
                <a:gd name="connsiteY15" fmla="*/ 495869 h 782471"/>
                <a:gd name="connsiteX16" fmla="*/ 1724167 w 2984311"/>
                <a:gd name="connsiteY16" fmla="*/ 450376 h 782471"/>
                <a:gd name="connsiteX17" fmla="*/ 1687773 w 2984311"/>
                <a:gd name="connsiteY17" fmla="*/ 441278 h 782471"/>
                <a:gd name="connsiteX18" fmla="*/ 1683224 w 2984311"/>
                <a:gd name="connsiteY18" fmla="*/ 427630 h 782471"/>
                <a:gd name="connsiteX19" fmla="*/ 1665027 w 2984311"/>
                <a:gd name="connsiteY19" fmla="*/ 400334 h 782471"/>
                <a:gd name="connsiteX20" fmla="*/ 1646830 w 2984311"/>
                <a:gd name="connsiteY20" fmla="*/ 373039 h 782471"/>
                <a:gd name="connsiteX21" fmla="*/ 1633182 w 2984311"/>
                <a:gd name="connsiteY21" fmla="*/ 363940 h 782471"/>
                <a:gd name="connsiteX22" fmla="*/ 1601337 w 2984311"/>
                <a:gd name="connsiteY22" fmla="*/ 345743 h 782471"/>
                <a:gd name="connsiteX23" fmla="*/ 1587689 w 2984311"/>
                <a:gd name="connsiteY23" fmla="*/ 318448 h 782471"/>
                <a:gd name="connsiteX24" fmla="*/ 1574042 w 2984311"/>
                <a:gd name="connsiteY24" fmla="*/ 309349 h 782471"/>
                <a:gd name="connsiteX25" fmla="*/ 1542197 w 2984311"/>
                <a:gd name="connsiteY25" fmla="*/ 286603 h 782471"/>
                <a:gd name="connsiteX26" fmla="*/ 1501254 w 2984311"/>
                <a:gd name="connsiteY26" fmla="*/ 277505 h 782471"/>
                <a:gd name="connsiteX27" fmla="*/ 1473958 w 2984311"/>
                <a:gd name="connsiteY27" fmla="*/ 268406 h 782471"/>
                <a:gd name="connsiteX28" fmla="*/ 1460310 w 2984311"/>
                <a:gd name="connsiteY28" fmla="*/ 259308 h 782471"/>
                <a:gd name="connsiteX29" fmla="*/ 1433015 w 2984311"/>
                <a:gd name="connsiteY29" fmla="*/ 250209 h 782471"/>
                <a:gd name="connsiteX30" fmla="*/ 1360227 w 2984311"/>
                <a:gd name="connsiteY30" fmla="*/ 236561 h 782471"/>
                <a:gd name="connsiteX31" fmla="*/ 1332931 w 2984311"/>
                <a:gd name="connsiteY31" fmla="*/ 227463 h 782471"/>
                <a:gd name="connsiteX32" fmla="*/ 1319283 w 2984311"/>
                <a:gd name="connsiteY32" fmla="*/ 222913 h 782471"/>
                <a:gd name="connsiteX33" fmla="*/ 1278340 w 2984311"/>
                <a:gd name="connsiteY33" fmla="*/ 227463 h 782471"/>
                <a:gd name="connsiteX34" fmla="*/ 1264692 w 2984311"/>
                <a:gd name="connsiteY34" fmla="*/ 236561 h 782471"/>
                <a:gd name="connsiteX35" fmla="*/ 1246495 w 2984311"/>
                <a:gd name="connsiteY35" fmla="*/ 241111 h 782471"/>
                <a:gd name="connsiteX36" fmla="*/ 1219200 w 2984311"/>
                <a:gd name="connsiteY36" fmla="*/ 254758 h 782471"/>
                <a:gd name="connsiteX37" fmla="*/ 1191904 w 2984311"/>
                <a:gd name="connsiteY37" fmla="*/ 268406 h 782471"/>
                <a:gd name="connsiteX38" fmla="*/ 1160060 w 2984311"/>
                <a:gd name="connsiteY38" fmla="*/ 272955 h 782471"/>
                <a:gd name="connsiteX39" fmla="*/ 1105468 w 2984311"/>
                <a:gd name="connsiteY39" fmla="*/ 291152 h 782471"/>
                <a:gd name="connsiteX40" fmla="*/ 1073624 w 2984311"/>
                <a:gd name="connsiteY40" fmla="*/ 304800 h 782471"/>
                <a:gd name="connsiteX41" fmla="*/ 896203 w 2984311"/>
                <a:gd name="connsiteY41" fmla="*/ 309349 h 782471"/>
                <a:gd name="connsiteX42" fmla="*/ 868907 w 2984311"/>
                <a:gd name="connsiteY42" fmla="*/ 322997 h 782471"/>
                <a:gd name="connsiteX43" fmla="*/ 855260 w 2984311"/>
                <a:gd name="connsiteY43" fmla="*/ 327546 h 782471"/>
                <a:gd name="connsiteX44" fmla="*/ 782471 w 2984311"/>
                <a:gd name="connsiteY44" fmla="*/ 322997 h 782471"/>
                <a:gd name="connsiteX45" fmla="*/ 768824 w 2984311"/>
                <a:gd name="connsiteY45" fmla="*/ 318448 h 782471"/>
                <a:gd name="connsiteX46" fmla="*/ 723331 w 2984311"/>
                <a:gd name="connsiteY46" fmla="*/ 304800 h 782471"/>
                <a:gd name="connsiteX47" fmla="*/ 709683 w 2984311"/>
                <a:gd name="connsiteY47" fmla="*/ 300251 h 782471"/>
                <a:gd name="connsiteX48" fmla="*/ 696036 w 2984311"/>
                <a:gd name="connsiteY48" fmla="*/ 295702 h 782471"/>
                <a:gd name="connsiteX49" fmla="*/ 641445 w 2984311"/>
                <a:gd name="connsiteY49" fmla="*/ 291152 h 782471"/>
                <a:gd name="connsiteX50" fmla="*/ 591403 w 2984311"/>
                <a:gd name="connsiteY50" fmla="*/ 282054 h 782471"/>
                <a:gd name="connsiteX51" fmla="*/ 573206 w 2984311"/>
                <a:gd name="connsiteY51" fmla="*/ 277505 h 782471"/>
                <a:gd name="connsiteX52" fmla="*/ 545910 w 2984311"/>
                <a:gd name="connsiteY52" fmla="*/ 268406 h 782471"/>
                <a:gd name="connsiteX53" fmla="*/ 514066 w 2984311"/>
                <a:gd name="connsiteY53" fmla="*/ 263857 h 782471"/>
                <a:gd name="connsiteX54" fmla="*/ 491319 w 2984311"/>
                <a:gd name="connsiteY54" fmla="*/ 259308 h 782471"/>
                <a:gd name="connsiteX55" fmla="*/ 459474 w 2984311"/>
                <a:gd name="connsiteY55" fmla="*/ 254758 h 782471"/>
                <a:gd name="connsiteX56" fmla="*/ 432179 w 2984311"/>
                <a:gd name="connsiteY56" fmla="*/ 236561 h 782471"/>
                <a:gd name="connsiteX57" fmla="*/ 423080 w 2984311"/>
                <a:gd name="connsiteY57" fmla="*/ 222913 h 782471"/>
                <a:gd name="connsiteX58" fmla="*/ 404883 w 2984311"/>
                <a:gd name="connsiteY58" fmla="*/ 213815 h 782471"/>
                <a:gd name="connsiteX59" fmla="*/ 391236 w 2984311"/>
                <a:gd name="connsiteY59" fmla="*/ 204716 h 782471"/>
                <a:gd name="connsiteX60" fmla="*/ 373039 w 2984311"/>
                <a:gd name="connsiteY60" fmla="*/ 177421 h 782471"/>
                <a:gd name="connsiteX61" fmla="*/ 350292 w 2984311"/>
                <a:gd name="connsiteY61" fmla="*/ 150125 h 782471"/>
                <a:gd name="connsiteX62" fmla="*/ 322997 w 2984311"/>
                <a:gd name="connsiteY62" fmla="*/ 131928 h 782471"/>
                <a:gd name="connsiteX63" fmla="*/ 295701 w 2984311"/>
                <a:gd name="connsiteY63" fmla="*/ 113731 h 782471"/>
                <a:gd name="connsiteX64" fmla="*/ 286603 w 2984311"/>
                <a:gd name="connsiteY64" fmla="*/ 100084 h 782471"/>
                <a:gd name="connsiteX65" fmla="*/ 272955 w 2984311"/>
                <a:gd name="connsiteY65" fmla="*/ 95534 h 782471"/>
                <a:gd name="connsiteX66" fmla="*/ 259307 w 2984311"/>
                <a:gd name="connsiteY66" fmla="*/ 86436 h 782471"/>
                <a:gd name="connsiteX67" fmla="*/ 232012 w 2984311"/>
                <a:gd name="connsiteY67" fmla="*/ 77337 h 782471"/>
                <a:gd name="connsiteX68" fmla="*/ 218364 w 2984311"/>
                <a:gd name="connsiteY68" fmla="*/ 72788 h 782471"/>
                <a:gd name="connsiteX69" fmla="*/ 204716 w 2984311"/>
                <a:gd name="connsiteY69" fmla="*/ 68239 h 782471"/>
                <a:gd name="connsiteX70" fmla="*/ 191068 w 2984311"/>
                <a:gd name="connsiteY70" fmla="*/ 59140 h 782471"/>
                <a:gd name="connsiteX71" fmla="*/ 163773 w 2984311"/>
                <a:gd name="connsiteY71" fmla="*/ 50042 h 782471"/>
                <a:gd name="connsiteX72" fmla="*/ 136477 w 2984311"/>
                <a:gd name="connsiteY72" fmla="*/ 40943 h 782471"/>
                <a:gd name="connsiteX73" fmla="*/ 122830 w 2984311"/>
                <a:gd name="connsiteY73" fmla="*/ 36394 h 782471"/>
                <a:gd name="connsiteX74" fmla="*/ 0 w 2984311"/>
                <a:gd name="connsiteY74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20369 w 2984311"/>
                <a:gd name="connsiteY5" fmla="*/ 491319 h 782471"/>
                <a:gd name="connsiteX6" fmla="*/ 2370161 w 2984311"/>
                <a:gd name="connsiteY6" fmla="*/ 459475 h 782471"/>
                <a:gd name="connsiteX7" fmla="*/ 2247331 w 2984311"/>
                <a:gd name="connsiteY7" fmla="*/ 413982 h 782471"/>
                <a:gd name="connsiteX8" fmla="*/ 2233683 w 2984311"/>
                <a:gd name="connsiteY8" fmla="*/ 409433 h 782471"/>
                <a:gd name="connsiteX9" fmla="*/ 2197290 w 2984311"/>
                <a:gd name="connsiteY9" fmla="*/ 423081 h 782471"/>
                <a:gd name="connsiteX10" fmla="*/ 2056263 w 2984311"/>
                <a:gd name="connsiteY10" fmla="*/ 477672 h 782471"/>
                <a:gd name="connsiteX11" fmla="*/ 1969827 w 2984311"/>
                <a:gd name="connsiteY11" fmla="*/ 468573 h 782471"/>
                <a:gd name="connsiteX12" fmla="*/ 1883391 w 2984311"/>
                <a:gd name="connsiteY12" fmla="*/ 477672 h 782471"/>
                <a:gd name="connsiteX13" fmla="*/ 1796955 w 2984311"/>
                <a:gd name="connsiteY13" fmla="*/ 527713 h 782471"/>
                <a:gd name="connsiteX14" fmla="*/ 1733266 w 2984311"/>
                <a:gd name="connsiteY14" fmla="*/ 509516 h 782471"/>
                <a:gd name="connsiteX15" fmla="*/ 1728716 w 2984311"/>
                <a:gd name="connsiteY15" fmla="*/ 495869 h 782471"/>
                <a:gd name="connsiteX16" fmla="*/ 1724167 w 2984311"/>
                <a:gd name="connsiteY16" fmla="*/ 450376 h 782471"/>
                <a:gd name="connsiteX17" fmla="*/ 1687773 w 2984311"/>
                <a:gd name="connsiteY17" fmla="*/ 441278 h 782471"/>
                <a:gd name="connsiteX18" fmla="*/ 1665027 w 2984311"/>
                <a:gd name="connsiteY18" fmla="*/ 400334 h 782471"/>
                <a:gd name="connsiteX19" fmla="*/ 1646830 w 2984311"/>
                <a:gd name="connsiteY19" fmla="*/ 373039 h 782471"/>
                <a:gd name="connsiteX20" fmla="*/ 1633182 w 2984311"/>
                <a:gd name="connsiteY20" fmla="*/ 363940 h 782471"/>
                <a:gd name="connsiteX21" fmla="*/ 1601337 w 2984311"/>
                <a:gd name="connsiteY21" fmla="*/ 345743 h 782471"/>
                <a:gd name="connsiteX22" fmla="*/ 1587689 w 2984311"/>
                <a:gd name="connsiteY22" fmla="*/ 318448 h 782471"/>
                <a:gd name="connsiteX23" fmla="*/ 1574042 w 2984311"/>
                <a:gd name="connsiteY23" fmla="*/ 309349 h 782471"/>
                <a:gd name="connsiteX24" fmla="*/ 1542197 w 2984311"/>
                <a:gd name="connsiteY24" fmla="*/ 286603 h 782471"/>
                <a:gd name="connsiteX25" fmla="*/ 1501254 w 2984311"/>
                <a:gd name="connsiteY25" fmla="*/ 277505 h 782471"/>
                <a:gd name="connsiteX26" fmla="*/ 1473958 w 2984311"/>
                <a:gd name="connsiteY26" fmla="*/ 268406 h 782471"/>
                <a:gd name="connsiteX27" fmla="*/ 1460310 w 2984311"/>
                <a:gd name="connsiteY27" fmla="*/ 259308 h 782471"/>
                <a:gd name="connsiteX28" fmla="*/ 1433015 w 2984311"/>
                <a:gd name="connsiteY28" fmla="*/ 250209 h 782471"/>
                <a:gd name="connsiteX29" fmla="*/ 1360227 w 2984311"/>
                <a:gd name="connsiteY29" fmla="*/ 236561 h 782471"/>
                <a:gd name="connsiteX30" fmla="*/ 1332931 w 2984311"/>
                <a:gd name="connsiteY30" fmla="*/ 227463 h 782471"/>
                <a:gd name="connsiteX31" fmla="*/ 1319283 w 2984311"/>
                <a:gd name="connsiteY31" fmla="*/ 222913 h 782471"/>
                <a:gd name="connsiteX32" fmla="*/ 1278340 w 2984311"/>
                <a:gd name="connsiteY32" fmla="*/ 227463 h 782471"/>
                <a:gd name="connsiteX33" fmla="*/ 1264692 w 2984311"/>
                <a:gd name="connsiteY33" fmla="*/ 236561 h 782471"/>
                <a:gd name="connsiteX34" fmla="*/ 1246495 w 2984311"/>
                <a:gd name="connsiteY34" fmla="*/ 241111 h 782471"/>
                <a:gd name="connsiteX35" fmla="*/ 1219200 w 2984311"/>
                <a:gd name="connsiteY35" fmla="*/ 254758 h 782471"/>
                <a:gd name="connsiteX36" fmla="*/ 1191904 w 2984311"/>
                <a:gd name="connsiteY36" fmla="*/ 268406 h 782471"/>
                <a:gd name="connsiteX37" fmla="*/ 1160060 w 2984311"/>
                <a:gd name="connsiteY37" fmla="*/ 272955 h 782471"/>
                <a:gd name="connsiteX38" fmla="*/ 1105468 w 2984311"/>
                <a:gd name="connsiteY38" fmla="*/ 291152 h 782471"/>
                <a:gd name="connsiteX39" fmla="*/ 1073624 w 2984311"/>
                <a:gd name="connsiteY39" fmla="*/ 304800 h 782471"/>
                <a:gd name="connsiteX40" fmla="*/ 896203 w 2984311"/>
                <a:gd name="connsiteY40" fmla="*/ 309349 h 782471"/>
                <a:gd name="connsiteX41" fmla="*/ 868907 w 2984311"/>
                <a:gd name="connsiteY41" fmla="*/ 322997 h 782471"/>
                <a:gd name="connsiteX42" fmla="*/ 855260 w 2984311"/>
                <a:gd name="connsiteY42" fmla="*/ 327546 h 782471"/>
                <a:gd name="connsiteX43" fmla="*/ 782471 w 2984311"/>
                <a:gd name="connsiteY43" fmla="*/ 322997 h 782471"/>
                <a:gd name="connsiteX44" fmla="*/ 768824 w 2984311"/>
                <a:gd name="connsiteY44" fmla="*/ 318448 h 782471"/>
                <a:gd name="connsiteX45" fmla="*/ 723331 w 2984311"/>
                <a:gd name="connsiteY45" fmla="*/ 304800 h 782471"/>
                <a:gd name="connsiteX46" fmla="*/ 709683 w 2984311"/>
                <a:gd name="connsiteY46" fmla="*/ 300251 h 782471"/>
                <a:gd name="connsiteX47" fmla="*/ 696036 w 2984311"/>
                <a:gd name="connsiteY47" fmla="*/ 295702 h 782471"/>
                <a:gd name="connsiteX48" fmla="*/ 641445 w 2984311"/>
                <a:gd name="connsiteY48" fmla="*/ 291152 h 782471"/>
                <a:gd name="connsiteX49" fmla="*/ 591403 w 2984311"/>
                <a:gd name="connsiteY49" fmla="*/ 282054 h 782471"/>
                <a:gd name="connsiteX50" fmla="*/ 573206 w 2984311"/>
                <a:gd name="connsiteY50" fmla="*/ 277505 h 782471"/>
                <a:gd name="connsiteX51" fmla="*/ 545910 w 2984311"/>
                <a:gd name="connsiteY51" fmla="*/ 268406 h 782471"/>
                <a:gd name="connsiteX52" fmla="*/ 514066 w 2984311"/>
                <a:gd name="connsiteY52" fmla="*/ 263857 h 782471"/>
                <a:gd name="connsiteX53" fmla="*/ 491319 w 2984311"/>
                <a:gd name="connsiteY53" fmla="*/ 259308 h 782471"/>
                <a:gd name="connsiteX54" fmla="*/ 459474 w 2984311"/>
                <a:gd name="connsiteY54" fmla="*/ 254758 h 782471"/>
                <a:gd name="connsiteX55" fmla="*/ 432179 w 2984311"/>
                <a:gd name="connsiteY55" fmla="*/ 236561 h 782471"/>
                <a:gd name="connsiteX56" fmla="*/ 423080 w 2984311"/>
                <a:gd name="connsiteY56" fmla="*/ 222913 h 782471"/>
                <a:gd name="connsiteX57" fmla="*/ 404883 w 2984311"/>
                <a:gd name="connsiteY57" fmla="*/ 213815 h 782471"/>
                <a:gd name="connsiteX58" fmla="*/ 391236 w 2984311"/>
                <a:gd name="connsiteY58" fmla="*/ 204716 h 782471"/>
                <a:gd name="connsiteX59" fmla="*/ 373039 w 2984311"/>
                <a:gd name="connsiteY59" fmla="*/ 177421 h 782471"/>
                <a:gd name="connsiteX60" fmla="*/ 350292 w 2984311"/>
                <a:gd name="connsiteY60" fmla="*/ 150125 h 782471"/>
                <a:gd name="connsiteX61" fmla="*/ 322997 w 2984311"/>
                <a:gd name="connsiteY61" fmla="*/ 131928 h 782471"/>
                <a:gd name="connsiteX62" fmla="*/ 295701 w 2984311"/>
                <a:gd name="connsiteY62" fmla="*/ 113731 h 782471"/>
                <a:gd name="connsiteX63" fmla="*/ 286603 w 2984311"/>
                <a:gd name="connsiteY63" fmla="*/ 100084 h 782471"/>
                <a:gd name="connsiteX64" fmla="*/ 272955 w 2984311"/>
                <a:gd name="connsiteY64" fmla="*/ 95534 h 782471"/>
                <a:gd name="connsiteX65" fmla="*/ 259307 w 2984311"/>
                <a:gd name="connsiteY65" fmla="*/ 86436 h 782471"/>
                <a:gd name="connsiteX66" fmla="*/ 232012 w 2984311"/>
                <a:gd name="connsiteY66" fmla="*/ 77337 h 782471"/>
                <a:gd name="connsiteX67" fmla="*/ 218364 w 2984311"/>
                <a:gd name="connsiteY67" fmla="*/ 72788 h 782471"/>
                <a:gd name="connsiteX68" fmla="*/ 204716 w 2984311"/>
                <a:gd name="connsiteY68" fmla="*/ 68239 h 782471"/>
                <a:gd name="connsiteX69" fmla="*/ 191068 w 2984311"/>
                <a:gd name="connsiteY69" fmla="*/ 59140 h 782471"/>
                <a:gd name="connsiteX70" fmla="*/ 163773 w 2984311"/>
                <a:gd name="connsiteY70" fmla="*/ 50042 h 782471"/>
                <a:gd name="connsiteX71" fmla="*/ 136477 w 2984311"/>
                <a:gd name="connsiteY71" fmla="*/ 40943 h 782471"/>
                <a:gd name="connsiteX72" fmla="*/ 122830 w 2984311"/>
                <a:gd name="connsiteY72" fmla="*/ 36394 h 782471"/>
                <a:gd name="connsiteX73" fmla="*/ 0 w 2984311"/>
                <a:gd name="connsiteY73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20369 w 2984311"/>
                <a:gd name="connsiteY5" fmla="*/ 491319 h 782471"/>
                <a:gd name="connsiteX6" fmla="*/ 2370161 w 2984311"/>
                <a:gd name="connsiteY6" fmla="*/ 459475 h 782471"/>
                <a:gd name="connsiteX7" fmla="*/ 2247331 w 2984311"/>
                <a:gd name="connsiteY7" fmla="*/ 413982 h 782471"/>
                <a:gd name="connsiteX8" fmla="*/ 2233683 w 2984311"/>
                <a:gd name="connsiteY8" fmla="*/ 409433 h 782471"/>
                <a:gd name="connsiteX9" fmla="*/ 2197290 w 2984311"/>
                <a:gd name="connsiteY9" fmla="*/ 423081 h 782471"/>
                <a:gd name="connsiteX10" fmla="*/ 2056263 w 2984311"/>
                <a:gd name="connsiteY10" fmla="*/ 477672 h 782471"/>
                <a:gd name="connsiteX11" fmla="*/ 1969827 w 2984311"/>
                <a:gd name="connsiteY11" fmla="*/ 468573 h 782471"/>
                <a:gd name="connsiteX12" fmla="*/ 1883391 w 2984311"/>
                <a:gd name="connsiteY12" fmla="*/ 477672 h 782471"/>
                <a:gd name="connsiteX13" fmla="*/ 1796955 w 2984311"/>
                <a:gd name="connsiteY13" fmla="*/ 527713 h 782471"/>
                <a:gd name="connsiteX14" fmla="*/ 1733266 w 2984311"/>
                <a:gd name="connsiteY14" fmla="*/ 509516 h 782471"/>
                <a:gd name="connsiteX15" fmla="*/ 1728716 w 2984311"/>
                <a:gd name="connsiteY15" fmla="*/ 495869 h 782471"/>
                <a:gd name="connsiteX16" fmla="*/ 1724167 w 2984311"/>
                <a:gd name="connsiteY16" fmla="*/ 450376 h 782471"/>
                <a:gd name="connsiteX17" fmla="*/ 1687773 w 2984311"/>
                <a:gd name="connsiteY17" fmla="*/ 441278 h 782471"/>
                <a:gd name="connsiteX18" fmla="*/ 1665027 w 2984311"/>
                <a:gd name="connsiteY18" fmla="*/ 400334 h 782471"/>
                <a:gd name="connsiteX19" fmla="*/ 1646830 w 2984311"/>
                <a:gd name="connsiteY19" fmla="*/ 373039 h 782471"/>
                <a:gd name="connsiteX20" fmla="*/ 1601337 w 2984311"/>
                <a:gd name="connsiteY20" fmla="*/ 345743 h 782471"/>
                <a:gd name="connsiteX21" fmla="*/ 1587689 w 2984311"/>
                <a:gd name="connsiteY21" fmla="*/ 318448 h 782471"/>
                <a:gd name="connsiteX22" fmla="*/ 1574042 w 2984311"/>
                <a:gd name="connsiteY22" fmla="*/ 309349 h 782471"/>
                <a:gd name="connsiteX23" fmla="*/ 1542197 w 2984311"/>
                <a:gd name="connsiteY23" fmla="*/ 286603 h 782471"/>
                <a:gd name="connsiteX24" fmla="*/ 1501254 w 2984311"/>
                <a:gd name="connsiteY24" fmla="*/ 277505 h 782471"/>
                <a:gd name="connsiteX25" fmla="*/ 1473958 w 2984311"/>
                <a:gd name="connsiteY25" fmla="*/ 268406 h 782471"/>
                <a:gd name="connsiteX26" fmla="*/ 1460310 w 2984311"/>
                <a:gd name="connsiteY26" fmla="*/ 259308 h 782471"/>
                <a:gd name="connsiteX27" fmla="*/ 1433015 w 2984311"/>
                <a:gd name="connsiteY27" fmla="*/ 250209 h 782471"/>
                <a:gd name="connsiteX28" fmla="*/ 1360227 w 2984311"/>
                <a:gd name="connsiteY28" fmla="*/ 236561 h 782471"/>
                <a:gd name="connsiteX29" fmla="*/ 1332931 w 2984311"/>
                <a:gd name="connsiteY29" fmla="*/ 227463 h 782471"/>
                <a:gd name="connsiteX30" fmla="*/ 1319283 w 2984311"/>
                <a:gd name="connsiteY30" fmla="*/ 222913 h 782471"/>
                <a:gd name="connsiteX31" fmla="*/ 1278340 w 2984311"/>
                <a:gd name="connsiteY31" fmla="*/ 227463 h 782471"/>
                <a:gd name="connsiteX32" fmla="*/ 1264692 w 2984311"/>
                <a:gd name="connsiteY32" fmla="*/ 236561 h 782471"/>
                <a:gd name="connsiteX33" fmla="*/ 1246495 w 2984311"/>
                <a:gd name="connsiteY33" fmla="*/ 241111 h 782471"/>
                <a:gd name="connsiteX34" fmla="*/ 1219200 w 2984311"/>
                <a:gd name="connsiteY34" fmla="*/ 254758 h 782471"/>
                <a:gd name="connsiteX35" fmla="*/ 1191904 w 2984311"/>
                <a:gd name="connsiteY35" fmla="*/ 268406 h 782471"/>
                <a:gd name="connsiteX36" fmla="*/ 1160060 w 2984311"/>
                <a:gd name="connsiteY36" fmla="*/ 272955 h 782471"/>
                <a:gd name="connsiteX37" fmla="*/ 1105468 w 2984311"/>
                <a:gd name="connsiteY37" fmla="*/ 291152 h 782471"/>
                <a:gd name="connsiteX38" fmla="*/ 1073624 w 2984311"/>
                <a:gd name="connsiteY38" fmla="*/ 304800 h 782471"/>
                <a:gd name="connsiteX39" fmla="*/ 896203 w 2984311"/>
                <a:gd name="connsiteY39" fmla="*/ 309349 h 782471"/>
                <a:gd name="connsiteX40" fmla="*/ 868907 w 2984311"/>
                <a:gd name="connsiteY40" fmla="*/ 322997 h 782471"/>
                <a:gd name="connsiteX41" fmla="*/ 855260 w 2984311"/>
                <a:gd name="connsiteY41" fmla="*/ 327546 h 782471"/>
                <a:gd name="connsiteX42" fmla="*/ 782471 w 2984311"/>
                <a:gd name="connsiteY42" fmla="*/ 322997 h 782471"/>
                <a:gd name="connsiteX43" fmla="*/ 768824 w 2984311"/>
                <a:gd name="connsiteY43" fmla="*/ 318448 h 782471"/>
                <a:gd name="connsiteX44" fmla="*/ 723331 w 2984311"/>
                <a:gd name="connsiteY44" fmla="*/ 304800 h 782471"/>
                <a:gd name="connsiteX45" fmla="*/ 709683 w 2984311"/>
                <a:gd name="connsiteY45" fmla="*/ 300251 h 782471"/>
                <a:gd name="connsiteX46" fmla="*/ 696036 w 2984311"/>
                <a:gd name="connsiteY46" fmla="*/ 295702 h 782471"/>
                <a:gd name="connsiteX47" fmla="*/ 641445 w 2984311"/>
                <a:gd name="connsiteY47" fmla="*/ 291152 h 782471"/>
                <a:gd name="connsiteX48" fmla="*/ 591403 w 2984311"/>
                <a:gd name="connsiteY48" fmla="*/ 282054 h 782471"/>
                <a:gd name="connsiteX49" fmla="*/ 573206 w 2984311"/>
                <a:gd name="connsiteY49" fmla="*/ 277505 h 782471"/>
                <a:gd name="connsiteX50" fmla="*/ 545910 w 2984311"/>
                <a:gd name="connsiteY50" fmla="*/ 268406 h 782471"/>
                <a:gd name="connsiteX51" fmla="*/ 514066 w 2984311"/>
                <a:gd name="connsiteY51" fmla="*/ 263857 h 782471"/>
                <a:gd name="connsiteX52" fmla="*/ 491319 w 2984311"/>
                <a:gd name="connsiteY52" fmla="*/ 259308 h 782471"/>
                <a:gd name="connsiteX53" fmla="*/ 459474 w 2984311"/>
                <a:gd name="connsiteY53" fmla="*/ 254758 h 782471"/>
                <a:gd name="connsiteX54" fmla="*/ 432179 w 2984311"/>
                <a:gd name="connsiteY54" fmla="*/ 236561 h 782471"/>
                <a:gd name="connsiteX55" fmla="*/ 423080 w 2984311"/>
                <a:gd name="connsiteY55" fmla="*/ 222913 h 782471"/>
                <a:gd name="connsiteX56" fmla="*/ 404883 w 2984311"/>
                <a:gd name="connsiteY56" fmla="*/ 213815 h 782471"/>
                <a:gd name="connsiteX57" fmla="*/ 391236 w 2984311"/>
                <a:gd name="connsiteY57" fmla="*/ 204716 h 782471"/>
                <a:gd name="connsiteX58" fmla="*/ 373039 w 2984311"/>
                <a:gd name="connsiteY58" fmla="*/ 177421 h 782471"/>
                <a:gd name="connsiteX59" fmla="*/ 350292 w 2984311"/>
                <a:gd name="connsiteY59" fmla="*/ 150125 h 782471"/>
                <a:gd name="connsiteX60" fmla="*/ 322997 w 2984311"/>
                <a:gd name="connsiteY60" fmla="*/ 131928 h 782471"/>
                <a:gd name="connsiteX61" fmla="*/ 295701 w 2984311"/>
                <a:gd name="connsiteY61" fmla="*/ 113731 h 782471"/>
                <a:gd name="connsiteX62" fmla="*/ 286603 w 2984311"/>
                <a:gd name="connsiteY62" fmla="*/ 100084 h 782471"/>
                <a:gd name="connsiteX63" fmla="*/ 272955 w 2984311"/>
                <a:gd name="connsiteY63" fmla="*/ 95534 h 782471"/>
                <a:gd name="connsiteX64" fmla="*/ 259307 w 2984311"/>
                <a:gd name="connsiteY64" fmla="*/ 86436 h 782471"/>
                <a:gd name="connsiteX65" fmla="*/ 232012 w 2984311"/>
                <a:gd name="connsiteY65" fmla="*/ 77337 h 782471"/>
                <a:gd name="connsiteX66" fmla="*/ 218364 w 2984311"/>
                <a:gd name="connsiteY66" fmla="*/ 72788 h 782471"/>
                <a:gd name="connsiteX67" fmla="*/ 204716 w 2984311"/>
                <a:gd name="connsiteY67" fmla="*/ 68239 h 782471"/>
                <a:gd name="connsiteX68" fmla="*/ 191068 w 2984311"/>
                <a:gd name="connsiteY68" fmla="*/ 59140 h 782471"/>
                <a:gd name="connsiteX69" fmla="*/ 163773 w 2984311"/>
                <a:gd name="connsiteY69" fmla="*/ 50042 h 782471"/>
                <a:gd name="connsiteX70" fmla="*/ 136477 w 2984311"/>
                <a:gd name="connsiteY70" fmla="*/ 40943 h 782471"/>
                <a:gd name="connsiteX71" fmla="*/ 122830 w 2984311"/>
                <a:gd name="connsiteY71" fmla="*/ 36394 h 782471"/>
                <a:gd name="connsiteX72" fmla="*/ 0 w 2984311"/>
                <a:gd name="connsiteY72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20369 w 2984311"/>
                <a:gd name="connsiteY5" fmla="*/ 491319 h 782471"/>
                <a:gd name="connsiteX6" fmla="*/ 2370161 w 2984311"/>
                <a:gd name="connsiteY6" fmla="*/ 459475 h 782471"/>
                <a:gd name="connsiteX7" fmla="*/ 2247331 w 2984311"/>
                <a:gd name="connsiteY7" fmla="*/ 413982 h 782471"/>
                <a:gd name="connsiteX8" fmla="*/ 2233683 w 2984311"/>
                <a:gd name="connsiteY8" fmla="*/ 409433 h 782471"/>
                <a:gd name="connsiteX9" fmla="*/ 2197290 w 2984311"/>
                <a:gd name="connsiteY9" fmla="*/ 423081 h 782471"/>
                <a:gd name="connsiteX10" fmla="*/ 2056263 w 2984311"/>
                <a:gd name="connsiteY10" fmla="*/ 477672 h 782471"/>
                <a:gd name="connsiteX11" fmla="*/ 1969827 w 2984311"/>
                <a:gd name="connsiteY11" fmla="*/ 468573 h 782471"/>
                <a:gd name="connsiteX12" fmla="*/ 1883391 w 2984311"/>
                <a:gd name="connsiteY12" fmla="*/ 477672 h 782471"/>
                <a:gd name="connsiteX13" fmla="*/ 1796955 w 2984311"/>
                <a:gd name="connsiteY13" fmla="*/ 527713 h 782471"/>
                <a:gd name="connsiteX14" fmla="*/ 1733266 w 2984311"/>
                <a:gd name="connsiteY14" fmla="*/ 509516 h 782471"/>
                <a:gd name="connsiteX15" fmla="*/ 1728716 w 2984311"/>
                <a:gd name="connsiteY15" fmla="*/ 495869 h 782471"/>
                <a:gd name="connsiteX16" fmla="*/ 1724167 w 2984311"/>
                <a:gd name="connsiteY16" fmla="*/ 450376 h 782471"/>
                <a:gd name="connsiteX17" fmla="*/ 1687773 w 2984311"/>
                <a:gd name="connsiteY17" fmla="*/ 441278 h 782471"/>
                <a:gd name="connsiteX18" fmla="*/ 1665027 w 2984311"/>
                <a:gd name="connsiteY18" fmla="*/ 400334 h 782471"/>
                <a:gd name="connsiteX19" fmla="*/ 1646830 w 2984311"/>
                <a:gd name="connsiteY19" fmla="*/ 373039 h 782471"/>
                <a:gd name="connsiteX20" fmla="*/ 1601337 w 2984311"/>
                <a:gd name="connsiteY20" fmla="*/ 345743 h 782471"/>
                <a:gd name="connsiteX21" fmla="*/ 1587689 w 2984311"/>
                <a:gd name="connsiteY21" fmla="*/ 318448 h 782471"/>
                <a:gd name="connsiteX22" fmla="*/ 1574042 w 2984311"/>
                <a:gd name="connsiteY22" fmla="*/ 309349 h 782471"/>
                <a:gd name="connsiteX23" fmla="*/ 1501254 w 2984311"/>
                <a:gd name="connsiteY23" fmla="*/ 277505 h 782471"/>
                <a:gd name="connsiteX24" fmla="*/ 1473958 w 2984311"/>
                <a:gd name="connsiteY24" fmla="*/ 268406 h 782471"/>
                <a:gd name="connsiteX25" fmla="*/ 1460310 w 2984311"/>
                <a:gd name="connsiteY25" fmla="*/ 259308 h 782471"/>
                <a:gd name="connsiteX26" fmla="*/ 1433015 w 2984311"/>
                <a:gd name="connsiteY26" fmla="*/ 250209 h 782471"/>
                <a:gd name="connsiteX27" fmla="*/ 1360227 w 2984311"/>
                <a:gd name="connsiteY27" fmla="*/ 236561 h 782471"/>
                <a:gd name="connsiteX28" fmla="*/ 1332931 w 2984311"/>
                <a:gd name="connsiteY28" fmla="*/ 227463 h 782471"/>
                <a:gd name="connsiteX29" fmla="*/ 1319283 w 2984311"/>
                <a:gd name="connsiteY29" fmla="*/ 222913 h 782471"/>
                <a:gd name="connsiteX30" fmla="*/ 1278340 w 2984311"/>
                <a:gd name="connsiteY30" fmla="*/ 227463 h 782471"/>
                <a:gd name="connsiteX31" fmla="*/ 1264692 w 2984311"/>
                <a:gd name="connsiteY31" fmla="*/ 236561 h 782471"/>
                <a:gd name="connsiteX32" fmla="*/ 1246495 w 2984311"/>
                <a:gd name="connsiteY32" fmla="*/ 241111 h 782471"/>
                <a:gd name="connsiteX33" fmla="*/ 1219200 w 2984311"/>
                <a:gd name="connsiteY33" fmla="*/ 254758 h 782471"/>
                <a:gd name="connsiteX34" fmla="*/ 1191904 w 2984311"/>
                <a:gd name="connsiteY34" fmla="*/ 268406 h 782471"/>
                <a:gd name="connsiteX35" fmla="*/ 1160060 w 2984311"/>
                <a:gd name="connsiteY35" fmla="*/ 272955 h 782471"/>
                <a:gd name="connsiteX36" fmla="*/ 1105468 w 2984311"/>
                <a:gd name="connsiteY36" fmla="*/ 291152 h 782471"/>
                <a:gd name="connsiteX37" fmla="*/ 1073624 w 2984311"/>
                <a:gd name="connsiteY37" fmla="*/ 304800 h 782471"/>
                <a:gd name="connsiteX38" fmla="*/ 896203 w 2984311"/>
                <a:gd name="connsiteY38" fmla="*/ 309349 h 782471"/>
                <a:gd name="connsiteX39" fmla="*/ 868907 w 2984311"/>
                <a:gd name="connsiteY39" fmla="*/ 322997 h 782471"/>
                <a:gd name="connsiteX40" fmla="*/ 855260 w 2984311"/>
                <a:gd name="connsiteY40" fmla="*/ 327546 h 782471"/>
                <a:gd name="connsiteX41" fmla="*/ 782471 w 2984311"/>
                <a:gd name="connsiteY41" fmla="*/ 322997 h 782471"/>
                <a:gd name="connsiteX42" fmla="*/ 768824 w 2984311"/>
                <a:gd name="connsiteY42" fmla="*/ 318448 h 782471"/>
                <a:gd name="connsiteX43" fmla="*/ 723331 w 2984311"/>
                <a:gd name="connsiteY43" fmla="*/ 304800 h 782471"/>
                <a:gd name="connsiteX44" fmla="*/ 709683 w 2984311"/>
                <a:gd name="connsiteY44" fmla="*/ 300251 h 782471"/>
                <a:gd name="connsiteX45" fmla="*/ 696036 w 2984311"/>
                <a:gd name="connsiteY45" fmla="*/ 295702 h 782471"/>
                <a:gd name="connsiteX46" fmla="*/ 641445 w 2984311"/>
                <a:gd name="connsiteY46" fmla="*/ 291152 h 782471"/>
                <a:gd name="connsiteX47" fmla="*/ 591403 w 2984311"/>
                <a:gd name="connsiteY47" fmla="*/ 282054 h 782471"/>
                <a:gd name="connsiteX48" fmla="*/ 573206 w 2984311"/>
                <a:gd name="connsiteY48" fmla="*/ 277505 h 782471"/>
                <a:gd name="connsiteX49" fmla="*/ 545910 w 2984311"/>
                <a:gd name="connsiteY49" fmla="*/ 268406 h 782471"/>
                <a:gd name="connsiteX50" fmla="*/ 514066 w 2984311"/>
                <a:gd name="connsiteY50" fmla="*/ 263857 h 782471"/>
                <a:gd name="connsiteX51" fmla="*/ 491319 w 2984311"/>
                <a:gd name="connsiteY51" fmla="*/ 259308 h 782471"/>
                <a:gd name="connsiteX52" fmla="*/ 459474 w 2984311"/>
                <a:gd name="connsiteY52" fmla="*/ 254758 h 782471"/>
                <a:gd name="connsiteX53" fmla="*/ 432179 w 2984311"/>
                <a:gd name="connsiteY53" fmla="*/ 236561 h 782471"/>
                <a:gd name="connsiteX54" fmla="*/ 423080 w 2984311"/>
                <a:gd name="connsiteY54" fmla="*/ 222913 h 782471"/>
                <a:gd name="connsiteX55" fmla="*/ 404883 w 2984311"/>
                <a:gd name="connsiteY55" fmla="*/ 213815 h 782471"/>
                <a:gd name="connsiteX56" fmla="*/ 391236 w 2984311"/>
                <a:gd name="connsiteY56" fmla="*/ 204716 h 782471"/>
                <a:gd name="connsiteX57" fmla="*/ 373039 w 2984311"/>
                <a:gd name="connsiteY57" fmla="*/ 177421 h 782471"/>
                <a:gd name="connsiteX58" fmla="*/ 350292 w 2984311"/>
                <a:gd name="connsiteY58" fmla="*/ 150125 h 782471"/>
                <a:gd name="connsiteX59" fmla="*/ 322997 w 2984311"/>
                <a:gd name="connsiteY59" fmla="*/ 131928 h 782471"/>
                <a:gd name="connsiteX60" fmla="*/ 295701 w 2984311"/>
                <a:gd name="connsiteY60" fmla="*/ 113731 h 782471"/>
                <a:gd name="connsiteX61" fmla="*/ 286603 w 2984311"/>
                <a:gd name="connsiteY61" fmla="*/ 100084 h 782471"/>
                <a:gd name="connsiteX62" fmla="*/ 272955 w 2984311"/>
                <a:gd name="connsiteY62" fmla="*/ 95534 h 782471"/>
                <a:gd name="connsiteX63" fmla="*/ 259307 w 2984311"/>
                <a:gd name="connsiteY63" fmla="*/ 86436 h 782471"/>
                <a:gd name="connsiteX64" fmla="*/ 232012 w 2984311"/>
                <a:gd name="connsiteY64" fmla="*/ 77337 h 782471"/>
                <a:gd name="connsiteX65" fmla="*/ 218364 w 2984311"/>
                <a:gd name="connsiteY65" fmla="*/ 72788 h 782471"/>
                <a:gd name="connsiteX66" fmla="*/ 204716 w 2984311"/>
                <a:gd name="connsiteY66" fmla="*/ 68239 h 782471"/>
                <a:gd name="connsiteX67" fmla="*/ 191068 w 2984311"/>
                <a:gd name="connsiteY67" fmla="*/ 59140 h 782471"/>
                <a:gd name="connsiteX68" fmla="*/ 163773 w 2984311"/>
                <a:gd name="connsiteY68" fmla="*/ 50042 h 782471"/>
                <a:gd name="connsiteX69" fmla="*/ 136477 w 2984311"/>
                <a:gd name="connsiteY69" fmla="*/ 40943 h 782471"/>
                <a:gd name="connsiteX70" fmla="*/ 122830 w 2984311"/>
                <a:gd name="connsiteY70" fmla="*/ 36394 h 782471"/>
                <a:gd name="connsiteX71" fmla="*/ 0 w 2984311"/>
                <a:gd name="connsiteY71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20369 w 2984311"/>
                <a:gd name="connsiteY5" fmla="*/ 491319 h 782471"/>
                <a:gd name="connsiteX6" fmla="*/ 2370161 w 2984311"/>
                <a:gd name="connsiteY6" fmla="*/ 459475 h 782471"/>
                <a:gd name="connsiteX7" fmla="*/ 2247331 w 2984311"/>
                <a:gd name="connsiteY7" fmla="*/ 413982 h 782471"/>
                <a:gd name="connsiteX8" fmla="*/ 2233683 w 2984311"/>
                <a:gd name="connsiteY8" fmla="*/ 409433 h 782471"/>
                <a:gd name="connsiteX9" fmla="*/ 2197290 w 2984311"/>
                <a:gd name="connsiteY9" fmla="*/ 423081 h 782471"/>
                <a:gd name="connsiteX10" fmla="*/ 2056263 w 2984311"/>
                <a:gd name="connsiteY10" fmla="*/ 477672 h 782471"/>
                <a:gd name="connsiteX11" fmla="*/ 1969827 w 2984311"/>
                <a:gd name="connsiteY11" fmla="*/ 468573 h 782471"/>
                <a:gd name="connsiteX12" fmla="*/ 1883391 w 2984311"/>
                <a:gd name="connsiteY12" fmla="*/ 477672 h 782471"/>
                <a:gd name="connsiteX13" fmla="*/ 1796955 w 2984311"/>
                <a:gd name="connsiteY13" fmla="*/ 527713 h 782471"/>
                <a:gd name="connsiteX14" fmla="*/ 1733266 w 2984311"/>
                <a:gd name="connsiteY14" fmla="*/ 509516 h 782471"/>
                <a:gd name="connsiteX15" fmla="*/ 1728716 w 2984311"/>
                <a:gd name="connsiteY15" fmla="*/ 495869 h 782471"/>
                <a:gd name="connsiteX16" fmla="*/ 1724167 w 2984311"/>
                <a:gd name="connsiteY16" fmla="*/ 450376 h 782471"/>
                <a:gd name="connsiteX17" fmla="*/ 1687773 w 2984311"/>
                <a:gd name="connsiteY17" fmla="*/ 441278 h 782471"/>
                <a:gd name="connsiteX18" fmla="*/ 1665027 w 2984311"/>
                <a:gd name="connsiteY18" fmla="*/ 400334 h 782471"/>
                <a:gd name="connsiteX19" fmla="*/ 1646830 w 2984311"/>
                <a:gd name="connsiteY19" fmla="*/ 373039 h 782471"/>
                <a:gd name="connsiteX20" fmla="*/ 1601337 w 2984311"/>
                <a:gd name="connsiteY20" fmla="*/ 345743 h 782471"/>
                <a:gd name="connsiteX21" fmla="*/ 1587689 w 2984311"/>
                <a:gd name="connsiteY21" fmla="*/ 318448 h 782471"/>
                <a:gd name="connsiteX22" fmla="*/ 1574042 w 2984311"/>
                <a:gd name="connsiteY22" fmla="*/ 309349 h 782471"/>
                <a:gd name="connsiteX23" fmla="*/ 1501254 w 2984311"/>
                <a:gd name="connsiteY23" fmla="*/ 277505 h 782471"/>
                <a:gd name="connsiteX24" fmla="*/ 1473958 w 2984311"/>
                <a:gd name="connsiteY24" fmla="*/ 268406 h 782471"/>
                <a:gd name="connsiteX25" fmla="*/ 1460310 w 2984311"/>
                <a:gd name="connsiteY25" fmla="*/ 259308 h 782471"/>
                <a:gd name="connsiteX26" fmla="*/ 1433015 w 2984311"/>
                <a:gd name="connsiteY26" fmla="*/ 250209 h 782471"/>
                <a:gd name="connsiteX27" fmla="*/ 1360227 w 2984311"/>
                <a:gd name="connsiteY27" fmla="*/ 236561 h 782471"/>
                <a:gd name="connsiteX28" fmla="*/ 1332931 w 2984311"/>
                <a:gd name="connsiteY28" fmla="*/ 227463 h 782471"/>
                <a:gd name="connsiteX29" fmla="*/ 1278340 w 2984311"/>
                <a:gd name="connsiteY29" fmla="*/ 227463 h 782471"/>
                <a:gd name="connsiteX30" fmla="*/ 1264692 w 2984311"/>
                <a:gd name="connsiteY30" fmla="*/ 236561 h 782471"/>
                <a:gd name="connsiteX31" fmla="*/ 1246495 w 2984311"/>
                <a:gd name="connsiteY31" fmla="*/ 241111 h 782471"/>
                <a:gd name="connsiteX32" fmla="*/ 1219200 w 2984311"/>
                <a:gd name="connsiteY32" fmla="*/ 254758 h 782471"/>
                <a:gd name="connsiteX33" fmla="*/ 1191904 w 2984311"/>
                <a:gd name="connsiteY33" fmla="*/ 268406 h 782471"/>
                <a:gd name="connsiteX34" fmla="*/ 1160060 w 2984311"/>
                <a:gd name="connsiteY34" fmla="*/ 272955 h 782471"/>
                <a:gd name="connsiteX35" fmla="*/ 1105468 w 2984311"/>
                <a:gd name="connsiteY35" fmla="*/ 291152 h 782471"/>
                <a:gd name="connsiteX36" fmla="*/ 1073624 w 2984311"/>
                <a:gd name="connsiteY36" fmla="*/ 304800 h 782471"/>
                <a:gd name="connsiteX37" fmla="*/ 896203 w 2984311"/>
                <a:gd name="connsiteY37" fmla="*/ 309349 h 782471"/>
                <a:gd name="connsiteX38" fmla="*/ 868907 w 2984311"/>
                <a:gd name="connsiteY38" fmla="*/ 322997 h 782471"/>
                <a:gd name="connsiteX39" fmla="*/ 855260 w 2984311"/>
                <a:gd name="connsiteY39" fmla="*/ 327546 h 782471"/>
                <a:gd name="connsiteX40" fmla="*/ 782471 w 2984311"/>
                <a:gd name="connsiteY40" fmla="*/ 322997 h 782471"/>
                <a:gd name="connsiteX41" fmla="*/ 768824 w 2984311"/>
                <a:gd name="connsiteY41" fmla="*/ 318448 h 782471"/>
                <a:gd name="connsiteX42" fmla="*/ 723331 w 2984311"/>
                <a:gd name="connsiteY42" fmla="*/ 304800 h 782471"/>
                <a:gd name="connsiteX43" fmla="*/ 709683 w 2984311"/>
                <a:gd name="connsiteY43" fmla="*/ 300251 h 782471"/>
                <a:gd name="connsiteX44" fmla="*/ 696036 w 2984311"/>
                <a:gd name="connsiteY44" fmla="*/ 295702 h 782471"/>
                <a:gd name="connsiteX45" fmla="*/ 641445 w 2984311"/>
                <a:gd name="connsiteY45" fmla="*/ 291152 h 782471"/>
                <a:gd name="connsiteX46" fmla="*/ 591403 w 2984311"/>
                <a:gd name="connsiteY46" fmla="*/ 282054 h 782471"/>
                <a:gd name="connsiteX47" fmla="*/ 573206 w 2984311"/>
                <a:gd name="connsiteY47" fmla="*/ 277505 h 782471"/>
                <a:gd name="connsiteX48" fmla="*/ 545910 w 2984311"/>
                <a:gd name="connsiteY48" fmla="*/ 268406 h 782471"/>
                <a:gd name="connsiteX49" fmla="*/ 514066 w 2984311"/>
                <a:gd name="connsiteY49" fmla="*/ 263857 h 782471"/>
                <a:gd name="connsiteX50" fmla="*/ 491319 w 2984311"/>
                <a:gd name="connsiteY50" fmla="*/ 259308 h 782471"/>
                <a:gd name="connsiteX51" fmla="*/ 459474 w 2984311"/>
                <a:gd name="connsiteY51" fmla="*/ 254758 h 782471"/>
                <a:gd name="connsiteX52" fmla="*/ 432179 w 2984311"/>
                <a:gd name="connsiteY52" fmla="*/ 236561 h 782471"/>
                <a:gd name="connsiteX53" fmla="*/ 423080 w 2984311"/>
                <a:gd name="connsiteY53" fmla="*/ 222913 h 782471"/>
                <a:gd name="connsiteX54" fmla="*/ 404883 w 2984311"/>
                <a:gd name="connsiteY54" fmla="*/ 213815 h 782471"/>
                <a:gd name="connsiteX55" fmla="*/ 391236 w 2984311"/>
                <a:gd name="connsiteY55" fmla="*/ 204716 h 782471"/>
                <a:gd name="connsiteX56" fmla="*/ 373039 w 2984311"/>
                <a:gd name="connsiteY56" fmla="*/ 177421 h 782471"/>
                <a:gd name="connsiteX57" fmla="*/ 350292 w 2984311"/>
                <a:gd name="connsiteY57" fmla="*/ 150125 h 782471"/>
                <a:gd name="connsiteX58" fmla="*/ 322997 w 2984311"/>
                <a:gd name="connsiteY58" fmla="*/ 131928 h 782471"/>
                <a:gd name="connsiteX59" fmla="*/ 295701 w 2984311"/>
                <a:gd name="connsiteY59" fmla="*/ 113731 h 782471"/>
                <a:gd name="connsiteX60" fmla="*/ 286603 w 2984311"/>
                <a:gd name="connsiteY60" fmla="*/ 100084 h 782471"/>
                <a:gd name="connsiteX61" fmla="*/ 272955 w 2984311"/>
                <a:gd name="connsiteY61" fmla="*/ 95534 h 782471"/>
                <a:gd name="connsiteX62" fmla="*/ 259307 w 2984311"/>
                <a:gd name="connsiteY62" fmla="*/ 86436 h 782471"/>
                <a:gd name="connsiteX63" fmla="*/ 232012 w 2984311"/>
                <a:gd name="connsiteY63" fmla="*/ 77337 h 782471"/>
                <a:gd name="connsiteX64" fmla="*/ 218364 w 2984311"/>
                <a:gd name="connsiteY64" fmla="*/ 72788 h 782471"/>
                <a:gd name="connsiteX65" fmla="*/ 204716 w 2984311"/>
                <a:gd name="connsiteY65" fmla="*/ 68239 h 782471"/>
                <a:gd name="connsiteX66" fmla="*/ 191068 w 2984311"/>
                <a:gd name="connsiteY66" fmla="*/ 59140 h 782471"/>
                <a:gd name="connsiteX67" fmla="*/ 163773 w 2984311"/>
                <a:gd name="connsiteY67" fmla="*/ 50042 h 782471"/>
                <a:gd name="connsiteX68" fmla="*/ 136477 w 2984311"/>
                <a:gd name="connsiteY68" fmla="*/ 40943 h 782471"/>
                <a:gd name="connsiteX69" fmla="*/ 122830 w 2984311"/>
                <a:gd name="connsiteY69" fmla="*/ 36394 h 782471"/>
                <a:gd name="connsiteX70" fmla="*/ 0 w 2984311"/>
                <a:gd name="connsiteY70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20369 w 2984311"/>
                <a:gd name="connsiteY5" fmla="*/ 491319 h 782471"/>
                <a:gd name="connsiteX6" fmla="*/ 2370161 w 2984311"/>
                <a:gd name="connsiteY6" fmla="*/ 459475 h 782471"/>
                <a:gd name="connsiteX7" fmla="*/ 2247331 w 2984311"/>
                <a:gd name="connsiteY7" fmla="*/ 413982 h 782471"/>
                <a:gd name="connsiteX8" fmla="*/ 2233683 w 2984311"/>
                <a:gd name="connsiteY8" fmla="*/ 409433 h 782471"/>
                <a:gd name="connsiteX9" fmla="*/ 2197290 w 2984311"/>
                <a:gd name="connsiteY9" fmla="*/ 423081 h 782471"/>
                <a:gd name="connsiteX10" fmla="*/ 2056263 w 2984311"/>
                <a:gd name="connsiteY10" fmla="*/ 477672 h 782471"/>
                <a:gd name="connsiteX11" fmla="*/ 1969827 w 2984311"/>
                <a:gd name="connsiteY11" fmla="*/ 468573 h 782471"/>
                <a:gd name="connsiteX12" fmla="*/ 1883391 w 2984311"/>
                <a:gd name="connsiteY12" fmla="*/ 477672 h 782471"/>
                <a:gd name="connsiteX13" fmla="*/ 1796955 w 2984311"/>
                <a:gd name="connsiteY13" fmla="*/ 527713 h 782471"/>
                <a:gd name="connsiteX14" fmla="*/ 1733266 w 2984311"/>
                <a:gd name="connsiteY14" fmla="*/ 509516 h 782471"/>
                <a:gd name="connsiteX15" fmla="*/ 1728716 w 2984311"/>
                <a:gd name="connsiteY15" fmla="*/ 495869 h 782471"/>
                <a:gd name="connsiteX16" fmla="*/ 1724167 w 2984311"/>
                <a:gd name="connsiteY16" fmla="*/ 450376 h 782471"/>
                <a:gd name="connsiteX17" fmla="*/ 1687773 w 2984311"/>
                <a:gd name="connsiteY17" fmla="*/ 441278 h 782471"/>
                <a:gd name="connsiteX18" fmla="*/ 1665027 w 2984311"/>
                <a:gd name="connsiteY18" fmla="*/ 400334 h 782471"/>
                <a:gd name="connsiteX19" fmla="*/ 1646830 w 2984311"/>
                <a:gd name="connsiteY19" fmla="*/ 373039 h 782471"/>
                <a:gd name="connsiteX20" fmla="*/ 1601337 w 2984311"/>
                <a:gd name="connsiteY20" fmla="*/ 345743 h 782471"/>
                <a:gd name="connsiteX21" fmla="*/ 1587689 w 2984311"/>
                <a:gd name="connsiteY21" fmla="*/ 318448 h 782471"/>
                <a:gd name="connsiteX22" fmla="*/ 1574042 w 2984311"/>
                <a:gd name="connsiteY22" fmla="*/ 309349 h 782471"/>
                <a:gd name="connsiteX23" fmla="*/ 1501254 w 2984311"/>
                <a:gd name="connsiteY23" fmla="*/ 277505 h 782471"/>
                <a:gd name="connsiteX24" fmla="*/ 1473958 w 2984311"/>
                <a:gd name="connsiteY24" fmla="*/ 268406 h 782471"/>
                <a:gd name="connsiteX25" fmla="*/ 1460310 w 2984311"/>
                <a:gd name="connsiteY25" fmla="*/ 259308 h 782471"/>
                <a:gd name="connsiteX26" fmla="*/ 1433015 w 2984311"/>
                <a:gd name="connsiteY26" fmla="*/ 250209 h 782471"/>
                <a:gd name="connsiteX27" fmla="*/ 1332931 w 2984311"/>
                <a:gd name="connsiteY27" fmla="*/ 227463 h 782471"/>
                <a:gd name="connsiteX28" fmla="*/ 1278340 w 2984311"/>
                <a:gd name="connsiteY28" fmla="*/ 227463 h 782471"/>
                <a:gd name="connsiteX29" fmla="*/ 1264692 w 2984311"/>
                <a:gd name="connsiteY29" fmla="*/ 236561 h 782471"/>
                <a:gd name="connsiteX30" fmla="*/ 1246495 w 2984311"/>
                <a:gd name="connsiteY30" fmla="*/ 241111 h 782471"/>
                <a:gd name="connsiteX31" fmla="*/ 1219200 w 2984311"/>
                <a:gd name="connsiteY31" fmla="*/ 254758 h 782471"/>
                <a:gd name="connsiteX32" fmla="*/ 1191904 w 2984311"/>
                <a:gd name="connsiteY32" fmla="*/ 268406 h 782471"/>
                <a:gd name="connsiteX33" fmla="*/ 1160060 w 2984311"/>
                <a:gd name="connsiteY33" fmla="*/ 272955 h 782471"/>
                <a:gd name="connsiteX34" fmla="*/ 1105468 w 2984311"/>
                <a:gd name="connsiteY34" fmla="*/ 291152 h 782471"/>
                <a:gd name="connsiteX35" fmla="*/ 1073624 w 2984311"/>
                <a:gd name="connsiteY35" fmla="*/ 304800 h 782471"/>
                <a:gd name="connsiteX36" fmla="*/ 896203 w 2984311"/>
                <a:gd name="connsiteY36" fmla="*/ 309349 h 782471"/>
                <a:gd name="connsiteX37" fmla="*/ 868907 w 2984311"/>
                <a:gd name="connsiteY37" fmla="*/ 322997 h 782471"/>
                <a:gd name="connsiteX38" fmla="*/ 855260 w 2984311"/>
                <a:gd name="connsiteY38" fmla="*/ 327546 h 782471"/>
                <a:gd name="connsiteX39" fmla="*/ 782471 w 2984311"/>
                <a:gd name="connsiteY39" fmla="*/ 322997 h 782471"/>
                <a:gd name="connsiteX40" fmla="*/ 768824 w 2984311"/>
                <a:gd name="connsiteY40" fmla="*/ 318448 h 782471"/>
                <a:gd name="connsiteX41" fmla="*/ 723331 w 2984311"/>
                <a:gd name="connsiteY41" fmla="*/ 304800 h 782471"/>
                <a:gd name="connsiteX42" fmla="*/ 709683 w 2984311"/>
                <a:gd name="connsiteY42" fmla="*/ 300251 h 782471"/>
                <a:gd name="connsiteX43" fmla="*/ 696036 w 2984311"/>
                <a:gd name="connsiteY43" fmla="*/ 295702 h 782471"/>
                <a:gd name="connsiteX44" fmla="*/ 641445 w 2984311"/>
                <a:gd name="connsiteY44" fmla="*/ 291152 h 782471"/>
                <a:gd name="connsiteX45" fmla="*/ 591403 w 2984311"/>
                <a:gd name="connsiteY45" fmla="*/ 282054 h 782471"/>
                <a:gd name="connsiteX46" fmla="*/ 573206 w 2984311"/>
                <a:gd name="connsiteY46" fmla="*/ 277505 h 782471"/>
                <a:gd name="connsiteX47" fmla="*/ 545910 w 2984311"/>
                <a:gd name="connsiteY47" fmla="*/ 268406 h 782471"/>
                <a:gd name="connsiteX48" fmla="*/ 514066 w 2984311"/>
                <a:gd name="connsiteY48" fmla="*/ 263857 h 782471"/>
                <a:gd name="connsiteX49" fmla="*/ 491319 w 2984311"/>
                <a:gd name="connsiteY49" fmla="*/ 259308 h 782471"/>
                <a:gd name="connsiteX50" fmla="*/ 459474 w 2984311"/>
                <a:gd name="connsiteY50" fmla="*/ 254758 h 782471"/>
                <a:gd name="connsiteX51" fmla="*/ 432179 w 2984311"/>
                <a:gd name="connsiteY51" fmla="*/ 236561 h 782471"/>
                <a:gd name="connsiteX52" fmla="*/ 423080 w 2984311"/>
                <a:gd name="connsiteY52" fmla="*/ 222913 h 782471"/>
                <a:gd name="connsiteX53" fmla="*/ 404883 w 2984311"/>
                <a:gd name="connsiteY53" fmla="*/ 213815 h 782471"/>
                <a:gd name="connsiteX54" fmla="*/ 391236 w 2984311"/>
                <a:gd name="connsiteY54" fmla="*/ 204716 h 782471"/>
                <a:gd name="connsiteX55" fmla="*/ 373039 w 2984311"/>
                <a:gd name="connsiteY55" fmla="*/ 177421 h 782471"/>
                <a:gd name="connsiteX56" fmla="*/ 350292 w 2984311"/>
                <a:gd name="connsiteY56" fmla="*/ 150125 h 782471"/>
                <a:gd name="connsiteX57" fmla="*/ 322997 w 2984311"/>
                <a:gd name="connsiteY57" fmla="*/ 131928 h 782471"/>
                <a:gd name="connsiteX58" fmla="*/ 295701 w 2984311"/>
                <a:gd name="connsiteY58" fmla="*/ 113731 h 782471"/>
                <a:gd name="connsiteX59" fmla="*/ 286603 w 2984311"/>
                <a:gd name="connsiteY59" fmla="*/ 100084 h 782471"/>
                <a:gd name="connsiteX60" fmla="*/ 272955 w 2984311"/>
                <a:gd name="connsiteY60" fmla="*/ 95534 h 782471"/>
                <a:gd name="connsiteX61" fmla="*/ 259307 w 2984311"/>
                <a:gd name="connsiteY61" fmla="*/ 86436 h 782471"/>
                <a:gd name="connsiteX62" fmla="*/ 232012 w 2984311"/>
                <a:gd name="connsiteY62" fmla="*/ 77337 h 782471"/>
                <a:gd name="connsiteX63" fmla="*/ 218364 w 2984311"/>
                <a:gd name="connsiteY63" fmla="*/ 72788 h 782471"/>
                <a:gd name="connsiteX64" fmla="*/ 204716 w 2984311"/>
                <a:gd name="connsiteY64" fmla="*/ 68239 h 782471"/>
                <a:gd name="connsiteX65" fmla="*/ 191068 w 2984311"/>
                <a:gd name="connsiteY65" fmla="*/ 59140 h 782471"/>
                <a:gd name="connsiteX66" fmla="*/ 163773 w 2984311"/>
                <a:gd name="connsiteY66" fmla="*/ 50042 h 782471"/>
                <a:gd name="connsiteX67" fmla="*/ 136477 w 2984311"/>
                <a:gd name="connsiteY67" fmla="*/ 40943 h 782471"/>
                <a:gd name="connsiteX68" fmla="*/ 122830 w 2984311"/>
                <a:gd name="connsiteY68" fmla="*/ 36394 h 782471"/>
                <a:gd name="connsiteX69" fmla="*/ 0 w 2984311"/>
                <a:gd name="connsiteY69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20369 w 2984311"/>
                <a:gd name="connsiteY5" fmla="*/ 491319 h 782471"/>
                <a:gd name="connsiteX6" fmla="*/ 2370161 w 2984311"/>
                <a:gd name="connsiteY6" fmla="*/ 459475 h 782471"/>
                <a:gd name="connsiteX7" fmla="*/ 2247331 w 2984311"/>
                <a:gd name="connsiteY7" fmla="*/ 413982 h 782471"/>
                <a:gd name="connsiteX8" fmla="*/ 2233683 w 2984311"/>
                <a:gd name="connsiteY8" fmla="*/ 409433 h 782471"/>
                <a:gd name="connsiteX9" fmla="*/ 2197290 w 2984311"/>
                <a:gd name="connsiteY9" fmla="*/ 423081 h 782471"/>
                <a:gd name="connsiteX10" fmla="*/ 2056263 w 2984311"/>
                <a:gd name="connsiteY10" fmla="*/ 477672 h 782471"/>
                <a:gd name="connsiteX11" fmla="*/ 1969827 w 2984311"/>
                <a:gd name="connsiteY11" fmla="*/ 468573 h 782471"/>
                <a:gd name="connsiteX12" fmla="*/ 1883391 w 2984311"/>
                <a:gd name="connsiteY12" fmla="*/ 477672 h 782471"/>
                <a:gd name="connsiteX13" fmla="*/ 1796955 w 2984311"/>
                <a:gd name="connsiteY13" fmla="*/ 527713 h 782471"/>
                <a:gd name="connsiteX14" fmla="*/ 1733266 w 2984311"/>
                <a:gd name="connsiteY14" fmla="*/ 509516 h 782471"/>
                <a:gd name="connsiteX15" fmla="*/ 1728716 w 2984311"/>
                <a:gd name="connsiteY15" fmla="*/ 495869 h 782471"/>
                <a:gd name="connsiteX16" fmla="*/ 1724167 w 2984311"/>
                <a:gd name="connsiteY16" fmla="*/ 450376 h 782471"/>
                <a:gd name="connsiteX17" fmla="*/ 1687773 w 2984311"/>
                <a:gd name="connsiteY17" fmla="*/ 441278 h 782471"/>
                <a:gd name="connsiteX18" fmla="*/ 1665027 w 2984311"/>
                <a:gd name="connsiteY18" fmla="*/ 400334 h 782471"/>
                <a:gd name="connsiteX19" fmla="*/ 1646830 w 2984311"/>
                <a:gd name="connsiteY19" fmla="*/ 373039 h 782471"/>
                <a:gd name="connsiteX20" fmla="*/ 1601337 w 2984311"/>
                <a:gd name="connsiteY20" fmla="*/ 345743 h 782471"/>
                <a:gd name="connsiteX21" fmla="*/ 1587689 w 2984311"/>
                <a:gd name="connsiteY21" fmla="*/ 318448 h 782471"/>
                <a:gd name="connsiteX22" fmla="*/ 1574042 w 2984311"/>
                <a:gd name="connsiteY22" fmla="*/ 309349 h 782471"/>
                <a:gd name="connsiteX23" fmla="*/ 1501254 w 2984311"/>
                <a:gd name="connsiteY23" fmla="*/ 277505 h 782471"/>
                <a:gd name="connsiteX24" fmla="*/ 1473958 w 2984311"/>
                <a:gd name="connsiteY24" fmla="*/ 268406 h 782471"/>
                <a:gd name="connsiteX25" fmla="*/ 1460310 w 2984311"/>
                <a:gd name="connsiteY25" fmla="*/ 259308 h 782471"/>
                <a:gd name="connsiteX26" fmla="*/ 1433015 w 2984311"/>
                <a:gd name="connsiteY26" fmla="*/ 250209 h 782471"/>
                <a:gd name="connsiteX27" fmla="*/ 1278340 w 2984311"/>
                <a:gd name="connsiteY27" fmla="*/ 227463 h 782471"/>
                <a:gd name="connsiteX28" fmla="*/ 1264692 w 2984311"/>
                <a:gd name="connsiteY28" fmla="*/ 236561 h 782471"/>
                <a:gd name="connsiteX29" fmla="*/ 1246495 w 2984311"/>
                <a:gd name="connsiteY29" fmla="*/ 241111 h 782471"/>
                <a:gd name="connsiteX30" fmla="*/ 1219200 w 2984311"/>
                <a:gd name="connsiteY30" fmla="*/ 254758 h 782471"/>
                <a:gd name="connsiteX31" fmla="*/ 1191904 w 2984311"/>
                <a:gd name="connsiteY31" fmla="*/ 268406 h 782471"/>
                <a:gd name="connsiteX32" fmla="*/ 1160060 w 2984311"/>
                <a:gd name="connsiteY32" fmla="*/ 272955 h 782471"/>
                <a:gd name="connsiteX33" fmla="*/ 1105468 w 2984311"/>
                <a:gd name="connsiteY33" fmla="*/ 291152 h 782471"/>
                <a:gd name="connsiteX34" fmla="*/ 1073624 w 2984311"/>
                <a:gd name="connsiteY34" fmla="*/ 304800 h 782471"/>
                <a:gd name="connsiteX35" fmla="*/ 896203 w 2984311"/>
                <a:gd name="connsiteY35" fmla="*/ 309349 h 782471"/>
                <a:gd name="connsiteX36" fmla="*/ 868907 w 2984311"/>
                <a:gd name="connsiteY36" fmla="*/ 322997 h 782471"/>
                <a:gd name="connsiteX37" fmla="*/ 855260 w 2984311"/>
                <a:gd name="connsiteY37" fmla="*/ 327546 h 782471"/>
                <a:gd name="connsiteX38" fmla="*/ 782471 w 2984311"/>
                <a:gd name="connsiteY38" fmla="*/ 322997 h 782471"/>
                <a:gd name="connsiteX39" fmla="*/ 768824 w 2984311"/>
                <a:gd name="connsiteY39" fmla="*/ 318448 h 782471"/>
                <a:gd name="connsiteX40" fmla="*/ 723331 w 2984311"/>
                <a:gd name="connsiteY40" fmla="*/ 304800 h 782471"/>
                <a:gd name="connsiteX41" fmla="*/ 709683 w 2984311"/>
                <a:gd name="connsiteY41" fmla="*/ 300251 h 782471"/>
                <a:gd name="connsiteX42" fmla="*/ 696036 w 2984311"/>
                <a:gd name="connsiteY42" fmla="*/ 295702 h 782471"/>
                <a:gd name="connsiteX43" fmla="*/ 641445 w 2984311"/>
                <a:gd name="connsiteY43" fmla="*/ 291152 h 782471"/>
                <a:gd name="connsiteX44" fmla="*/ 591403 w 2984311"/>
                <a:gd name="connsiteY44" fmla="*/ 282054 h 782471"/>
                <a:gd name="connsiteX45" fmla="*/ 573206 w 2984311"/>
                <a:gd name="connsiteY45" fmla="*/ 277505 h 782471"/>
                <a:gd name="connsiteX46" fmla="*/ 545910 w 2984311"/>
                <a:gd name="connsiteY46" fmla="*/ 268406 h 782471"/>
                <a:gd name="connsiteX47" fmla="*/ 514066 w 2984311"/>
                <a:gd name="connsiteY47" fmla="*/ 263857 h 782471"/>
                <a:gd name="connsiteX48" fmla="*/ 491319 w 2984311"/>
                <a:gd name="connsiteY48" fmla="*/ 259308 h 782471"/>
                <a:gd name="connsiteX49" fmla="*/ 459474 w 2984311"/>
                <a:gd name="connsiteY49" fmla="*/ 254758 h 782471"/>
                <a:gd name="connsiteX50" fmla="*/ 432179 w 2984311"/>
                <a:gd name="connsiteY50" fmla="*/ 236561 h 782471"/>
                <a:gd name="connsiteX51" fmla="*/ 423080 w 2984311"/>
                <a:gd name="connsiteY51" fmla="*/ 222913 h 782471"/>
                <a:gd name="connsiteX52" fmla="*/ 404883 w 2984311"/>
                <a:gd name="connsiteY52" fmla="*/ 213815 h 782471"/>
                <a:gd name="connsiteX53" fmla="*/ 391236 w 2984311"/>
                <a:gd name="connsiteY53" fmla="*/ 204716 h 782471"/>
                <a:gd name="connsiteX54" fmla="*/ 373039 w 2984311"/>
                <a:gd name="connsiteY54" fmla="*/ 177421 h 782471"/>
                <a:gd name="connsiteX55" fmla="*/ 350292 w 2984311"/>
                <a:gd name="connsiteY55" fmla="*/ 150125 h 782471"/>
                <a:gd name="connsiteX56" fmla="*/ 322997 w 2984311"/>
                <a:gd name="connsiteY56" fmla="*/ 131928 h 782471"/>
                <a:gd name="connsiteX57" fmla="*/ 295701 w 2984311"/>
                <a:gd name="connsiteY57" fmla="*/ 113731 h 782471"/>
                <a:gd name="connsiteX58" fmla="*/ 286603 w 2984311"/>
                <a:gd name="connsiteY58" fmla="*/ 100084 h 782471"/>
                <a:gd name="connsiteX59" fmla="*/ 272955 w 2984311"/>
                <a:gd name="connsiteY59" fmla="*/ 95534 h 782471"/>
                <a:gd name="connsiteX60" fmla="*/ 259307 w 2984311"/>
                <a:gd name="connsiteY60" fmla="*/ 86436 h 782471"/>
                <a:gd name="connsiteX61" fmla="*/ 232012 w 2984311"/>
                <a:gd name="connsiteY61" fmla="*/ 77337 h 782471"/>
                <a:gd name="connsiteX62" fmla="*/ 218364 w 2984311"/>
                <a:gd name="connsiteY62" fmla="*/ 72788 h 782471"/>
                <a:gd name="connsiteX63" fmla="*/ 204716 w 2984311"/>
                <a:gd name="connsiteY63" fmla="*/ 68239 h 782471"/>
                <a:gd name="connsiteX64" fmla="*/ 191068 w 2984311"/>
                <a:gd name="connsiteY64" fmla="*/ 59140 h 782471"/>
                <a:gd name="connsiteX65" fmla="*/ 163773 w 2984311"/>
                <a:gd name="connsiteY65" fmla="*/ 50042 h 782471"/>
                <a:gd name="connsiteX66" fmla="*/ 136477 w 2984311"/>
                <a:gd name="connsiteY66" fmla="*/ 40943 h 782471"/>
                <a:gd name="connsiteX67" fmla="*/ 122830 w 2984311"/>
                <a:gd name="connsiteY67" fmla="*/ 36394 h 782471"/>
                <a:gd name="connsiteX68" fmla="*/ 0 w 2984311"/>
                <a:gd name="connsiteY68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20369 w 2984311"/>
                <a:gd name="connsiteY5" fmla="*/ 491319 h 782471"/>
                <a:gd name="connsiteX6" fmla="*/ 2370161 w 2984311"/>
                <a:gd name="connsiteY6" fmla="*/ 459475 h 782471"/>
                <a:gd name="connsiteX7" fmla="*/ 2247331 w 2984311"/>
                <a:gd name="connsiteY7" fmla="*/ 413982 h 782471"/>
                <a:gd name="connsiteX8" fmla="*/ 2233683 w 2984311"/>
                <a:gd name="connsiteY8" fmla="*/ 409433 h 782471"/>
                <a:gd name="connsiteX9" fmla="*/ 2197290 w 2984311"/>
                <a:gd name="connsiteY9" fmla="*/ 423081 h 782471"/>
                <a:gd name="connsiteX10" fmla="*/ 2056263 w 2984311"/>
                <a:gd name="connsiteY10" fmla="*/ 477672 h 782471"/>
                <a:gd name="connsiteX11" fmla="*/ 1969827 w 2984311"/>
                <a:gd name="connsiteY11" fmla="*/ 468573 h 782471"/>
                <a:gd name="connsiteX12" fmla="*/ 1883391 w 2984311"/>
                <a:gd name="connsiteY12" fmla="*/ 477672 h 782471"/>
                <a:gd name="connsiteX13" fmla="*/ 1796955 w 2984311"/>
                <a:gd name="connsiteY13" fmla="*/ 527713 h 782471"/>
                <a:gd name="connsiteX14" fmla="*/ 1733266 w 2984311"/>
                <a:gd name="connsiteY14" fmla="*/ 509516 h 782471"/>
                <a:gd name="connsiteX15" fmla="*/ 1728716 w 2984311"/>
                <a:gd name="connsiteY15" fmla="*/ 495869 h 782471"/>
                <a:gd name="connsiteX16" fmla="*/ 1724167 w 2984311"/>
                <a:gd name="connsiteY16" fmla="*/ 450376 h 782471"/>
                <a:gd name="connsiteX17" fmla="*/ 1687773 w 2984311"/>
                <a:gd name="connsiteY17" fmla="*/ 441278 h 782471"/>
                <a:gd name="connsiteX18" fmla="*/ 1665027 w 2984311"/>
                <a:gd name="connsiteY18" fmla="*/ 400334 h 782471"/>
                <a:gd name="connsiteX19" fmla="*/ 1646830 w 2984311"/>
                <a:gd name="connsiteY19" fmla="*/ 373039 h 782471"/>
                <a:gd name="connsiteX20" fmla="*/ 1601337 w 2984311"/>
                <a:gd name="connsiteY20" fmla="*/ 345743 h 782471"/>
                <a:gd name="connsiteX21" fmla="*/ 1587689 w 2984311"/>
                <a:gd name="connsiteY21" fmla="*/ 318448 h 782471"/>
                <a:gd name="connsiteX22" fmla="*/ 1574042 w 2984311"/>
                <a:gd name="connsiteY22" fmla="*/ 309349 h 782471"/>
                <a:gd name="connsiteX23" fmla="*/ 1501254 w 2984311"/>
                <a:gd name="connsiteY23" fmla="*/ 277505 h 782471"/>
                <a:gd name="connsiteX24" fmla="*/ 1473958 w 2984311"/>
                <a:gd name="connsiteY24" fmla="*/ 268406 h 782471"/>
                <a:gd name="connsiteX25" fmla="*/ 1460310 w 2984311"/>
                <a:gd name="connsiteY25" fmla="*/ 259308 h 782471"/>
                <a:gd name="connsiteX26" fmla="*/ 1411959 w 2984311"/>
                <a:gd name="connsiteY26" fmla="*/ 265248 h 782471"/>
                <a:gd name="connsiteX27" fmla="*/ 1278340 w 2984311"/>
                <a:gd name="connsiteY27" fmla="*/ 227463 h 782471"/>
                <a:gd name="connsiteX28" fmla="*/ 1264692 w 2984311"/>
                <a:gd name="connsiteY28" fmla="*/ 236561 h 782471"/>
                <a:gd name="connsiteX29" fmla="*/ 1246495 w 2984311"/>
                <a:gd name="connsiteY29" fmla="*/ 241111 h 782471"/>
                <a:gd name="connsiteX30" fmla="*/ 1219200 w 2984311"/>
                <a:gd name="connsiteY30" fmla="*/ 254758 h 782471"/>
                <a:gd name="connsiteX31" fmla="*/ 1191904 w 2984311"/>
                <a:gd name="connsiteY31" fmla="*/ 268406 h 782471"/>
                <a:gd name="connsiteX32" fmla="*/ 1160060 w 2984311"/>
                <a:gd name="connsiteY32" fmla="*/ 272955 h 782471"/>
                <a:gd name="connsiteX33" fmla="*/ 1105468 w 2984311"/>
                <a:gd name="connsiteY33" fmla="*/ 291152 h 782471"/>
                <a:gd name="connsiteX34" fmla="*/ 1073624 w 2984311"/>
                <a:gd name="connsiteY34" fmla="*/ 304800 h 782471"/>
                <a:gd name="connsiteX35" fmla="*/ 896203 w 2984311"/>
                <a:gd name="connsiteY35" fmla="*/ 309349 h 782471"/>
                <a:gd name="connsiteX36" fmla="*/ 868907 w 2984311"/>
                <a:gd name="connsiteY36" fmla="*/ 322997 h 782471"/>
                <a:gd name="connsiteX37" fmla="*/ 855260 w 2984311"/>
                <a:gd name="connsiteY37" fmla="*/ 327546 h 782471"/>
                <a:gd name="connsiteX38" fmla="*/ 782471 w 2984311"/>
                <a:gd name="connsiteY38" fmla="*/ 322997 h 782471"/>
                <a:gd name="connsiteX39" fmla="*/ 768824 w 2984311"/>
                <a:gd name="connsiteY39" fmla="*/ 318448 h 782471"/>
                <a:gd name="connsiteX40" fmla="*/ 723331 w 2984311"/>
                <a:gd name="connsiteY40" fmla="*/ 304800 h 782471"/>
                <a:gd name="connsiteX41" fmla="*/ 709683 w 2984311"/>
                <a:gd name="connsiteY41" fmla="*/ 300251 h 782471"/>
                <a:gd name="connsiteX42" fmla="*/ 696036 w 2984311"/>
                <a:gd name="connsiteY42" fmla="*/ 295702 h 782471"/>
                <a:gd name="connsiteX43" fmla="*/ 641445 w 2984311"/>
                <a:gd name="connsiteY43" fmla="*/ 291152 h 782471"/>
                <a:gd name="connsiteX44" fmla="*/ 591403 w 2984311"/>
                <a:gd name="connsiteY44" fmla="*/ 282054 h 782471"/>
                <a:gd name="connsiteX45" fmla="*/ 573206 w 2984311"/>
                <a:gd name="connsiteY45" fmla="*/ 277505 h 782471"/>
                <a:gd name="connsiteX46" fmla="*/ 545910 w 2984311"/>
                <a:gd name="connsiteY46" fmla="*/ 268406 h 782471"/>
                <a:gd name="connsiteX47" fmla="*/ 514066 w 2984311"/>
                <a:gd name="connsiteY47" fmla="*/ 263857 h 782471"/>
                <a:gd name="connsiteX48" fmla="*/ 491319 w 2984311"/>
                <a:gd name="connsiteY48" fmla="*/ 259308 h 782471"/>
                <a:gd name="connsiteX49" fmla="*/ 459474 w 2984311"/>
                <a:gd name="connsiteY49" fmla="*/ 254758 h 782471"/>
                <a:gd name="connsiteX50" fmla="*/ 432179 w 2984311"/>
                <a:gd name="connsiteY50" fmla="*/ 236561 h 782471"/>
                <a:gd name="connsiteX51" fmla="*/ 423080 w 2984311"/>
                <a:gd name="connsiteY51" fmla="*/ 222913 h 782471"/>
                <a:gd name="connsiteX52" fmla="*/ 404883 w 2984311"/>
                <a:gd name="connsiteY52" fmla="*/ 213815 h 782471"/>
                <a:gd name="connsiteX53" fmla="*/ 391236 w 2984311"/>
                <a:gd name="connsiteY53" fmla="*/ 204716 h 782471"/>
                <a:gd name="connsiteX54" fmla="*/ 373039 w 2984311"/>
                <a:gd name="connsiteY54" fmla="*/ 177421 h 782471"/>
                <a:gd name="connsiteX55" fmla="*/ 350292 w 2984311"/>
                <a:gd name="connsiteY55" fmla="*/ 150125 h 782471"/>
                <a:gd name="connsiteX56" fmla="*/ 322997 w 2984311"/>
                <a:gd name="connsiteY56" fmla="*/ 131928 h 782471"/>
                <a:gd name="connsiteX57" fmla="*/ 295701 w 2984311"/>
                <a:gd name="connsiteY57" fmla="*/ 113731 h 782471"/>
                <a:gd name="connsiteX58" fmla="*/ 286603 w 2984311"/>
                <a:gd name="connsiteY58" fmla="*/ 100084 h 782471"/>
                <a:gd name="connsiteX59" fmla="*/ 272955 w 2984311"/>
                <a:gd name="connsiteY59" fmla="*/ 95534 h 782471"/>
                <a:gd name="connsiteX60" fmla="*/ 259307 w 2984311"/>
                <a:gd name="connsiteY60" fmla="*/ 86436 h 782471"/>
                <a:gd name="connsiteX61" fmla="*/ 232012 w 2984311"/>
                <a:gd name="connsiteY61" fmla="*/ 77337 h 782471"/>
                <a:gd name="connsiteX62" fmla="*/ 218364 w 2984311"/>
                <a:gd name="connsiteY62" fmla="*/ 72788 h 782471"/>
                <a:gd name="connsiteX63" fmla="*/ 204716 w 2984311"/>
                <a:gd name="connsiteY63" fmla="*/ 68239 h 782471"/>
                <a:gd name="connsiteX64" fmla="*/ 191068 w 2984311"/>
                <a:gd name="connsiteY64" fmla="*/ 59140 h 782471"/>
                <a:gd name="connsiteX65" fmla="*/ 163773 w 2984311"/>
                <a:gd name="connsiteY65" fmla="*/ 50042 h 782471"/>
                <a:gd name="connsiteX66" fmla="*/ 136477 w 2984311"/>
                <a:gd name="connsiteY66" fmla="*/ 40943 h 782471"/>
                <a:gd name="connsiteX67" fmla="*/ 122830 w 2984311"/>
                <a:gd name="connsiteY67" fmla="*/ 36394 h 782471"/>
                <a:gd name="connsiteX68" fmla="*/ 0 w 2984311"/>
                <a:gd name="connsiteY68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20369 w 2984311"/>
                <a:gd name="connsiteY5" fmla="*/ 491319 h 782471"/>
                <a:gd name="connsiteX6" fmla="*/ 2370161 w 2984311"/>
                <a:gd name="connsiteY6" fmla="*/ 459475 h 782471"/>
                <a:gd name="connsiteX7" fmla="*/ 2247331 w 2984311"/>
                <a:gd name="connsiteY7" fmla="*/ 413982 h 782471"/>
                <a:gd name="connsiteX8" fmla="*/ 2233683 w 2984311"/>
                <a:gd name="connsiteY8" fmla="*/ 409433 h 782471"/>
                <a:gd name="connsiteX9" fmla="*/ 2197290 w 2984311"/>
                <a:gd name="connsiteY9" fmla="*/ 423081 h 782471"/>
                <a:gd name="connsiteX10" fmla="*/ 2056263 w 2984311"/>
                <a:gd name="connsiteY10" fmla="*/ 477672 h 782471"/>
                <a:gd name="connsiteX11" fmla="*/ 1969827 w 2984311"/>
                <a:gd name="connsiteY11" fmla="*/ 468573 h 782471"/>
                <a:gd name="connsiteX12" fmla="*/ 1883391 w 2984311"/>
                <a:gd name="connsiteY12" fmla="*/ 477672 h 782471"/>
                <a:gd name="connsiteX13" fmla="*/ 1796955 w 2984311"/>
                <a:gd name="connsiteY13" fmla="*/ 527713 h 782471"/>
                <a:gd name="connsiteX14" fmla="*/ 1733266 w 2984311"/>
                <a:gd name="connsiteY14" fmla="*/ 509516 h 782471"/>
                <a:gd name="connsiteX15" fmla="*/ 1728716 w 2984311"/>
                <a:gd name="connsiteY15" fmla="*/ 495869 h 782471"/>
                <a:gd name="connsiteX16" fmla="*/ 1724167 w 2984311"/>
                <a:gd name="connsiteY16" fmla="*/ 450376 h 782471"/>
                <a:gd name="connsiteX17" fmla="*/ 1687773 w 2984311"/>
                <a:gd name="connsiteY17" fmla="*/ 441278 h 782471"/>
                <a:gd name="connsiteX18" fmla="*/ 1665027 w 2984311"/>
                <a:gd name="connsiteY18" fmla="*/ 400334 h 782471"/>
                <a:gd name="connsiteX19" fmla="*/ 1646830 w 2984311"/>
                <a:gd name="connsiteY19" fmla="*/ 373039 h 782471"/>
                <a:gd name="connsiteX20" fmla="*/ 1601337 w 2984311"/>
                <a:gd name="connsiteY20" fmla="*/ 345743 h 782471"/>
                <a:gd name="connsiteX21" fmla="*/ 1587689 w 2984311"/>
                <a:gd name="connsiteY21" fmla="*/ 318448 h 782471"/>
                <a:gd name="connsiteX22" fmla="*/ 1574042 w 2984311"/>
                <a:gd name="connsiteY22" fmla="*/ 309349 h 782471"/>
                <a:gd name="connsiteX23" fmla="*/ 1501254 w 2984311"/>
                <a:gd name="connsiteY23" fmla="*/ 277505 h 782471"/>
                <a:gd name="connsiteX24" fmla="*/ 1473958 w 2984311"/>
                <a:gd name="connsiteY24" fmla="*/ 268406 h 782471"/>
                <a:gd name="connsiteX25" fmla="*/ 1460310 w 2984311"/>
                <a:gd name="connsiteY25" fmla="*/ 259308 h 782471"/>
                <a:gd name="connsiteX26" fmla="*/ 1278340 w 2984311"/>
                <a:gd name="connsiteY26" fmla="*/ 227463 h 782471"/>
                <a:gd name="connsiteX27" fmla="*/ 1264692 w 2984311"/>
                <a:gd name="connsiteY27" fmla="*/ 236561 h 782471"/>
                <a:gd name="connsiteX28" fmla="*/ 1246495 w 2984311"/>
                <a:gd name="connsiteY28" fmla="*/ 241111 h 782471"/>
                <a:gd name="connsiteX29" fmla="*/ 1219200 w 2984311"/>
                <a:gd name="connsiteY29" fmla="*/ 254758 h 782471"/>
                <a:gd name="connsiteX30" fmla="*/ 1191904 w 2984311"/>
                <a:gd name="connsiteY30" fmla="*/ 268406 h 782471"/>
                <a:gd name="connsiteX31" fmla="*/ 1160060 w 2984311"/>
                <a:gd name="connsiteY31" fmla="*/ 272955 h 782471"/>
                <a:gd name="connsiteX32" fmla="*/ 1105468 w 2984311"/>
                <a:gd name="connsiteY32" fmla="*/ 291152 h 782471"/>
                <a:gd name="connsiteX33" fmla="*/ 1073624 w 2984311"/>
                <a:gd name="connsiteY33" fmla="*/ 304800 h 782471"/>
                <a:gd name="connsiteX34" fmla="*/ 896203 w 2984311"/>
                <a:gd name="connsiteY34" fmla="*/ 309349 h 782471"/>
                <a:gd name="connsiteX35" fmla="*/ 868907 w 2984311"/>
                <a:gd name="connsiteY35" fmla="*/ 322997 h 782471"/>
                <a:gd name="connsiteX36" fmla="*/ 855260 w 2984311"/>
                <a:gd name="connsiteY36" fmla="*/ 327546 h 782471"/>
                <a:gd name="connsiteX37" fmla="*/ 782471 w 2984311"/>
                <a:gd name="connsiteY37" fmla="*/ 322997 h 782471"/>
                <a:gd name="connsiteX38" fmla="*/ 768824 w 2984311"/>
                <a:gd name="connsiteY38" fmla="*/ 318448 h 782471"/>
                <a:gd name="connsiteX39" fmla="*/ 723331 w 2984311"/>
                <a:gd name="connsiteY39" fmla="*/ 304800 h 782471"/>
                <a:gd name="connsiteX40" fmla="*/ 709683 w 2984311"/>
                <a:gd name="connsiteY40" fmla="*/ 300251 h 782471"/>
                <a:gd name="connsiteX41" fmla="*/ 696036 w 2984311"/>
                <a:gd name="connsiteY41" fmla="*/ 295702 h 782471"/>
                <a:gd name="connsiteX42" fmla="*/ 641445 w 2984311"/>
                <a:gd name="connsiteY42" fmla="*/ 291152 h 782471"/>
                <a:gd name="connsiteX43" fmla="*/ 591403 w 2984311"/>
                <a:gd name="connsiteY43" fmla="*/ 282054 h 782471"/>
                <a:gd name="connsiteX44" fmla="*/ 573206 w 2984311"/>
                <a:gd name="connsiteY44" fmla="*/ 277505 h 782471"/>
                <a:gd name="connsiteX45" fmla="*/ 545910 w 2984311"/>
                <a:gd name="connsiteY45" fmla="*/ 268406 h 782471"/>
                <a:gd name="connsiteX46" fmla="*/ 514066 w 2984311"/>
                <a:gd name="connsiteY46" fmla="*/ 263857 h 782471"/>
                <a:gd name="connsiteX47" fmla="*/ 491319 w 2984311"/>
                <a:gd name="connsiteY47" fmla="*/ 259308 h 782471"/>
                <a:gd name="connsiteX48" fmla="*/ 459474 w 2984311"/>
                <a:gd name="connsiteY48" fmla="*/ 254758 h 782471"/>
                <a:gd name="connsiteX49" fmla="*/ 432179 w 2984311"/>
                <a:gd name="connsiteY49" fmla="*/ 236561 h 782471"/>
                <a:gd name="connsiteX50" fmla="*/ 423080 w 2984311"/>
                <a:gd name="connsiteY50" fmla="*/ 222913 h 782471"/>
                <a:gd name="connsiteX51" fmla="*/ 404883 w 2984311"/>
                <a:gd name="connsiteY51" fmla="*/ 213815 h 782471"/>
                <a:gd name="connsiteX52" fmla="*/ 391236 w 2984311"/>
                <a:gd name="connsiteY52" fmla="*/ 204716 h 782471"/>
                <a:gd name="connsiteX53" fmla="*/ 373039 w 2984311"/>
                <a:gd name="connsiteY53" fmla="*/ 177421 h 782471"/>
                <a:gd name="connsiteX54" fmla="*/ 350292 w 2984311"/>
                <a:gd name="connsiteY54" fmla="*/ 150125 h 782471"/>
                <a:gd name="connsiteX55" fmla="*/ 322997 w 2984311"/>
                <a:gd name="connsiteY55" fmla="*/ 131928 h 782471"/>
                <a:gd name="connsiteX56" fmla="*/ 295701 w 2984311"/>
                <a:gd name="connsiteY56" fmla="*/ 113731 h 782471"/>
                <a:gd name="connsiteX57" fmla="*/ 286603 w 2984311"/>
                <a:gd name="connsiteY57" fmla="*/ 100084 h 782471"/>
                <a:gd name="connsiteX58" fmla="*/ 272955 w 2984311"/>
                <a:gd name="connsiteY58" fmla="*/ 95534 h 782471"/>
                <a:gd name="connsiteX59" fmla="*/ 259307 w 2984311"/>
                <a:gd name="connsiteY59" fmla="*/ 86436 h 782471"/>
                <a:gd name="connsiteX60" fmla="*/ 232012 w 2984311"/>
                <a:gd name="connsiteY60" fmla="*/ 77337 h 782471"/>
                <a:gd name="connsiteX61" fmla="*/ 218364 w 2984311"/>
                <a:gd name="connsiteY61" fmla="*/ 72788 h 782471"/>
                <a:gd name="connsiteX62" fmla="*/ 204716 w 2984311"/>
                <a:gd name="connsiteY62" fmla="*/ 68239 h 782471"/>
                <a:gd name="connsiteX63" fmla="*/ 191068 w 2984311"/>
                <a:gd name="connsiteY63" fmla="*/ 59140 h 782471"/>
                <a:gd name="connsiteX64" fmla="*/ 163773 w 2984311"/>
                <a:gd name="connsiteY64" fmla="*/ 50042 h 782471"/>
                <a:gd name="connsiteX65" fmla="*/ 136477 w 2984311"/>
                <a:gd name="connsiteY65" fmla="*/ 40943 h 782471"/>
                <a:gd name="connsiteX66" fmla="*/ 122830 w 2984311"/>
                <a:gd name="connsiteY66" fmla="*/ 36394 h 782471"/>
                <a:gd name="connsiteX67" fmla="*/ 0 w 2984311"/>
                <a:gd name="connsiteY67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20369 w 2984311"/>
                <a:gd name="connsiteY5" fmla="*/ 491319 h 782471"/>
                <a:gd name="connsiteX6" fmla="*/ 2370161 w 2984311"/>
                <a:gd name="connsiteY6" fmla="*/ 459475 h 782471"/>
                <a:gd name="connsiteX7" fmla="*/ 2247331 w 2984311"/>
                <a:gd name="connsiteY7" fmla="*/ 413982 h 782471"/>
                <a:gd name="connsiteX8" fmla="*/ 2233683 w 2984311"/>
                <a:gd name="connsiteY8" fmla="*/ 409433 h 782471"/>
                <a:gd name="connsiteX9" fmla="*/ 2197290 w 2984311"/>
                <a:gd name="connsiteY9" fmla="*/ 423081 h 782471"/>
                <a:gd name="connsiteX10" fmla="*/ 2056263 w 2984311"/>
                <a:gd name="connsiteY10" fmla="*/ 477672 h 782471"/>
                <a:gd name="connsiteX11" fmla="*/ 1969827 w 2984311"/>
                <a:gd name="connsiteY11" fmla="*/ 468573 h 782471"/>
                <a:gd name="connsiteX12" fmla="*/ 1883391 w 2984311"/>
                <a:gd name="connsiteY12" fmla="*/ 477672 h 782471"/>
                <a:gd name="connsiteX13" fmla="*/ 1796955 w 2984311"/>
                <a:gd name="connsiteY13" fmla="*/ 527713 h 782471"/>
                <a:gd name="connsiteX14" fmla="*/ 1733266 w 2984311"/>
                <a:gd name="connsiteY14" fmla="*/ 509516 h 782471"/>
                <a:gd name="connsiteX15" fmla="*/ 1728716 w 2984311"/>
                <a:gd name="connsiteY15" fmla="*/ 495869 h 782471"/>
                <a:gd name="connsiteX16" fmla="*/ 1724167 w 2984311"/>
                <a:gd name="connsiteY16" fmla="*/ 450376 h 782471"/>
                <a:gd name="connsiteX17" fmla="*/ 1687773 w 2984311"/>
                <a:gd name="connsiteY17" fmla="*/ 441278 h 782471"/>
                <a:gd name="connsiteX18" fmla="*/ 1665027 w 2984311"/>
                <a:gd name="connsiteY18" fmla="*/ 400334 h 782471"/>
                <a:gd name="connsiteX19" fmla="*/ 1646830 w 2984311"/>
                <a:gd name="connsiteY19" fmla="*/ 373039 h 782471"/>
                <a:gd name="connsiteX20" fmla="*/ 1601337 w 2984311"/>
                <a:gd name="connsiteY20" fmla="*/ 345743 h 782471"/>
                <a:gd name="connsiteX21" fmla="*/ 1587689 w 2984311"/>
                <a:gd name="connsiteY21" fmla="*/ 318448 h 782471"/>
                <a:gd name="connsiteX22" fmla="*/ 1574042 w 2984311"/>
                <a:gd name="connsiteY22" fmla="*/ 309349 h 782471"/>
                <a:gd name="connsiteX23" fmla="*/ 1501254 w 2984311"/>
                <a:gd name="connsiteY23" fmla="*/ 277505 h 782471"/>
                <a:gd name="connsiteX24" fmla="*/ 1473958 w 2984311"/>
                <a:gd name="connsiteY24" fmla="*/ 268406 h 782471"/>
                <a:gd name="connsiteX25" fmla="*/ 1418199 w 2984311"/>
                <a:gd name="connsiteY25" fmla="*/ 277355 h 782471"/>
                <a:gd name="connsiteX26" fmla="*/ 1278340 w 2984311"/>
                <a:gd name="connsiteY26" fmla="*/ 227463 h 782471"/>
                <a:gd name="connsiteX27" fmla="*/ 1264692 w 2984311"/>
                <a:gd name="connsiteY27" fmla="*/ 236561 h 782471"/>
                <a:gd name="connsiteX28" fmla="*/ 1246495 w 2984311"/>
                <a:gd name="connsiteY28" fmla="*/ 241111 h 782471"/>
                <a:gd name="connsiteX29" fmla="*/ 1219200 w 2984311"/>
                <a:gd name="connsiteY29" fmla="*/ 254758 h 782471"/>
                <a:gd name="connsiteX30" fmla="*/ 1191904 w 2984311"/>
                <a:gd name="connsiteY30" fmla="*/ 268406 h 782471"/>
                <a:gd name="connsiteX31" fmla="*/ 1160060 w 2984311"/>
                <a:gd name="connsiteY31" fmla="*/ 272955 h 782471"/>
                <a:gd name="connsiteX32" fmla="*/ 1105468 w 2984311"/>
                <a:gd name="connsiteY32" fmla="*/ 291152 h 782471"/>
                <a:gd name="connsiteX33" fmla="*/ 1073624 w 2984311"/>
                <a:gd name="connsiteY33" fmla="*/ 304800 h 782471"/>
                <a:gd name="connsiteX34" fmla="*/ 896203 w 2984311"/>
                <a:gd name="connsiteY34" fmla="*/ 309349 h 782471"/>
                <a:gd name="connsiteX35" fmla="*/ 868907 w 2984311"/>
                <a:gd name="connsiteY35" fmla="*/ 322997 h 782471"/>
                <a:gd name="connsiteX36" fmla="*/ 855260 w 2984311"/>
                <a:gd name="connsiteY36" fmla="*/ 327546 h 782471"/>
                <a:gd name="connsiteX37" fmla="*/ 782471 w 2984311"/>
                <a:gd name="connsiteY37" fmla="*/ 322997 h 782471"/>
                <a:gd name="connsiteX38" fmla="*/ 768824 w 2984311"/>
                <a:gd name="connsiteY38" fmla="*/ 318448 h 782471"/>
                <a:gd name="connsiteX39" fmla="*/ 723331 w 2984311"/>
                <a:gd name="connsiteY39" fmla="*/ 304800 h 782471"/>
                <a:gd name="connsiteX40" fmla="*/ 709683 w 2984311"/>
                <a:gd name="connsiteY40" fmla="*/ 300251 h 782471"/>
                <a:gd name="connsiteX41" fmla="*/ 696036 w 2984311"/>
                <a:gd name="connsiteY41" fmla="*/ 295702 h 782471"/>
                <a:gd name="connsiteX42" fmla="*/ 641445 w 2984311"/>
                <a:gd name="connsiteY42" fmla="*/ 291152 h 782471"/>
                <a:gd name="connsiteX43" fmla="*/ 591403 w 2984311"/>
                <a:gd name="connsiteY43" fmla="*/ 282054 h 782471"/>
                <a:gd name="connsiteX44" fmla="*/ 573206 w 2984311"/>
                <a:gd name="connsiteY44" fmla="*/ 277505 h 782471"/>
                <a:gd name="connsiteX45" fmla="*/ 545910 w 2984311"/>
                <a:gd name="connsiteY45" fmla="*/ 268406 h 782471"/>
                <a:gd name="connsiteX46" fmla="*/ 514066 w 2984311"/>
                <a:gd name="connsiteY46" fmla="*/ 263857 h 782471"/>
                <a:gd name="connsiteX47" fmla="*/ 491319 w 2984311"/>
                <a:gd name="connsiteY47" fmla="*/ 259308 h 782471"/>
                <a:gd name="connsiteX48" fmla="*/ 459474 w 2984311"/>
                <a:gd name="connsiteY48" fmla="*/ 254758 h 782471"/>
                <a:gd name="connsiteX49" fmla="*/ 432179 w 2984311"/>
                <a:gd name="connsiteY49" fmla="*/ 236561 h 782471"/>
                <a:gd name="connsiteX50" fmla="*/ 423080 w 2984311"/>
                <a:gd name="connsiteY50" fmla="*/ 222913 h 782471"/>
                <a:gd name="connsiteX51" fmla="*/ 404883 w 2984311"/>
                <a:gd name="connsiteY51" fmla="*/ 213815 h 782471"/>
                <a:gd name="connsiteX52" fmla="*/ 391236 w 2984311"/>
                <a:gd name="connsiteY52" fmla="*/ 204716 h 782471"/>
                <a:gd name="connsiteX53" fmla="*/ 373039 w 2984311"/>
                <a:gd name="connsiteY53" fmla="*/ 177421 h 782471"/>
                <a:gd name="connsiteX54" fmla="*/ 350292 w 2984311"/>
                <a:gd name="connsiteY54" fmla="*/ 150125 h 782471"/>
                <a:gd name="connsiteX55" fmla="*/ 322997 w 2984311"/>
                <a:gd name="connsiteY55" fmla="*/ 131928 h 782471"/>
                <a:gd name="connsiteX56" fmla="*/ 295701 w 2984311"/>
                <a:gd name="connsiteY56" fmla="*/ 113731 h 782471"/>
                <a:gd name="connsiteX57" fmla="*/ 286603 w 2984311"/>
                <a:gd name="connsiteY57" fmla="*/ 100084 h 782471"/>
                <a:gd name="connsiteX58" fmla="*/ 272955 w 2984311"/>
                <a:gd name="connsiteY58" fmla="*/ 95534 h 782471"/>
                <a:gd name="connsiteX59" fmla="*/ 259307 w 2984311"/>
                <a:gd name="connsiteY59" fmla="*/ 86436 h 782471"/>
                <a:gd name="connsiteX60" fmla="*/ 232012 w 2984311"/>
                <a:gd name="connsiteY60" fmla="*/ 77337 h 782471"/>
                <a:gd name="connsiteX61" fmla="*/ 218364 w 2984311"/>
                <a:gd name="connsiteY61" fmla="*/ 72788 h 782471"/>
                <a:gd name="connsiteX62" fmla="*/ 204716 w 2984311"/>
                <a:gd name="connsiteY62" fmla="*/ 68239 h 782471"/>
                <a:gd name="connsiteX63" fmla="*/ 191068 w 2984311"/>
                <a:gd name="connsiteY63" fmla="*/ 59140 h 782471"/>
                <a:gd name="connsiteX64" fmla="*/ 163773 w 2984311"/>
                <a:gd name="connsiteY64" fmla="*/ 50042 h 782471"/>
                <a:gd name="connsiteX65" fmla="*/ 136477 w 2984311"/>
                <a:gd name="connsiteY65" fmla="*/ 40943 h 782471"/>
                <a:gd name="connsiteX66" fmla="*/ 122830 w 2984311"/>
                <a:gd name="connsiteY66" fmla="*/ 36394 h 782471"/>
                <a:gd name="connsiteX67" fmla="*/ 0 w 2984311"/>
                <a:gd name="connsiteY67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20369 w 2984311"/>
                <a:gd name="connsiteY5" fmla="*/ 491319 h 782471"/>
                <a:gd name="connsiteX6" fmla="*/ 2370161 w 2984311"/>
                <a:gd name="connsiteY6" fmla="*/ 459475 h 782471"/>
                <a:gd name="connsiteX7" fmla="*/ 2247331 w 2984311"/>
                <a:gd name="connsiteY7" fmla="*/ 413982 h 782471"/>
                <a:gd name="connsiteX8" fmla="*/ 2233683 w 2984311"/>
                <a:gd name="connsiteY8" fmla="*/ 409433 h 782471"/>
                <a:gd name="connsiteX9" fmla="*/ 2197290 w 2984311"/>
                <a:gd name="connsiteY9" fmla="*/ 423081 h 782471"/>
                <a:gd name="connsiteX10" fmla="*/ 2056263 w 2984311"/>
                <a:gd name="connsiteY10" fmla="*/ 477672 h 782471"/>
                <a:gd name="connsiteX11" fmla="*/ 1969827 w 2984311"/>
                <a:gd name="connsiteY11" fmla="*/ 468573 h 782471"/>
                <a:gd name="connsiteX12" fmla="*/ 1883391 w 2984311"/>
                <a:gd name="connsiteY12" fmla="*/ 477672 h 782471"/>
                <a:gd name="connsiteX13" fmla="*/ 1796955 w 2984311"/>
                <a:gd name="connsiteY13" fmla="*/ 527713 h 782471"/>
                <a:gd name="connsiteX14" fmla="*/ 1733266 w 2984311"/>
                <a:gd name="connsiteY14" fmla="*/ 509516 h 782471"/>
                <a:gd name="connsiteX15" fmla="*/ 1728716 w 2984311"/>
                <a:gd name="connsiteY15" fmla="*/ 495869 h 782471"/>
                <a:gd name="connsiteX16" fmla="*/ 1724167 w 2984311"/>
                <a:gd name="connsiteY16" fmla="*/ 450376 h 782471"/>
                <a:gd name="connsiteX17" fmla="*/ 1687773 w 2984311"/>
                <a:gd name="connsiteY17" fmla="*/ 441278 h 782471"/>
                <a:gd name="connsiteX18" fmla="*/ 1665027 w 2984311"/>
                <a:gd name="connsiteY18" fmla="*/ 400334 h 782471"/>
                <a:gd name="connsiteX19" fmla="*/ 1646830 w 2984311"/>
                <a:gd name="connsiteY19" fmla="*/ 373039 h 782471"/>
                <a:gd name="connsiteX20" fmla="*/ 1601337 w 2984311"/>
                <a:gd name="connsiteY20" fmla="*/ 345743 h 782471"/>
                <a:gd name="connsiteX21" fmla="*/ 1587689 w 2984311"/>
                <a:gd name="connsiteY21" fmla="*/ 318448 h 782471"/>
                <a:gd name="connsiteX22" fmla="*/ 1574042 w 2984311"/>
                <a:gd name="connsiteY22" fmla="*/ 309349 h 782471"/>
                <a:gd name="connsiteX23" fmla="*/ 1501254 w 2984311"/>
                <a:gd name="connsiteY23" fmla="*/ 277505 h 782471"/>
                <a:gd name="connsiteX24" fmla="*/ 1418199 w 2984311"/>
                <a:gd name="connsiteY24" fmla="*/ 277355 h 782471"/>
                <a:gd name="connsiteX25" fmla="*/ 1278340 w 2984311"/>
                <a:gd name="connsiteY25" fmla="*/ 227463 h 782471"/>
                <a:gd name="connsiteX26" fmla="*/ 1264692 w 2984311"/>
                <a:gd name="connsiteY26" fmla="*/ 236561 h 782471"/>
                <a:gd name="connsiteX27" fmla="*/ 1246495 w 2984311"/>
                <a:gd name="connsiteY27" fmla="*/ 241111 h 782471"/>
                <a:gd name="connsiteX28" fmla="*/ 1219200 w 2984311"/>
                <a:gd name="connsiteY28" fmla="*/ 254758 h 782471"/>
                <a:gd name="connsiteX29" fmla="*/ 1191904 w 2984311"/>
                <a:gd name="connsiteY29" fmla="*/ 268406 h 782471"/>
                <a:gd name="connsiteX30" fmla="*/ 1160060 w 2984311"/>
                <a:gd name="connsiteY30" fmla="*/ 272955 h 782471"/>
                <a:gd name="connsiteX31" fmla="*/ 1105468 w 2984311"/>
                <a:gd name="connsiteY31" fmla="*/ 291152 h 782471"/>
                <a:gd name="connsiteX32" fmla="*/ 1073624 w 2984311"/>
                <a:gd name="connsiteY32" fmla="*/ 304800 h 782471"/>
                <a:gd name="connsiteX33" fmla="*/ 896203 w 2984311"/>
                <a:gd name="connsiteY33" fmla="*/ 309349 h 782471"/>
                <a:gd name="connsiteX34" fmla="*/ 868907 w 2984311"/>
                <a:gd name="connsiteY34" fmla="*/ 322997 h 782471"/>
                <a:gd name="connsiteX35" fmla="*/ 855260 w 2984311"/>
                <a:gd name="connsiteY35" fmla="*/ 327546 h 782471"/>
                <a:gd name="connsiteX36" fmla="*/ 782471 w 2984311"/>
                <a:gd name="connsiteY36" fmla="*/ 322997 h 782471"/>
                <a:gd name="connsiteX37" fmla="*/ 768824 w 2984311"/>
                <a:gd name="connsiteY37" fmla="*/ 318448 h 782471"/>
                <a:gd name="connsiteX38" fmla="*/ 723331 w 2984311"/>
                <a:gd name="connsiteY38" fmla="*/ 304800 h 782471"/>
                <a:gd name="connsiteX39" fmla="*/ 709683 w 2984311"/>
                <a:gd name="connsiteY39" fmla="*/ 300251 h 782471"/>
                <a:gd name="connsiteX40" fmla="*/ 696036 w 2984311"/>
                <a:gd name="connsiteY40" fmla="*/ 295702 h 782471"/>
                <a:gd name="connsiteX41" fmla="*/ 641445 w 2984311"/>
                <a:gd name="connsiteY41" fmla="*/ 291152 h 782471"/>
                <a:gd name="connsiteX42" fmla="*/ 591403 w 2984311"/>
                <a:gd name="connsiteY42" fmla="*/ 282054 h 782471"/>
                <a:gd name="connsiteX43" fmla="*/ 573206 w 2984311"/>
                <a:gd name="connsiteY43" fmla="*/ 277505 h 782471"/>
                <a:gd name="connsiteX44" fmla="*/ 545910 w 2984311"/>
                <a:gd name="connsiteY44" fmla="*/ 268406 h 782471"/>
                <a:gd name="connsiteX45" fmla="*/ 514066 w 2984311"/>
                <a:gd name="connsiteY45" fmla="*/ 263857 h 782471"/>
                <a:gd name="connsiteX46" fmla="*/ 491319 w 2984311"/>
                <a:gd name="connsiteY46" fmla="*/ 259308 h 782471"/>
                <a:gd name="connsiteX47" fmla="*/ 459474 w 2984311"/>
                <a:gd name="connsiteY47" fmla="*/ 254758 h 782471"/>
                <a:gd name="connsiteX48" fmla="*/ 432179 w 2984311"/>
                <a:gd name="connsiteY48" fmla="*/ 236561 h 782471"/>
                <a:gd name="connsiteX49" fmla="*/ 423080 w 2984311"/>
                <a:gd name="connsiteY49" fmla="*/ 222913 h 782471"/>
                <a:gd name="connsiteX50" fmla="*/ 404883 w 2984311"/>
                <a:gd name="connsiteY50" fmla="*/ 213815 h 782471"/>
                <a:gd name="connsiteX51" fmla="*/ 391236 w 2984311"/>
                <a:gd name="connsiteY51" fmla="*/ 204716 h 782471"/>
                <a:gd name="connsiteX52" fmla="*/ 373039 w 2984311"/>
                <a:gd name="connsiteY52" fmla="*/ 177421 h 782471"/>
                <a:gd name="connsiteX53" fmla="*/ 350292 w 2984311"/>
                <a:gd name="connsiteY53" fmla="*/ 150125 h 782471"/>
                <a:gd name="connsiteX54" fmla="*/ 322997 w 2984311"/>
                <a:gd name="connsiteY54" fmla="*/ 131928 h 782471"/>
                <a:gd name="connsiteX55" fmla="*/ 295701 w 2984311"/>
                <a:gd name="connsiteY55" fmla="*/ 113731 h 782471"/>
                <a:gd name="connsiteX56" fmla="*/ 286603 w 2984311"/>
                <a:gd name="connsiteY56" fmla="*/ 100084 h 782471"/>
                <a:gd name="connsiteX57" fmla="*/ 272955 w 2984311"/>
                <a:gd name="connsiteY57" fmla="*/ 95534 h 782471"/>
                <a:gd name="connsiteX58" fmla="*/ 259307 w 2984311"/>
                <a:gd name="connsiteY58" fmla="*/ 86436 h 782471"/>
                <a:gd name="connsiteX59" fmla="*/ 232012 w 2984311"/>
                <a:gd name="connsiteY59" fmla="*/ 77337 h 782471"/>
                <a:gd name="connsiteX60" fmla="*/ 218364 w 2984311"/>
                <a:gd name="connsiteY60" fmla="*/ 72788 h 782471"/>
                <a:gd name="connsiteX61" fmla="*/ 204716 w 2984311"/>
                <a:gd name="connsiteY61" fmla="*/ 68239 h 782471"/>
                <a:gd name="connsiteX62" fmla="*/ 191068 w 2984311"/>
                <a:gd name="connsiteY62" fmla="*/ 59140 h 782471"/>
                <a:gd name="connsiteX63" fmla="*/ 163773 w 2984311"/>
                <a:gd name="connsiteY63" fmla="*/ 50042 h 782471"/>
                <a:gd name="connsiteX64" fmla="*/ 136477 w 2984311"/>
                <a:gd name="connsiteY64" fmla="*/ 40943 h 782471"/>
                <a:gd name="connsiteX65" fmla="*/ 122830 w 2984311"/>
                <a:gd name="connsiteY65" fmla="*/ 36394 h 782471"/>
                <a:gd name="connsiteX66" fmla="*/ 0 w 2984311"/>
                <a:gd name="connsiteY66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20369 w 2984311"/>
                <a:gd name="connsiteY5" fmla="*/ 491319 h 782471"/>
                <a:gd name="connsiteX6" fmla="*/ 2370161 w 2984311"/>
                <a:gd name="connsiteY6" fmla="*/ 459475 h 782471"/>
                <a:gd name="connsiteX7" fmla="*/ 2247331 w 2984311"/>
                <a:gd name="connsiteY7" fmla="*/ 413982 h 782471"/>
                <a:gd name="connsiteX8" fmla="*/ 2233683 w 2984311"/>
                <a:gd name="connsiteY8" fmla="*/ 409433 h 782471"/>
                <a:gd name="connsiteX9" fmla="*/ 2197290 w 2984311"/>
                <a:gd name="connsiteY9" fmla="*/ 423081 h 782471"/>
                <a:gd name="connsiteX10" fmla="*/ 2056263 w 2984311"/>
                <a:gd name="connsiteY10" fmla="*/ 477672 h 782471"/>
                <a:gd name="connsiteX11" fmla="*/ 1969827 w 2984311"/>
                <a:gd name="connsiteY11" fmla="*/ 468573 h 782471"/>
                <a:gd name="connsiteX12" fmla="*/ 1883391 w 2984311"/>
                <a:gd name="connsiteY12" fmla="*/ 477672 h 782471"/>
                <a:gd name="connsiteX13" fmla="*/ 1796955 w 2984311"/>
                <a:gd name="connsiteY13" fmla="*/ 527713 h 782471"/>
                <a:gd name="connsiteX14" fmla="*/ 1733266 w 2984311"/>
                <a:gd name="connsiteY14" fmla="*/ 509516 h 782471"/>
                <a:gd name="connsiteX15" fmla="*/ 1728716 w 2984311"/>
                <a:gd name="connsiteY15" fmla="*/ 495869 h 782471"/>
                <a:gd name="connsiteX16" fmla="*/ 1724167 w 2984311"/>
                <a:gd name="connsiteY16" fmla="*/ 450376 h 782471"/>
                <a:gd name="connsiteX17" fmla="*/ 1687773 w 2984311"/>
                <a:gd name="connsiteY17" fmla="*/ 441278 h 782471"/>
                <a:gd name="connsiteX18" fmla="*/ 1665027 w 2984311"/>
                <a:gd name="connsiteY18" fmla="*/ 400334 h 782471"/>
                <a:gd name="connsiteX19" fmla="*/ 1646830 w 2984311"/>
                <a:gd name="connsiteY19" fmla="*/ 373039 h 782471"/>
                <a:gd name="connsiteX20" fmla="*/ 1601337 w 2984311"/>
                <a:gd name="connsiteY20" fmla="*/ 345743 h 782471"/>
                <a:gd name="connsiteX21" fmla="*/ 1587689 w 2984311"/>
                <a:gd name="connsiteY21" fmla="*/ 318448 h 782471"/>
                <a:gd name="connsiteX22" fmla="*/ 1574042 w 2984311"/>
                <a:gd name="connsiteY22" fmla="*/ 309349 h 782471"/>
                <a:gd name="connsiteX23" fmla="*/ 1418199 w 2984311"/>
                <a:gd name="connsiteY23" fmla="*/ 277355 h 782471"/>
                <a:gd name="connsiteX24" fmla="*/ 1278340 w 2984311"/>
                <a:gd name="connsiteY24" fmla="*/ 227463 h 782471"/>
                <a:gd name="connsiteX25" fmla="*/ 1264692 w 2984311"/>
                <a:gd name="connsiteY25" fmla="*/ 236561 h 782471"/>
                <a:gd name="connsiteX26" fmla="*/ 1246495 w 2984311"/>
                <a:gd name="connsiteY26" fmla="*/ 241111 h 782471"/>
                <a:gd name="connsiteX27" fmla="*/ 1219200 w 2984311"/>
                <a:gd name="connsiteY27" fmla="*/ 254758 h 782471"/>
                <a:gd name="connsiteX28" fmla="*/ 1191904 w 2984311"/>
                <a:gd name="connsiteY28" fmla="*/ 268406 h 782471"/>
                <a:gd name="connsiteX29" fmla="*/ 1160060 w 2984311"/>
                <a:gd name="connsiteY29" fmla="*/ 272955 h 782471"/>
                <a:gd name="connsiteX30" fmla="*/ 1105468 w 2984311"/>
                <a:gd name="connsiteY30" fmla="*/ 291152 h 782471"/>
                <a:gd name="connsiteX31" fmla="*/ 1073624 w 2984311"/>
                <a:gd name="connsiteY31" fmla="*/ 304800 h 782471"/>
                <a:gd name="connsiteX32" fmla="*/ 896203 w 2984311"/>
                <a:gd name="connsiteY32" fmla="*/ 309349 h 782471"/>
                <a:gd name="connsiteX33" fmla="*/ 868907 w 2984311"/>
                <a:gd name="connsiteY33" fmla="*/ 322997 h 782471"/>
                <a:gd name="connsiteX34" fmla="*/ 855260 w 2984311"/>
                <a:gd name="connsiteY34" fmla="*/ 327546 h 782471"/>
                <a:gd name="connsiteX35" fmla="*/ 782471 w 2984311"/>
                <a:gd name="connsiteY35" fmla="*/ 322997 h 782471"/>
                <a:gd name="connsiteX36" fmla="*/ 768824 w 2984311"/>
                <a:gd name="connsiteY36" fmla="*/ 318448 h 782471"/>
                <a:gd name="connsiteX37" fmla="*/ 723331 w 2984311"/>
                <a:gd name="connsiteY37" fmla="*/ 304800 h 782471"/>
                <a:gd name="connsiteX38" fmla="*/ 709683 w 2984311"/>
                <a:gd name="connsiteY38" fmla="*/ 300251 h 782471"/>
                <a:gd name="connsiteX39" fmla="*/ 696036 w 2984311"/>
                <a:gd name="connsiteY39" fmla="*/ 295702 h 782471"/>
                <a:gd name="connsiteX40" fmla="*/ 641445 w 2984311"/>
                <a:gd name="connsiteY40" fmla="*/ 291152 h 782471"/>
                <a:gd name="connsiteX41" fmla="*/ 591403 w 2984311"/>
                <a:gd name="connsiteY41" fmla="*/ 282054 h 782471"/>
                <a:gd name="connsiteX42" fmla="*/ 573206 w 2984311"/>
                <a:gd name="connsiteY42" fmla="*/ 277505 h 782471"/>
                <a:gd name="connsiteX43" fmla="*/ 545910 w 2984311"/>
                <a:gd name="connsiteY43" fmla="*/ 268406 h 782471"/>
                <a:gd name="connsiteX44" fmla="*/ 514066 w 2984311"/>
                <a:gd name="connsiteY44" fmla="*/ 263857 h 782471"/>
                <a:gd name="connsiteX45" fmla="*/ 491319 w 2984311"/>
                <a:gd name="connsiteY45" fmla="*/ 259308 h 782471"/>
                <a:gd name="connsiteX46" fmla="*/ 459474 w 2984311"/>
                <a:gd name="connsiteY46" fmla="*/ 254758 h 782471"/>
                <a:gd name="connsiteX47" fmla="*/ 432179 w 2984311"/>
                <a:gd name="connsiteY47" fmla="*/ 236561 h 782471"/>
                <a:gd name="connsiteX48" fmla="*/ 423080 w 2984311"/>
                <a:gd name="connsiteY48" fmla="*/ 222913 h 782471"/>
                <a:gd name="connsiteX49" fmla="*/ 404883 w 2984311"/>
                <a:gd name="connsiteY49" fmla="*/ 213815 h 782471"/>
                <a:gd name="connsiteX50" fmla="*/ 391236 w 2984311"/>
                <a:gd name="connsiteY50" fmla="*/ 204716 h 782471"/>
                <a:gd name="connsiteX51" fmla="*/ 373039 w 2984311"/>
                <a:gd name="connsiteY51" fmla="*/ 177421 h 782471"/>
                <a:gd name="connsiteX52" fmla="*/ 350292 w 2984311"/>
                <a:gd name="connsiteY52" fmla="*/ 150125 h 782471"/>
                <a:gd name="connsiteX53" fmla="*/ 322997 w 2984311"/>
                <a:gd name="connsiteY53" fmla="*/ 131928 h 782471"/>
                <a:gd name="connsiteX54" fmla="*/ 295701 w 2984311"/>
                <a:gd name="connsiteY54" fmla="*/ 113731 h 782471"/>
                <a:gd name="connsiteX55" fmla="*/ 286603 w 2984311"/>
                <a:gd name="connsiteY55" fmla="*/ 100084 h 782471"/>
                <a:gd name="connsiteX56" fmla="*/ 272955 w 2984311"/>
                <a:gd name="connsiteY56" fmla="*/ 95534 h 782471"/>
                <a:gd name="connsiteX57" fmla="*/ 259307 w 2984311"/>
                <a:gd name="connsiteY57" fmla="*/ 86436 h 782471"/>
                <a:gd name="connsiteX58" fmla="*/ 232012 w 2984311"/>
                <a:gd name="connsiteY58" fmla="*/ 77337 h 782471"/>
                <a:gd name="connsiteX59" fmla="*/ 218364 w 2984311"/>
                <a:gd name="connsiteY59" fmla="*/ 72788 h 782471"/>
                <a:gd name="connsiteX60" fmla="*/ 204716 w 2984311"/>
                <a:gd name="connsiteY60" fmla="*/ 68239 h 782471"/>
                <a:gd name="connsiteX61" fmla="*/ 191068 w 2984311"/>
                <a:gd name="connsiteY61" fmla="*/ 59140 h 782471"/>
                <a:gd name="connsiteX62" fmla="*/ 163773 w 2984311"/>
                <a:gd name="connsiteY62" fmla="*/ 50042 h 782471"/>
                <a:gd name="connsiteX63" fmla="*/ 136477 w 2984311"/>
                <a:gd name="connsiteY63" fmla="*/ 40943 h 782471"/>
                <a:gd name="connsiteX64" fmla="*/ 122830 w 2984311"/>
                <a:gd name="connsiteY64" fmla="*/ 36394 h 782471"/>
                <a:gd name="connsiteX65" fmla="*/ 0 w 2984311"/>
                <a:gd name="connsiteY65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20369 w 2984311"/>
                <a:gd name="connsiteY5" fmla="*/ 491319 h 782471"/>
                <a:gd name="connsiteX6" fmla="*/ 2370161 w 2984311"/>
                <a:gd name="connsiteY6" fmla="*/ 459475 h 782471"/>
                <a:gd name="connsiteX7" fmla="*/ 2247331 w 2984311"/>
                <a:gd name="connsiteY7" fmla="*/ 413982 h 782471"/>
                <a:gd name="connsiteX8" fmla="*/ 2233683 w 2984311"/>
                <a:gd name="connsiteY8" fmla="*/ 409433 h 782471"/>
                <a:gd name="connsiteX9" fmla="*/ 2197290 w 2984311"/>
                <a:gd name="connsiteY9" fmla="*/ 423081 h 782471"/>
                <a:gd name="connsiteX10" fmla="*/ 2056263 w 2984311"/>
                <a:gd name="connsiteY10" fmla="*/ 477672 h 782471"/>
                <a:gd name="connsiteX11" fmla="*/ 1969827 w 2984311"/>
                <a:gd name="connsiteY11" fmla="*/ 468573 h 782471"/>
                <a:gd name="connsiteX12" fmla="*/ 1883391 w 2984311"/>
                <a:gd name="connsiteY12" fmla="*/ 477672 h 782471"/>
                <a:gd name="connsiteX13" fmla="*/ 1796955 w 2984311"/>
                <a:gd name="connsiteY13" fmla="*/ 527713 h 782471"/>
                <a:gd name="connsiteX14" fmla="*/ 1733266 w 2984311"/>
                <a:gd name="connsiteY14" fmla="*/ 509516 h 782471"/>
                <a:gd name="connsiteX15" fmla="*/ 1728716 w 2984311"/>
                <a:gd name="connsiteY15" fmla="*/ 495869 h 782471"/>
                <a:gd name="connsiteX16" fmla="*/ 1724167 w 2984311"/>
                <a:gd name="connsiteY16" fmla="*/ 450376 h 782471"/>
                <a:gd name="connsiteX17" fmla="*/ 1687773 w 2984311"/>
                <a:gd name="connsiteY17" fmla="*/ 441278 h 782471"/>
                <a:gd name="connsiteX18" fmla="*/ 1665027 w 2984311"/>
                <a:gd name="connsiteY18" fmla="*/ 400334 h 782471"/>
                <a:gd name="connsiteX19" fmla="*/ 1646830 w 2984311"/>
                <a:gd name="connsiteY19" fmla="*/ 373039 h 782471"/>
                <a:gd name="connsiteX20" fmla="*/ 1601337 w 2984311"/>
                <a:gd name="connsiteY20" fmla="*/ 345743 h 782471"/>
                <a:gd name="connsiteX21" fmla="*/ 1587689 w 2984311"/>
                <a:gd name="connsiteY21" fmla="*/ 318448 h 782471"/>
                <a:gd name="connsiteX22" fmla="*/ 1534939 w 2984311"/>
                <a:gd name="connsiteY22" fmla="*/ 297317 h 782471"/>
                <a:gd name="connsiteX23" fmla="*/ 1418199 w 2984311"/>
                <a:gd name="connsiteY23" fmla="*/ 277355 h 782471"/>
                <a:gd name="connsiteX24" fmla="*/ 1278340 w 2984311"/>
                <a:gd name="connsiteY24" fmla="*/ 227463 h 782471"/>
                <a:gd name="connsiteX25" fmla="*/ 1264692 w 2984311"/>
                <a:gd name="connsiteY25" fmla="*/ 236561 h 782471"/>
                <a:gd name="connsiteX26" fmla="*/ 1246495 w 2984311"/>
                <a:gd name="connsiteY26" fmla="*/ 241111 h 782471"/>
                <a:gd name="connsiteX27" fmla="*/ 1219200 w 2984311"/>
                <a:gd name="connsiteY27" fmla="*/ 254758 h 782471"/>
                <a:gd name="connsiteX28" fmla="*/ 1191904 w 2984311"/>
                <a:gd name="connsiteY28" fmla="*/ 268406 h 782471"/>
                <a:gd name="connsiteX29" fmla="*/ 1160060 w 2984311"/>
                <a:gd name="connsiteY29" fmla="*/ 272955 h 782471"/>
                <a:gd name="connsiteX30" fmla="*/ 1105468 w 2984311"/>
                <a:gd name="connsiteY30" fmla="*/ 291152 h 782471"/>
                <a:gd name="connsiteX31" fmla="*/ 1073624 w 2984311"/>
                <a:gd name="connsiteY31" fmla="*/ 304800 h 782471"/>
                <a:gd name="connsiteX32" fmla="*/ 896203 w 2984311"/>
                <a:gd name="connsiteY32" fmla="*/ 309349 h 782471"/>
                <a:gd name="connsiteX33" fmla="*/ 868907 w 2984311"/>
                <a:gd name="connsiteY33" fmla="*/ 322997 h 782471"/>
                <a:gd name="connsiteX34" fmla="*/ 855260 w 2984311"/>
                <a:gd name="connsiteY34" fmla="*/ 327546 h 782471"/>
                <a:gd name="connsiteX35" fmla="*/ 782471 w 2984311"/>
                <a:gd name="connsiteY35" fmla="*/ 322997 h 782471"/>
                <a:gd name="connsiteX36" fmla="*/ 768824 w 2984311"/>
                <a:gd name="connsiteY36" fmla="*/ 318448 h 782471"/>
                <a:gd name="connsiteX37" fmla="*/ 723331 w 2984311"/>
                <a:gd name="connsiteY37" fmla="*/ 304800 h 782471"/>
                <a:gd name="connsiteX38" fmla="*/ 709683 w 2984311"/>
                <a:gd name="connsiteY38" fmla="*/ 300251 h 782471"/>
                <a:gd name="connsiteX39" fmla="*/ 696036 w 2984311"/>
                <a:gd name="connsiteY39" fmla="*/ 295702 h 782471"/>
                <a:gd name="connsiteX40" fmla="*/ 641445 w 2984311"/>
                <a:gd name="connsiteY40" fmla="*/ 291152 h 782471"/>
                <a:gd name="connsiteX41" fmla="*/ 591403 w 2984311"/>
                <a:gd name="connsiteY41" fmla="*/ 282054 h 782471"/>
                <a:gd name="connsiteX42" fmla="*/ 573206 w 2984311"/>
                <a:gd name="connsiteY42" fmla="*/ 277505 h 782471"/>
                <a:gd name="connsiteX43" fmla="*/ 545910 w 2984311"/>
                <a:gd name="connsiteY43" fmla="*/ 268406 h 782471"/>
                <a:gd name="connsiteX44" fmla="*/ 514066 w 2984311"/>
                <a:gd name="connsiteY44" fmla="*/ 263857 h 782471"/>
                <a:gd name="connsiteX45" fmla="*/ 491319 w 2984311"/>
                <a:gd name="connsiteY45" fmla="*/ 259308 h 782471"/>
                <a:gd name="connsiteX46" fmla="*/ 459474 w 2984311"/>
                <a:gd name="connsiteY46" fmla="*/ 254758 h 782471"/>
                <a:gd name="connsiteX47" fmla="*/ 432179 w 2984311"/>
                <a:gd name="connsiteY47" fmla="*/ 236561 h 782471"/>
                <a:gd name="connsiteX48" fmla="*/ 423080 w 2984311"/>
                <a:gd name="connsiteY48" fmla="*/ 222913 h 782471"/>
                <a:gd name="connsiteX49" fmla="*/ 404883 w 2984311"/>
                <a:gd name="connsiteY49" fmla="*/ 213815 h 782471"/>
                <a:gd name="connsiteX50" fmla="*/ 391236 w 2984311"/>
                <a:gd name="connsiteY50" fmla="*/ 204716 h 782471"/>
                <a:gd name="connsiteX51" fmla="*/ 373039 w 2984311"/>
                <a:gd name="connsiteY51" fmla="*/ 177421 h 782471"/>
                <a:gd name="connsiteX52" fmla="*/ 350292 w 2984311"/>
                <a:gd name="connsiteY52" fmla="*/ 150125 h 782471"/>
                <a:gd name="connsiteX53" fmla="*/ 322997 w 2984311"/>
                <a:gd name="connsiteY53" fmla="*/ 131928 h 782471"/>
                <a:gd name="connsiteX54" fmla="*/ 295701 w 2984311"/>
                <a:gd name="connsiteY54" fmla="*/ 113731 h 782471"/>
                <a:gd name="connsiteX55" fmla="*/ 286603 w 2984311"/>
                <a:gd name="connsiteY55" fmla="*/ 100084 h 782471"/>
                <a:gd name="connsiteX56" fmla="*/ 272955 w 2984311"/>
                <a:gd name="connsiteY56" fmla="*/ 95534 h 782471"/>
                <a:gd name="connsiteX57" fmla="*/ 259307 w 2984311"/>
                <a:gd name="connsiteY57" fmla="*/ 86436 h 782471"/>
                <a:gd name="connsiteX58" fmla="*/ 232012 w 2984311"/>
                <a:gd name="connsiteY58" fmla="*/ 77337 h 782471"/>
                <a:gd name="connsiteX59" fmla="*/ 218364 w 2984311"/>
                <a:gd name="connsiteY59" fmla="*/ 72788 h 782471"/>
                <a:gd name="connsiteX60" fmla="*/ 204716 w 2984311"/>
                <a:gd name="connsiteY60" fmla="*/ 68239 h 782471"/>
                <a:gd name="connsiteX61" fmla="*/ 191068 w 2984311"/>
                <a:gd name="connsiteY61" fmla="*/ 59140 h 782471"/>
                <a:gd name="connsiteX62" fmla="*/ 163773 w 2984311"/>
                <a:gd name="connsiteY62" fmla="*/ 50042 h 782471"/>
                <a:gd name="connsiteX63" fmla="*/ 136477 w 2984311"/>
                <a:gd name="connsiteY63" fmla="*/ 40943 h 782471"/>
                <a:gd name="connsiteX64" fmla="*/ 122830 w 2984311"/>
                <a:gd name="connsiteY64" fmla="*/ 36394 h 782471"/>
                <a:gd name="connsiteX65" fmla="*/ 0 w 2984311"/>
                <a:gd name="connsiteY65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20369 w 2984311"/>
                <a:gd name="connsiteY5" fmla="*/ 491319 h 782471"/>
                <a:gd name="connsiteX6" fmla="*/ 2370161 w 2984311"/>
                <a:gd name="connsiteY6" fmla="*/ 459475 h 782471"/>
                <a:gd name="connsiteX7" fmla="*/ 2247331 w 2984311"/>
                <a:gd name="connsiteY7" fmla="*/ 413982 h 782471"/>
                <a:gd name="connsiteX8" fmla="*/ 2233683 w 2984311"/>
                <a:gd name="connsiteY8" fmla="*/ 409433 h 782471"/>
                <a:gd name="connsiteX9" fmla="*/ 2197290 w 2984311"/>
                <a:gd name="connsiteY9" fmla="*/ 423081 h 782471"/>
                <a:gd name="connsiteX10" fmla="*/ 2056263 w 2984311"/>
                <a:gd name="connsiteY10" fmla="*/ 477672 h 782471"/>
                <a:gd name="connsiteX11" fmla="*/ 1969827 w 2984311"/>
                <a:gd name="connsiteY11" fmla="*/ 468573 h 782471"/>
                <a:gd name="connsiteX12" fmla="*/ 1883391 w 2984311"/>
                <a:gd name="connsiteY12" fmla="*/ 477672 h 782471"/>
                <a:gd name="connsiteX13" fmla="*/ 1796955 w 2984311"/>
                <a:gd name="connsiteY13" fmla="*/ 527713 h 782471"/>
                <a:gd name="connsiteX14" fmla="*/ 1733266 w 2984311"/>
                <a:gd name="connsiteY14" fmla="*/ 509516 h 782471"/>
                <a:gd name="connsiteX15" fmla="*/ 1728716 w 2984311"/>
                <a:gd name="connsiteY15" fmla="*/ 495869 h 782471"/>
                <a:gd name="connsiteX16" fmla="*/ 1724167 w 2984311"/>
                <a:gd name="connsiteY16" fmla="*/ 450376 h 782471"/>
                <a:gd name="connsiteX17" fmla="*/ 1687773 w 2984311"/>
                <a:gd name="connsiteY17" fmla="*/ 441278 h 782471"/>
                <a:gd name="connsiteX18" fmla="*/ 1665027 w 2984311"/>
                <a:gd name="connsiteY18" fmla="*/ 400334 h 782471"/>
                <a:gd name="connsiteX19" fmla="*/ 1646830 w 2984311"/>
                <a:gd name="connsiteY19" fmla="*/ 373039 h 782471"/>
                <a:gd name="connsiteX20" fmla="*/ 1601337 w 2984311"/>
                <a:gd name="connsiteY20" fmla="*/ 345743 h 782471"/>
                <a:gd name="connsiteX21" fmla="*/ 1534939 w 2984311"/>
                <a:gd name="connsiteY21" fmla="*/ 297317 h 782471"/>
                <a:gd name="connsiteX22" fmla="*/ 1418199 w 2984311"/>
                <a:gd name="connsiteY22" fmla="*/ 277355 h 782471"/>
                <a:gd name="connsiteX23" fmla="*/ 1278340 w 2984311"/>
                <a:gd name="connsiteY23" fmla="*/ 227463 h 782471"/>
                <a:gd name="connsiteX24" fmla="*/ 1264692 w 2984311"/>
                <a:gd name="connsiteY24" fmla="*/ 236561 h 782471"/>
                <a:gd name="connsiteX25" fmla="*/ 1246495 w 2984311"/>
                <a:gd name="connsiteY25" fmla="*/ 241111 h 782471"/>
                <a:gd name="connsiteX26" fmla="*/ 1219200 w 2984311"/>
                <a:gd name="connsiteY26" fmla="*/ 254758 h 782471"/>
                <a:gd name="connsiteX27" fmla="*/ 1191904 w 2984311"/>
                <a:gd name="connsiteY27" fmla="*/ 268406 h 782471"/>
                <a:gd name="connsiteX28" fmla="*/ 1160060 w 2984311"/>
                <a:gd name="connsiteY28" fmla="*/ 272955 h 782471"/>
                <a:gd name="connsiteX29" fmla="*/ 1105468 w 2984311"/>
                <a:gd name="connsiteY29" fmla="*/ 291152 h 782471"/>
                <a:gd name="connsiteX30" fmla="*/ 1073624 w 2984311"/>
                <a:gd name="connsiteY30" fmla="*/ 304800 h 782471"/>
                <a:gd name="connsiteX31" fmla="*/ 896203 w 2984311"/>
                <a:gd name="connsiteY31" fmla="*/ 309349 h 782471"/>
                <a:gd name="connsiteX32" fmla="*/ 868907 w 2984311"/>
                <a:gd name="connsiteY32" fmla="*/ 322997 h 782471"/>
                <a:gd name="connsiteX33" fmla="*/ 855260 w 2984311"/>
                <a:gd name="connsiteY33" fmla="*/ 327546 h 782471"/>
                <a:gd name="connsiteX34" fmla="*/ 782471 w 2984311"/>
                <a:gd name="connsiteY34" fmla="*/ 322997 h 782471"/>
                <a:gd name="connsiteX35" fmla="*/ 768824 w 2984311"/>
                <a:gd name="connsiteY35" fmla="*/ 318448 h 782471"/>
                <a:gd name="connsiteX36" fmla="*/ 723331 w 2984311"/>
                <a:gd name="connsiteY36" fmla="*/ 304800 h 782471"/>
                <a:gd name="connsiteX37" fmla="*/ 709683 w 2984311"/>
                <a:gd name="connsiteY37" fmla="*/ 300251 h 782471"/>
                <a:gd name="connsiteX38" fmla="*/ 696036 w 2984311"/>
                <a:gd name="connsiteY38" fmla="*/ 295702 h 782471"/>
                <a:gd name="connsiteX39" fmla="*/ 641445 w 2984311"/>
                <a:gd name="connsiteY39" fmla="*/ 291152 h 782471"/>
                <a:gd name="connsiteX40" fmla="*/ 591403 w 2984311"/>
                <a:gd name="connsiteY40" fmla="*/ 282054 h 782471"/>
                <a:gd name="connsiteX41" fmla="*/ 573206 w 2984311"/>
                <a:gd name="connsiteY41" fmla="*/ 277505 h 782471"/>
                <a:gd name="connsiteX42" fmla="*/ 545910 w 2984311"/>
                <a:gd name="connsiteY42" fmla="*/ 268406 h 782471"/>
                <a:gd name="connsiteX43" fmla="*/ 514066 w 2984311"/>
                <a:gd name="connsiteY43" fmla="*/ 263857 h 782471"/>
                <a:gd name="connsiteX44" fmla="*/ 491319 w 2984311"/>
                <a:gd name="connsiteY44" fmla="*/ 259308 h 782471"/>
                <a:gd name="connsiteX45" fmla="*/ 459474 w 2984311"/>
                <a:gd name="connsiteY45" fmla="*/ 254758 h 782471"/>
                <a:gd name="connsiteX46" fmla="*/ 432179 w 2984311"/>
                <a:gd name="connsiteY46" fmla="*/ 236561 h 782471"/>
                <a:gd name="connsiteX47" fmla="*/ 423080 w 2984311"/>
                <a:gd name="connsiteY47" fmla="*/ 222913 h 782471"/>
                <a:gd name="connsiteX48" fmla="*/ 404883 w 2984311"/>
                <a:gd name="connsiteY48" fmla="*/ 213815 h 782471"/>
                <a:gd name="connsiteX49" fmla="*/ 391236 w 2984311"/>
                <a:gd name="connsiteY49" fmla="*/ 204716 h 782471"/>
                <a:gd name="connsiteX50" fmla="*/ 373039 w 2984311"/>
                <a:gd name="connsiteY50" fmla="*/ 177421 h 782471"/>
                <a:gd name="connsiteX51" fmla="*/ 350292 w 2984311"/>
                <a:gd name="connsiteY51" fmla="*/ 150125 h 782471"/>
                <a:gd name="connsiteX52" fmla="*/ 322997 w 2984311"/>
                <a:gd name="connsiteY52" fmla="*/ 131928 h 782471"/>
                <a:gd name="connsiteX53" fmla="*/ 295701 w 2984311"/>
                <a:gd name="connsiteY53" fmla="*/ 113731 h 782471"/>
                <a:gd name="connsiteX54" fmla="*/ 286603 w 2984311"/>
                <a:gd name="connsiteY54" fmla="*/ 100084 h 782471"/>
                <a:gd name="connsiteX55" fmla="*/ 272955 w 2984311"/>
                <a:gd name="connsiteY55" fmla="*/ 95534 h 782471"/>
                <a:gd name="connsiteX56" fmla="*/ 259307 w 2984311"/>
                <a:gd name="connsiteY56" fmla="*/ 86436 h 782471"/>
                <a:gd name="connsiteX57" fmla="*/ 232012 w 2984311"/>
                <a:gd name="connsiteY57" fmla="*/ 77337 h 782471"/>
                <a:gd name="connsiteX58" fmla="*/ 218364 w 2984311"/>
                <a:gd name="connsiteY58" fmla="*/ 72788 h 782471"/>
                <a:gd name="connsiteX59" fmla="*/ 204716 w 2984311"/>
                <a:gd name="connsiteY59" fmla="*/ 68239 h 782471"/>
                <a:gd name="connsiteX60" fmla="*/ 191068 w 2984311"/>
                <a:gd name="connsiteY60" fmla="*/ 59140 h 782471"/>
                <a:gd name="connsiteX61" fmla="*/ 163773 w 2984311"/>
                <a:gd name="connsiteY61" fmla="*/ 50042 h 782471"/>
                <a:gd name="connsiteX62" fmla="*/ 136477 w 2984311"/>
                <a:gd name="connsiteY62" fmla="*/ 40943 h 782471"/>
                <a:gd name="connsiteX63" fmla="*/ 122830 w 2984311"/>
                <a:gd name="connsiteY63" fmla="*/ 36394 h 782471"/>
                <a:gd name="connsiteX64" fmla="*/ 0 w 2984311"/>
                <a:gd name="connsiteY64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20369 w 2984311"/>
                <a:gd name="connsiteY5" fmla="*/ 491319 h 782471"/>
                <a:gd name="connsiteX6" fmla="*/ 2370161 w 2984311"/>
                <a:gd name="connsiteY6" fmla="*/ 459475 h 782471"/>
                <a:gd name="connsiteX7" fmla="*/ 2247331 w 2984311"/>
                <a:gd name="connsiteY7" fmla="*/ 413982 h 782471"/>
                <a:gd name="connsiteX8" fmla="*/ 2233683 w 2984311"/>
                <a:gd name="connsiteY8" fmla="*/ 409433 h 782471"/>
                <a:gd name="connsiteX9" fmla="*/ 2197290 w 2984311"/>
                <a:gd name="connsiteY9" fmla="*/ 423081 h 782471"/>
                <a:gd name="connsiteX10" fmla="*/ 2056263 w 2984311"/>
                <a:gd name="connsiteY10" fmla="*/ 477672 h 782471"/>
                <a:gd name="connsiteX11" fmla="*/ 1969827 w 2984311"/>
                <a:gd name="connsiteY11" fmla="*/ 468573 h 782471"/>
                <a:gd name="connsiteX12" fmla="*/ 1883391 w 2984311"/>
                <a:gd name="connsiteY12" fmla="*/ 477672 h 782471"/>
                <a:gd name="connsiteX13" fmla="*/ 1796955 w 2984311"/>
                <a:gd name="connsiteY13" fmla="*/ 527713 h 782471"/>
                <a:gd name="connsiteX14" fmla="*/ 1733266 w 2984311"/>
                <a:gd name="connsiteY14" fmla="*/ 509516 h 782471"/>
                <a:gd name="connsiteX15" fmla="*/ 1728716 w 2984311"/>
                <a:gd name="connsiteY15" fmla="*/ 495869 h 782471"/>
                <a:gd name="connsiteX16" fmla="*/ 1724167 w 2984311"/>
                <a:gd name="connsiteY16" fmla="*/ 450376 h 782471"/>
                <a:gd name="connsiteX17" fmla="*/ 1687773 w 2984311"/>
                <a:gd name="connsiteY17" fmla="*/ 441278 h 782471"/>
                <a:gd name="connsiteX18" fmla="*/ 1665027 w 2984311"/>
                <a:gd name="connsiteY18" fmla="*/ 400334 h 782471"/>
                <a:gd name="connsiteX19" fmla="*/ 1646830 w 2984311"/>
                <a:gd name="connsiteY19" fmla="*/ 373039 h 782471"/>
                <a:gd name="connsiteX20" fmla="*/ 1610360 w 2984311"/>
                <a:gd name="connsiteY20" fmla="*/ 330703 h 782471"/>
                <a:gd name="connsiteX21" fmla="*/ 1534939 w 2984311"/>
                <a:gd name="connsiteY21" fmla="*/ 297317 h 782471"/>
                <a:gd name="connsiteX22" fmla="*/ 1418199 w 2984311"/>
                <a:gd name="connsiteY22" fmla="*/ 277355 h 782471"/>
                <a:gd name="connsiteX23" fmla="*/ 1278340 w 2984311"/>
                <a:gd name="connsiteY23" fmla="*/ 227463 h 782471"/>
                <a:gd name="connsiteX24" fmla="*/ 1264692 w 2984311"/>
                <a:gd name="connsiteY24" fmla="*/ 236561 h 782471"/>
                <a:gd name="connsiteX25" fmla="*/ 1246495 w 2984311"/>
                <a:gd name="connsiteY25" fmla="*/ 241111 h 782471"/>
                <a:gd name="connsiteX26" fmla="*/ 1219200 w 2984311"/>
                <a:gd name="connsiteY26" fmla="*/ 254758 h 782471"/>
                <a:gd name="connsiteX27" fmla="*/ 1191904 w 2984311"/>
                <a:gd name="connsiteY27" fmla="*/ 268406 h 782471"/>
                <a:gd name="connsiteX28" fmla="*/ 1160060 w 2984311"/>
                <a:gd name="connsiteY28" fmla="*/ 272955 h 782471"/>
                <a:gd name="connsiteX29" fmla="*/ 1105468 w 2984311"/>
                <a:gd name="connsiteY29" fmla="*/ 291152 h 782471"/>
                <a:gd name="connsiteX30" fmla="*/ 1073624 w 2984311"/>
                <a:gd name="connsiteY30" fmla="*/ 304800 h 782471"/>
                <a:gd name="connsiteX31" fmla="*/ 896203 w 2984311"/>
                <a:gd name="connsiteY31" fmla="*/ 309349 h 782471"/>
                <a:gd name="connsiteX32" fmla="*/ 868907 w 2984311"/>
                <a:gd name="connsiteY32" fmla="*/ 322997 h 782471"/>
                <a:gd name="connsiteX33" fmla="*/ 855260 w 2984311"/>
                <a:gd name="connsiteY33" fmla="*/ 327546 h 782471"/>
                <a:gd name="connsiteX34" fmla="*/ 782471 w 2984311"/>
                <a:gd name="connsiteY34" fmla="*/ 322997 h 782471"/>
                <a:gd name="connsiteX35" fmla="*/ 768824 w 2984311"/>
                <a:gd name="connsiteY35" fmla="*/ 318448 h 782471"/>
                <a:gd name="connsiteX36" fmla="*/ 723331 w 2984311"/>
                <a:gd name="connsiteY36" fmla="*/ 304800 h 782471"/>
                <a:gd name="connsiteX37" fmla="*/ 709683 w 2984311"/>
                <a:gd name="connsiteY37" fmla="*/ 300251 h 782471"/>
                <a:gd name="connsiteX38" fmla="*/ 696036 w 2984311"/>
                <a:gd name="connsiteY38" fmla="*/ 295702 h 782471"/>
                <a:gd name="connsiteX39" fmla="*/ 641445 w 2984311"/>
                <a:gd name="connsiteY39" fmla="*/ 291152 h 782471"/>
                <a:gd name="connsiteX40" fmla="*/ 591403 w 2984311"/>
                <a:gd name="connsiteY40" fmla="*/ 282054 h 782471"/>
                <a:gd name="connsiteX41" fmla="*/ 573206 w 2984311"/>
                <a:gd name="connsiteY41" fmla="*/ 277505 h 782471"/>
                <a:gd name="connsiteX42" fmla="*/ 545910 w 2984311"/>
                <a:gd name="connsiteY42" fmla="*/ 268406 h 782471"/>
                <a:gd name="connsiteX43" fmla="*/ 514066 w 2984311"/>
                <a:gd name="connsiteY43" fmla="*/ 263857 h 782471"/>
                <a:gd name="connsiteX44" fmla="*/ 491319 w 2984311"/>
                <a:gd name="connsiteY44" fmla="*/ 259308 h 782471"/>
                <a:gd name="connsiteX45" fmla="*/ 459474 w 2984311"/>
                <a:gd name="connsiteY45" fmla="*/ 254758 h 782471"/>
                <a:gd name="connsiteX46" fmla="*/ 432179 w 2984311"/>
                <a:gd name="connsiteY46" fmla="*/ 236561 h 782471"/>
                <a:gd name="connsiteX47" fmla="*/ 423080 w 2984311"/>
                <a:gd name="connsiteY47" fmla="*/ 222913 h 782471"/>
                <a:gd name="connsiteX48" fmla="*/ 404883 w 2984311"/>
                <a:gd name="connsiteY48" fmla="*/ 213815 h 782471"/>
                <a:gd name="connsiteX49" fmla="*/ 391236 w 2984311"/>
                <a:gd name="connsiteY49" fmla="*/ 204716 h 782471"/>
                <a:gd name="connsiteX50" fmla="*/ 373039 w 2984311"/>
                <a:gd name="connsiteY50" fmla="*/ 177421 h 782471"/>
                <a:gd name="connsiteX51" fmla="*/ 350292 w 2984311"/>
                <a:gd name="connsiteY51" fmla="*/ 150125 h 782471"/>
                <a:gd name="connsiteX52" fmla="*/ 322997 w 2984311"/>
                <a:gd name="connsiteY52" fmla="*/ 131928 h 782471"/>
                <a:gd name="connsiteX53" fmla="*/ 295701 w 2984311"/>
                <a:gd name="connsiteY53" fmla="*/ 113731 h 782471"/>
                <a:gd name="connsiteX54" fmla="*/ 286603 w 2984311"/>
                <a:gd name="connsiteY54" fmla="*/ 100084 h 782471"/>
                <a:gd name="connsiteX55" fmla="*/ 272955 w 2984311"/>
                <a:gd name="connsiteY55" fmla="*/ 95534 h 782471"/>
                <a:gd name="connsiteX56" fmla="*/ 259307 w 2984311"/>
                <a:gd name="connsiteY56" fmla="*/ 86436 h 782471"/>
                <a:gd name="connsiteX57" fmla="*/ 232012 w 2984311"/>
                <a:gd name="connsiteY57" fmla="*/ 77337 h 782471"/>
                <a:gd name="connsiteX58" fmla="*/ 218364 w 2984311"/>
                <a:gd name="connsiteY58" fmla="*/ 72788 h 782471"/>
                <a:gd name="connsiteX59" fmla="*/ 204716 w 2984311"/>
                <a:gd name="connsiteY59" fmla="*/ 68239 h 782471"/>
                <a:gd name="connsiteX60" fmla="*/ 191068 w 2984311"/>
                <a:gd name="connsiteY60" fmla="*/ 59140 h 782471"/>
                <a:gd name="connsiteX61" fmla="*/ 163773 w 2984311"/>
                <a:gd name="connsiteY61" fmla="*/ 50042 h 782471"/>
                <a:gd name="connsiteX62" fmla="*/ 136477 w 2984311"/>
                <a:gd name="connsiteY62" fmla="*/ 40943 h 782471"/>
                <a:gd name="connsiteX63" fmla="*/ 122830 w 2984311"/>
                <a:gd name="connsiteY63" fmla="*/ 36394 h 782471"/>
                <a:gd name="connsiteX64" fmla="*/ 0 w 2984311"/>
                <a:gd name="connsiteY64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20369 w 2984311"/>
                <a:gd name="connsiteY5" fmla="*/ 491319 h 782471"/>
                <a:gd name="connsiteX6" fmla="*/ 2370161 w 2984311"/>
                <a:gd name="connsiteY6" fmla="*/ 459475 h 782471"/>
                <a:gd name="connsiteX7" fmla="*/ 2247331 w 2984311"/>
                <a:gd name="connsiteY7" fmla="*/ 413982 h 782471"/>
                <a:gd name="connsiteX8" fmla="*/ 2233683 w 2984311"/>
                <a:gd name="connsiteY8" fmla="*/ 409433 h 782471"/>
                <a:gd name="connsiteX9" fmla="*/ 2197290 w 2984311"/>
                <a:gd name="connsiteY9" fmla="*/ 423081 h 782471"/>
                <a:gd name="connsiteX10" fmla="*/ 2056263 w 2984311"/>
                <a:gd name="connsiteY10" fmla="*/ 477672 h 782471"/>
                <a:gd name="connsiteX11" fmla="*/ 1969827 w 2984311"/>
                <a:gd name="connsiteY11" fmla="*/ 468573 h 782471"/>
                <a:gd name="connsiteX12" fmla="*/ 1883391 w 2984311"/>
                <a:gd name="connsiteY12" fmla="*/ 477672 h 782471"/>
                <a:gd name="connsiteX13" fmla="*/ 1796955 w 2984311"/>
                <a:gd name="connsiteY13" fmla="*/ 527713 h 782471"/>
                <a:gd name="connsiteX14" fmla="*/ 1733266 w 2984311"/>
                <a:gd name="connsiteY14" fmla="*/ 509516 h 782471"/>
                <a:gd name="connsiteX15" fmla="*/ 1728716 w 2984311"/>
                <a:gd name="connsiteY15" fmla="*/ 495869 h 782471"/>
                <a:gd name="connsiteX16" fmla="*/ 1724167 w 2984311"/>
                <a:gd name="connsiteY16" fmla="*/ 450376 h 782471"/>
                <a:gd name="connsiteX17" fmla="*/ 1687773 w 2984311"/>
                <a:gd name="connsiteY17" fmla="*/ 441278 h 782471"/>
                <a:gd name="connsiteX18" fmla="*/ 1665027 w 2984311"/>
                <a:gd name="connsiteY18" fmla="*/ 400334 h 782471"/>
                <a:gd name="connsiteX19" fmla="*/ 1652846 w 2984311"/>
                <a:gd name="connsiteY19" fmla="*/ 364016 h 782471"/>
                <a:gd name="connsiteX20" fmla="*/ 1610360 w 2984311"/>
                <a:gd name="connsiteY20" fmla="*/ 330703 h 782471"/>
                <a:gd name="connsiteX21" fmla="*/ 1534939 w 2984311"/>
                <a:gd name="connsiteY21" fmla="*/ 297317 h 782471"/>
                <a:gd name="connsiteX22" fmla="*/ 1418199 w 2984311"/>
                <a:gd name="connsiteY22" fmla="*/ 277355 h 782471"/>
                <a:gd name="connsiteX23" fmla="*/ 1278340 w 2984311"/>
                <a:gd name="connsiteY23" fmla="*/ 227463 h 782471"/>
                <a:gd name="connsiteX24" fmla="*/ 1264692 w 2984311"/>
                <a:gd name="connsiteY24" fmla="*/ 236561 h 782471"/>
                <a:gd name="connsiteX25" fmla="*/ 1246495 w 2984311"/>
                <a:gd name="connsiteY25" fmla="*/ 241111 h 782471"/>
                <a:gd name="connsiteX26" fmla="*/ 1219200 w 2984311"/>
                <a:gd name="connsiteY26" fmla="*/ 254758 h 782471"/>
                <a:gd name="connsiteX27" fmla="*/ 1191904 w 2984311"/>
                <a:gd name="connsiteY27" fmla="*/ 268406 h 782471"/>
                <a:gd name="connsiteX28" fmla="*/ 1160060 w 2984311"/>
                <a:gd name="connsiteY28" fmla="*/ 272955 h 782471"/>
                <a:gd name="connsiteX29" fmla="*/ 1105468 w 2984311"/>
                <a:gd name="connsiteY29" fmla="*/ 291152 h 782471"/>
                <a:gd name="connsiteX30" fmla="*/ 1073624 w 2984311"/>
                <a:gd name="connsiteY30" fmla="*/ 304800 h 782471"/>
                <a:gd name="connsiteX31" fmla="*/ 896203 w 2984311"/>
                <a:gd name="connsiteY31" fmla="*/ 309349 h 782471"/>
                <a:gd name="connsiteX32" fmla="*/ 868907 w 2984311"/>
                <a:gd name="connsiteY32" fmla="*/ 322997 h 782471"/>
                <a:gd name="connsiteX33" fmla="*/ 855260 w 2984311"/>
                <a:gd name="connsiteY33" fmla="*/ 327546 h 782471"/>
                <a:gd name="connsiteX34" fmla="*/ 782471 w 2984311"/>
                <a:gd name="connsiteY34" fmla="*/ 322997 h 782471"/>
                <a:gd name="connsiteX35" fmla="*/ 768824 w 2984311"/>
                <a:gd name="connsiteY35" fmla="*/ 318448 h 782471"/>
                <a:gd name="connsiteX36" fmla="*/ 723331 w 2984311"/>
                <a:gd name="connsiteY36" fmla="*/ 304800 h 782471"/>
                <a:gd name="connsiteX37" fmla="*/ 709683 w 2984311"/>
                <a:gd name="connsiteY37" fmla="*/ 300251 h 782471"/>
                <a:gd name="connsiteX38" fmla="*/ 696036 w 2984311"/>
                <a:gd name="connsiteY38" fmla="*/ 295702 h 782471"/>
                <a:gd name="connsiteX39" fmla="*/ 641445 w 2984311"/>
                <a:gd name="connsiteY39" fmla="*/ 291152 h 782471"/>
                <a:gd name="connsiteX40" fmla="*/ 591403 w 2984311"/>
                <a:gd name="connsiteY40" fmla="*/ 282054 h 782471"/>
                <a:gd name="connsiteX41" fmla="*/ 573206 w 2984311"/>
                <a:gd name="connsiteY41" fmla="*/ 277505 h 782471"/>
                <a:gd name="connsiteX42" fmla="*/ 545910 w 2984311"/>
                <a:gd name="connsiteY42" fmla="*/ 268406 h 782471"/>
                <a:gd name="connsiteX43" fmla="*/ 514066 w 2984311"/>
                <a:gd name="connsiteY43" fmla="*/ 263857 h 782471"/>
                <a:gd name="connsiteX44" fmla="*/ 491319 w 2984311"/>
                <a:gd name="connsiteY44" fmla="*/ 259308 h 782471"/>
                <a:gd name="connsiteX45" fmla="*/ 459474 w 2984311"/>
                <a:gd name="connsiteY45" fmla="*/ 254758 h 782471"/>
                <a:gd name="connsiteX46" fmla="*/ 432179 w 2984311"/>
                <a:gd name="connsiteY46" fmla="*/ 236561 h 782471"/>
                <a:gd name="connsiteX47" fmla="*/ 423080 w 2984311"/>
                <a:gd name="connsiteY47" fmla="*/ 222913 h 782471"/>
                <a:gd name="connsiteX48" fmla="*/ 404883 w 2984311"/>
                <a:gd name="connsiteY48" fmla="*/ 213815 h 782471"/>
                <a:gd name="connsiteX49" fmla="*/ 391236 w 2984311"/>
                <a:gd name="connsiteY49" fmla="*/ 204716 h 782471"/>
                <a:gd name="connsiteX50" fmla="*/ 373039 w 2984311"/>
                <a:gd name="connsiteY50" fmla="*/ 177421 h 782471"/>
                <a:gd name="connsiteX51" fmla="*/ 350292 w 2984311"/>
                <a:gd name="connsiteY51" fmla="*/ 150125 h 782471"/>
                <a:gd name="connsiteX52" fmla="*/ 322997 w 2984311"/>
                <a:gd name="connsiteY52" fmla="*/ 131928 h 782471"/>
                <a:gd name="connsiteX53" fmla="*/ 295701 w 2984311"/>
                <a:gd name="connsiteY53" fmla="*/ 113731 h 782471"/>
                <a:gd name="connsiteX54" fmla="*/ 286603 w 2984311"/>
                <a:gd name="connsiteY54" fmla="*/ 100084 h 782471"/>
                <a:gd name="connsiteX55" fmla="*/ 272955 w 2984311"/>
                <a:gd name="connsiteY55" fmla="*/ 95534 h 782471"/>
                <a:gd name="connsiteX56" fmla="*/ 259307 w 2984311"/>
                <a:gd name="connsiteY56" fmla="*/ 86436 h 782471"/>
                <a:gd name="connsiteX57" fmla="*/ 232012 w 2984311"/>
                <a:gd name="connsiteY57" fmla="*/ 77337 h 782471"/>
                <a:gd name="connsiteX58" fmla="*/ 218364 w 2984311"/>
                <a:gd name="connsiteY58" fmla="*/ 72788 h 782471"/>
                <a:gd name="connsiteX59" fmla="*/ 204716 w 2984311"/>
                <a:gd name="connsiteY59" fmla="*/ 68239 h 782471"/>
                <a:gd name="connsiteX60" fmla="*/ 191068 w 2984311"/>
                <a:gd name="connsiteY60" fmla="*/ 59140 h 782471"/>
                <a:gd name="connsiteX61" fmla="*/ 163773 w 2984311"/>
                <a:gd name="connsiteY61" fmla="*/ 50042 h 782471"/>
                <a:gd name="connsiteX62" fmla="*/ 136477 w 2984311"/>
                <a:gd name="connsiteY62" fmla="*/ 40943 h 782471"/>
                <a:gd name="connsiteX63" fmla="*/ 122830 w 2984311"/>
                <a:gd name="connsiteY63" fmla="*/ 36394 h 782471"/>
                <a:gd name="connsiteX64" fmla="*/ 0 w 2984311"/>
                <a:gd name="connsiteY64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20369 w 2984311"/>
                <a:gd name="connsiteY5" fmla="*/ 491319 h 782471"/>
                <a:gd name="connsiteX6" fmla="*/ 2370161 w 2984311"/>
                <a:gd name="connsiteY6" fmla="*/ 459475 h 782471"/>
                <a:gd name="connsiteX7" fmla="*/ 2247331 w 2984311"/>
                <a:gd name="connsiteY7" fmla="*/ 413982 h 782471"/>
                <a:gd name="connsiteX8" fmla="*/ 2233683 w 2984311"/>
                <a:gd name="connsiteY8" fmla="*/ 409433 h 782471"/>
                <a:gd name="connsiteX9" fmla="*/ 2197290 w 2984311"/>
                <a:gd name="connsiteY9" fmla="*/ 423081 h 782471"/>
                <a:gd name="connsiteX10" fmla="*/ 2056263 w 2984311"/>
                <a:gd name="connsiteY10" fmla="*/ 477672 h 782471"/>
                <a:gd name="connsiteX11" fmla="*/ 1969827 w 2984311"/>
                <a:gd name="connsiteY11" fmla="*/ 468573 h 782471"/>
                <a:gd name="connsiteX12" fmla="*/ 1883391 w 2984311"/>
                <a:gd name="connsiteY12" fmla="*/ 477672 h 782471"/>
                <a:gd name="connsiteX13" fmla="*/ 1796955 w 2984311"/>
                <a:gd name="connsiteY13" fmla="*/ 527713 h 782471"/>
                <a:gd name="connsiteX14" fmla="*/ 1733266 w 2984311"/>
                <a:gd name="connsiteY14" fmla="*/ 509516 h 782471"/>
                <a:gd name="connsiteX15" fmla="*/ 1728716 w 2984311"/>
                <a:gd name="connsiteY15" fmla="*/ 495869 h 782471"/>
                <a:gd name="connsiteX16" fmla="*/ 1724167 w 2984311"/>
                <a:gd name="connsiteY16" fmla="*/ 450376 h 782471"/>
                <a:gd name="connsiteX17" fmla="*/ 1687773 w 2984311"/>
                <a:gd name="connsiteY17" fmla="*/ 441278 h 782471"/>
                <a:gd name="connsiteX18" fmla="*/ 1665027 w 2984311"/>
                <a:gd name="connsiteY18" fmla="*/ 400334 h 782471"/>
                <a:gd name="connsiteX19" fmla="*/ 1610360 w 2984311"/>
                <a:gd name="connsiteY19" fmla="*/ 330703 h 782471"/>
                <a:gd name="connsiteX20" fmla="*/ 1534939 w 2984311"/>
                <a:gd name="connsiteY20" fmla="*/ 297317 h 782471"/>
                <a:gd name="connsiteX21" fmla="*/ 1418199 w 2984311"/>
                <a:gd name="connsiteY21" fmla="*/ 277355 h 782471"/>
                <a:gd name="connsiteX22" fmla="*/ 1278340 w 2984311"/>
                <a:gd name="connsiteY22" fmla="*/ 227463 h 782471"/>
                <a:gd name="connsiteX23" fmla="*/ 1264692 w 2984311"/>
                <a:gd name="connsiteY23" fmla="*/ 236561 h 782471"/>
                <a:gd name="connsiteX24" fmla="*/ 1246495 w 2984311"/>
                <a:gd name="connsiteY24" fmla="*/ 241111 h 782471"/>
                <a:gd name="connsiteX25" fmla="*/ 1219200 w 2984311"/>
                <a:gd name="connsiteY25" fmla="*/ 254758 h 782471"/>
                <a:gd name="connsiteX26" fmla="*/ 1191904 w 2984311"/>
                <a:gd name="connsiteY26" fmla="*/ 268406 h 782471"/>
                <a:gd name="connsiteX27" fmla="*/ 1160060 w 2984311"/>
                <a:gd name="connsiteY27" fmla="*/ 272955 h 782471"/>
                <a:gd name="connsiteX28" fmla="*/ 1105468 w 2984311"/>
                <a:gd name="connsiteY28" fmla="*/ 291152 h 782471"/>
                <a:gd name="connsiteX29" fmla="*/ 1073624 w 2984311"/>
                <a:gd name="connsiteY29" fmla="*/ 304800 h 782471"/>
                <a:gd name="connsiteX30" fmla="*/ 896203 w 2984311"/>
                <a:gd name="connsiteY30" fmla="*/ 309349 h 782471"/>
                <a:gd name="connsiteX31" fmla="*/ 868907 w 2984311"/>
                <a:gd name="connsiteY31" fmla="*/ 322997 h 782471"/>
                <a:gd name="connsiteX32" fmla="*/ 855260 w 2984311"/>
                <a:gd name="connsiteY32" fmla="*/ 327546 h 782471"/>
                <a:gd name="connsiteX33" fmla="*/ 782471 w 2984311"/>
                <a:gd name="connsiteY33" fmla="*/ 322997 h 782471"/>
                <a:gd name="connsiteX34" fmla="*/ 768824 w 2984311"/>
                <a:gd name="connsiteY34" fmla="*/ 318448 h 782471"/>
                <a:gd name="connsiteX35" fmla="*/ 723331 w 2984311"/>
                <a:gd name="connsiteY35" fmla="*/ 304800 h 782471"/>
                <a:gd name="connsiteX36" fmla="*/ 709683 w 2984311"/>
                <a:gd name="connsiteY36" fmla="*/ 300251 h 782471"/>
                <a:gd name="connsiteX37" fmla="*/ 696036 w 2984311"/>
                <a:gd name="connsiteY37" fmla="*/ 295702 h 782471"/>
                <a:gd name="connsiteX38" fmla="*/ 641445 w 2984311"/>
                <a:gd name="connsiteY38" fmla="*/ 291152 h 782471"/>
                <a:gd name="connsiteX39" fmla="*/ 591403 w 2984311"/>
                <a:gd name="connsiteY39" fmla="*/ 282054 h 782471"/>
                <a:gd name="connsiteX40" fmla="*/ 573206 w 2984311"/>
                <a:gd name="connsiteY40" fmla="*/ 277505 h 782471"/>
                <a:gd name="connsiteX41" fmla="*/ 545910 w 2984311"/>
                <a:gd name="connsiteY41" fmla="*/ 268406 h 782471"/>
                <a:gd name="connsiteX42" fmla="*/ 514066 w 2984311"/>
                <a:gd name="connsiteY42" fmla="*/ 263857 h 782471"/>
                <a:gd name="connsiteX43" fmla="*/ 491319 w 2984311"/>
                <a:gd name="connsiteY43" fmla="*/ 259308 h 782471"/>
                <a:gd name="connsiteX44" fmla="*/ 459474 w 2984311"/>
                <a:gd name="connsiteY44" fmla="*/ 254758 h 782471"/>
                <a:gd name="connsiteX45" fmla="*/ 432179 w 2984311"/>
                <a:gd name="connsiteY45" fmla="*/ 236561 h 782471"/>
                <a:gd name="connsiteX46" fmla="*/ 423080 w 2984311"/>
                <a:gd name="connsiteY46" fmla="*/ 222913 h 782471"/>
                <a:gd name="connsiteX47" fmla="*/ 404883 w 2984311"/>
                <a:gd name="connsiteY47" fmla="*/ 213815 h 782471"/>
                <a:gd name="connsiteX48" fmla="*/ 391236 w 2984311"/>
                <a:gd name="connsiteY48" fmla="*/ 204716 h 782471"/>
                <a:gd name="connsiteX49" fmla="*/ 373039 w 2984311"/>
                <a:gd name="connsiteY49" fmla="*/ 177421 h 782471"/>
                <a:gd name="connsiteX50" fmla="*/ 350292 w 2984311"/>
                <a:gd name="connsiteY50" fmla="*/ 150125 h 782471"/>
                <a:gd name="connsiteX51" fmla="*/ 322997 w 2984311"/>
                <a:gd name="connsiteY51" fmla="*/ 131928 h 782471"/>
                <a:gd name="connsiteX52" fmla="*/ 295701 w 2984311"/>
                <a:gd name="connsiteY52" fmla="*/ 113731 h 782471"/>
                <a:gd name="connsiteX53" fmla="*/ 286603 w 2984311"/>
                <a:gd name="connsiteY53" fmla="*/ 100084 h 782471"/>
                <a:gd name="connsiteX54" fmla="*/ 272955 w 2984311"/>
                <a:gd name="connsiteY54" fmla="*/ 95534 h 782471"/>
                <a:gd name="connsiteX55" fmla="*/ 259307 w 2984311"/>
                <a:gd name="connsiteY55" fmla="*/ 86436 h 782471"/>
                <a:gd name="connsiteX56" fmla="*/ 232012 w 2984311"/>
                <a:gd name="connsiteY56" fmla="*/ 77337 h 782471"/>
                <a:gd name="connsiteX57" fmla="*/ 218364 w 2984311"/>
                <a:gd name="connsiteY57" fmla="*/ 72788 h 782471"/>
                <a:gd name="connsiteX58" fmla="*/ 204716 w 2984311"/>
                <a:gd name="connsiteY58" fmla="*/ 68239 h 782471"/>
                <a:gd name="connsiteX59" fmla="*/ 191068 w 2984311"/>
                <a:gd name="connsiteY59" fmla="*/ 59140 h 782471"/>
                <a:gd name="connsiteX60" fmla="*/ 163773 w 2984311"/>
                <a:gd name="connsiteY60" fmla="*/ 50042 h 782471"/>
                <a:gd name="connsiteX61" fmla="*/ 136477 w 2984311"/>
                <a:gd name="connsiteY61" fmla="*/ 40943 h 782471"/>
                <a:gd name="connsiteX62" fmla="*/ 122830 w 2984311"/>
                <a:gd name="connsiteY62" fmla="*/ 36394 h 782471"/>
                <a:gd name="connsiteX63" fmla="*/ 0 w 2984311"/>
                <a:gd name="connsiteY63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20369 w 2984311"/>
                <a:gd name="connsiteY5" fmla="*/ 491319 h 782471"/>
                <a:gd name="connsiteX6" fmla="*/ 2370161 w 2984311"/>
                <a:gd name="connsiteY6" fmla="*/ 459475 h 782471"/>
                <a:gd name="connsiteX7" fmla="*/ 2247331 w 2984311"/>
                <a:gd name="connsiteY7" fmla="*/ 413982 h 782471"/>
                <a:gd name="connsiteX8" fmla="*/ 2233683 w 2984311"/>
                <a:gd name="connsiteY8" fmla="*/ 409433 h 782471"/>
                <a:gd name="connsiteX9" fmla="*/ 2197290 w 2984311"/>
                <a:gd name="connsiteY9" fmla="*/ 423081 h 782471"/>
                <a:gd name="connsiteX10" fmla="*/ 2056263 w 2984311"/>
                <a:gd name="connsiteY10" fmla="*/ 477672 h 782471"/>
                <a:gd name="connsiteX11" fmla="*/ 1969827 w 2984311"/>
                <a:gd name="connsiteY11" fmla="*/ 468573 h 782471"/>
                <a:gd name="connsiteX12" fmla="*/ 1883391 w 2984311"/>
                <a:gd name="connsiteY12" fmla="*/ 477672 h 782471"/>
                <a:gd name="connsiteX13" fmla="*/ 1796955 w 2984311"/>
                <a:gd name="connsiteY13" fmla="*/ 527713 h 782471"/>
                <a:gd name="connsiteX14" fmla="*/ 1733266 w 2984311"/>
                <a:gd name="connsiteY14" fmla="*/ 509516 h 782471"/>
                <a:gd name="connsiteX15" fmla="*/ 1728716 w 2984311"/>
                <a:gd name="connsiteY15" fmla="*/ 495869 h 782471"/>
                <a:gd name="connsiteX16" fmla="*/ 1724167 w 2984311"/>
                <a:gd name="connsiteY16" fmla="*/ 450376 h 782471"/>
                <a:gd name="connsiteX17" fmla="*/ 1687773 w 2984311"/>
                <a:gd name="connsiteY17" fmla="*/ 441278 h 782471"/>
                <a:gd name="connsiteX18" fmla="*/ 1665027 w 2984311"/>
                <a:gd name="connsiteY18" fmla="*/ 376271 h 782471"/>
                <a:gd name="connsiteX19" fmla="*/ 1610360 w 2984311"/>
                <a:gd name="connsiteY19" fmla="*/ 330703 h 782471"/>
                <a:gd name="connsiteX20" fmla="*/ 1534939 w 2984311"/>
                <a:gd name="connsiteY20" fmla="*/ 297317 h 782471"/>
                <a:gd name="connsiteX21" fmla="*/ 1418199 w 2984311"/>
                <a:gd name="connsiteY21" fmla="*/ 277355 h 782471"/>
                <a:gd name="connsiteX22" fmla="*/ 1278340 w 2984311"/>
                <a:gd name="connsiteY22" fmla="*/ 227463 h 782471"/>
                <a:gd name="connsiteX23" fmla="*/ 1264692 w 2984311"/>
                <a:gd name="connsiteY23" fmla="*/ 236561 h 782471"/>
                <a:gd name="connsiteX24" fmla="*/ 1246495 w 2984311"/>
                <a:gd name="connsiteY24" fmla="*/ 241111 h 782471"/>
                <a:gd name="connsiteX25" fmla="*/ 1219200 w 2984311"/>
                <a:gd name="connsiteY25" fmla="*/ 254758 h 782471"/>
                <a:gd name="connsiteX26" fmla="*/ 1191904 w 2984311"/>
                <a:gd name="connsiteY26" fmla="*/ 268406 h 782471"/>
                <a:gd name="connsiteX27" fmla="*/ 1160060 w 2984311"/>
                <a:gd name="connsiteY27" fmla="*/ 272955 h 782471"/>
                <a:gd name="connsiteX28" fmla="*/ 1105468 w 2984311"/>
                <a:gd name="connsiteY28" fmla="*/ 291152 h 782471"/>
                <a:gd name="connsiteX29" fmla="*/ 1073624 w 2984311"/>
                <a:gd name="connsiteY29" fmla="*/ 304800 h 782471"/>
                <a:gd name="connsiteX30" fmla="*/ 896203 w 2984311"/>
                <a:gd name="connsiteY30" fmla="*/ 309349 h 782471"/>
                <a:gd name="connsiteX31" fmla="*/ 868907 w 2984311"/>
                <a:gd name="connsiteY31" fmla="*/ 322997 h 782471"/>
                <a:gd name="connsiteX32" fmla="*/ 855260 w 2984311"/>
                <a:gd name="connsiteY32" fmla="*/ 327546 h 782471"/>
                <a:gd name="connsiteX33" fmla="*/ 782471 w 2984311"/>
                <a:gd name="connsiteY33" fmla="*/ 322997 h 782471"/>
                <a:gd name="connsiteX34" fmla="*/ 768824 w 2984311"/>
                <a:gd name="connsiteY34" fmla="*/ 318448 h 782471"/>
                <a:gd name="connsiteX35" fmla="*/ 723331 w 2984311"/>
                <a:gd name="connsiteY35" fmla="*/ 304800 h 782471"/>
                <a:gd name="connsiteX36" fmla="*/ 709683 w 2984311"/>
                <a:gd name="connsiteY36" fmla="*/ 300251 h 782471"/>
                <a:gd name="connsiteX37" fmla="*/ 696036 w 2984311"/>
                <a:gd name="connsiteY37" fmla="*/ 295702 h 782471"/>
                <a:gd name="connsiteX38" fmla="*/ 641445 w 2984311"/>
                <a:gd name="connsiteY38" fmla="*/ 291152 h 782471"/>
                <a:gd name="connsiteX39" fmla="*/ 591403 w 2984311"/>
                <a:gd name="connsiteY39" fmla="*/ 282054 h 782471"/>
                <a:gd name="connsiteX40" fmla="*/ 573206 w 2984311"/>
                <a:gd name="connsiteY40" fmla="*/ 277505 h 782471"/>
                <a:gd name="connsiteX41" fmla="*/ 545910 w 2984311"/>
                <a:gd name="connsiteY41" fmla="*/ 268406 h 782471"/>
                <a:gd name="connsiteX42" fmla="*/ 514066 w 2984311"/>
                <a:gd name="connsiteY42" fmla="*/ 263857 h 782471"/>
                <a:gd name="connsiteX43" fmla="*/ 491319 w 2984311"/>
                <a:gd name="connsiteY43" fmla="*/ 259308 h 782471"/>
                <a:gd name="connsiteX44" fmla="*/ 459474 w 2984311"/>
                <a:gd name="connsiteY44" fmla="*/ 254758 h 782471"/>
                <a:gd name="connsiteX45" fmla="*/ 432179 w 2984311"/>
                <a:gd name="connsiteY45" fmla="*/ 236561 h 782471"/>
                <a:gd name="connsiteX46" fmla="*/ 423080 w 2984311"/>
                <a:gd name="connsiteY46" fmla="*/ 222913 h 782471"/>
                <a:gd name="connsiteX47" fmla="*/ 404883 w 2984311"/>
                <a:gd name="connsiteY47" fmla="*/ 213815 h 782471"/>
                <a:gd name="connsiteX48" fmla="*/ 391236 w 2984311"/>
                <a:gd name="connsiteY48" fmla="*/ 204716 h 782471"/>
                <a:gd name="connsiteX49" fmla="*/ 373039 w 2984311"/>
                <a:gd name="connsiteY49" fmla="*/ 177421 h 782471"/>
                <a:gd name="connsiteX50" fmla="*/ 350292 w 2984311"/>
                <a:gd name="connsiteY50" fmla="*/ 150125 h 782471"/>
                <a:gd name="connsiteX51" fmla="*/ 322997 w 2984311"/>
                <a:gd name="connsiteY51" fmla="*/ 131928 h 782471"/>
                <a:gd name="connsiteX52" fmla="*/ 295701 w 2984311"/>
                <a:gd name="connsiteY52" fmla="*/ 113731 h 782471"/>
                <a:gd name="connsiteX53" fmla="*/ 286603 w 2984311"/>
                <a:gd name="connsiteY53" fmla="*/ 100084 h 782471"/>
                <a:gd name="connsiteX54" fmla="*/ 272955 w 2984311"/>
                <a:gd name="connsiteY54" fmla="*/ 95534 h 782471"/>
                <a:gd name="connsiteX55" fmla="*/ 259307 w 2984311"/>
                <a:gd name="connsiteY55" fmla="*/ 86436 h 782471"/>
                <a:gd name="connsiteX56" fmla="*/ 232012 w 2984311"/>
                <a:gd name="connsiteY56" fmla="*/ 77337 h 782471"/>
                <a:gd name="connsiteX57" fmla="*/ 218364 w 2984311"/>
                <a:gd name="connsiteY57" fmla="*/ 72788 h 782471"/>
                <a:gd name="connsiteX58" fmla="*/ 204716 w 2984311"/>
                <a:gd name="connsiteY58" fmla="*/ 68239 h 782471"/>
                <a:gd name="connsiteX59" fmla="*/ 191068 w 2984311"/>
                <a:gd name="connsiteY59" fmla="*/ 59140 h 782471"/>
                <a:gd name="connsiteX60" fmla="*/ 163773 w 2984311"/>
                <a:gd name="connsiteY60" fmla="*/ 50042 h 782471"/>
                <a:gd name="connsiteX61" fmla="*/ 136477 w 2984311"/>
                <a:gd name="connsiteY61" fmla="*/ 40943 h 782471"/>
                <a:gd name="connsiteX62" fmla="*/ 122830 w 2984311"/>
                <a:gd name="connsiteY62" fmla="*/ 36394 h 782471"/>
                <a:gd name="connsiteX63" fmla="*/ 0 w 2984311"/>
                <a:gd name="connsiteY63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20369 w 2984311"/>
                <a:gd name="connsiteY5" fmla="*/ 491319 h 782471"/>
                <a:gd name="connsiteX6" fmla="*/ 2370161 w 2984311"/>
                <a:gd name="connsiteY6" fmla="*/ 459475 h 782471"/>
                <a:gd name="connsiteX7" fmla="*/ 2247331 w 2984311"/>
                <a:gd name="connsiteY7" fmla="*/ 413982 h 782471"/>
                <a:gd name="connsiteX8" fmla="*/ 2233683 w 2984311"/>
                <a:gd name="connsiteY8" fmla="*/ 409433 h 782471"/>
                <a:gd name="connsiteX9" fmla="*/ 2197290 w 2984311"/>
                <a:gd name="connsiteY9" fmla="*/ 423081 h 782471"/>
                <a:gd name="connsiteX10" fmla="*/ 2056263 w 2984311"/>
                <a:gd name="connsiteY10" fmla="*/ 477672 h 782471"/>
                <a:gd name="connsiteX11" fmla="*/ 1969827 w 2984311"/>
                <a:gd name="connsiteY11" fmla="*/ 468573 h 782471"/>
                <a:gd name="connsiteX12" fmla="*/ 1883391 w 2984311"/>
                <a:gd name="connsiteY12" fmla="*/ 477672 h 782471"/>
                <a:gd name="connsiteX13" fmla="*/ 1796955 w 2984311"/>
                <a:gd name="connsiteY13" fmla="*/ 527713 h 782471"/>
                <a:gd name="connsiteX14" fmla="*/ 1733266 w 2984311"/>
                <a:gd name="connsiteY14" fmla="*/ 509516 h 782471"/>
                <a:gd name="connsiteX15" fmla="*/ 1728716 w 2984311"/>
                <a:gd name="connsiteY15" fmla="*/ 495869 h 782471"/>
                <a:gd name="connsiteX16" fmla="*/ 1724167 w 2984311"/>
                <a:gd name="connsiteY16" fmla="*/ 450376 h 782471"/>
                <a:gd name="connsiteX17" fmla="*/ 1699805 w 2984311"/>
                <a:gd name="connsiteY17" fmla="*/ 429247 h 782471"/>
                <a:gd name="connsiteX18" fmla="*/ 1665027 w 2984311"/>
                <a:gd name="connsiteY18" fmla="*/ 376271 h 782471"/>
                <a:gd name="connsiteX19" fmla="*/ 1610360 w 2984311"/>
                <a:gd name="connsiteY19" fmla="*/ 330703 h 782471"/>
                <a:gd name="connsiteX20" fmla="*/ 1534939 w 2984311"/>
                <a:gd name="connsiteY20" fmla="*/ 297317 h 782471"/>
                <a:gd name="connsiteX21" fmla="*/ 1418199 w 2984311"/>
                <a:gd name="connsiteY21" fmla="*/ 277355 h 782471"/>
                <a:gd name="connsiteX22" fmla="*/ 1278340 w 2984311"/>
                <a:gd name="connsiteY22" fmla="*/ 227463 h 782471"/>
                <a:gd name="connsiteX23" fmla="*/ 1264692 w 2984311"/>
                <a:gd name="connsiteY23" fmla="*/ 236561 h 782471"/>
                <a:gd name="connsiteX24" fmla="*/ 1246495 w 2984311"/>
                <a:gd name="connsiteY24" fmla="*/ 241111 h 782471"/>
                <a:gd name="connsiteX25" fmla="*/ 1219200 w 2984311"/>
                <a:gd name="connsiteY25" fmla="*/ 254758 h 782471"/>
                <a:gd name="connsiteX26" fmla="*/ 1191904 w 2984311"/>
                <a:gd name="connsiteY26" fmla="*/ 268406 h 782471"/>
                <a:gd name="connsiteX27" fmla="*/ 1160060 w 2984311"/>
                <a:gd name="connsiteY27" fmla="*/ 272955 h 782471"/>
                <a:gd name="connsiteX28" fmla="*/ 1105468 w 2984311"/>
                <a:gd name="connsiteY28" fmla="*/ 291152 h 782471"/>
                <a:gd name="connsiteX29" fmla="*/ 1073624 w 2984311"/>
                <a:gd name="connsiteY29" fmla="*/ 304800 h 782471"/>
                <a:gd name="connsiteX30" fmla="*/ 896203 w 2984311"/>
                <a:gd name="connsiteY30" fmla="*/ 309349 h 782471"/>
                <a:gd name="connsiteX31" fmla="*/ 868907 w 2984311"/>
                <a:gd name="connsiteY31" fmla="*/ 322997 h 782471"/>
                <a:gd name="connsiteX32" fmla="*/ 855260 w 2984311"/>
                <a:gd name="connsiteY32" fmla="*/ 327546 h 782471"/>
                <a:gd name="connsiteX33" fmla="*/ 782471 w 2984311"/>
                <a:gd name="connsiteY33" fmla="*/ 322997 h 782471"/>
                <a:gd name="connsiteX34" fmla="*/ 768824 w 2984311"/>
                <a:gd name="connsiteY34" fmla="*/ 318448 h 782471"/>
                <a:gd name="connsiteX35" fmla="*/ 723331 w 2984311"/>
                <a:gd name="connsiteY35" fmla="*/ 304800 h 782471"/>
                <a:gd name="connsiteX36" fmla="*/ 709683 w 2984311"/>
                <a:gd name="connsiteY36" fmla="*/ 300251 h 782471"/>
                <a:gd name="connsiteX37" fmla="*/ 696036 w 2984311"/>
                <a:gd name="connsiteY37" fmla="*/ 295702 h 782471"/>
                <a:gd name="connsiteX38" fmla="*/ 641445 w 2984311"/>
                <a:gd name="connsiteY38" fmla="*/ 291152 h 782471"/>
                <a:gd name="connsiteX39" fmla="*/ 591403 w 2984311"/>
                <a:gd name="connsiteY39" fmla="*/ 282054 h 782471"/>
                <a:gd name="connsiteX40" fmla="*/ 573206 w 2984311"/>
                <a:gd name="connsiteY40" fmla="*/ 277505 h 782471"/>
                <a:gd name="connsiteX41" fmla="*/ 545910 w 2984311"/>
                <a:gd name="connsiteY41" fmla="*/ 268406 h 782471"/>
                <a:gd name="connsiteX42" fmla="*/ 514066 w 2984311"/>
                <a:gd name="connsiteY42" fmla="*/ 263857 h 782471"/>
                <a:gd name="connsiteX43" fmla="*/ 491319 w 2984311"/>
                <a:gd name="connsiteY43" fmla="*/ 259308 h 782471"/>
                <a:gd name="connsiteX44" fmla="*/ 459474 w 2984311"/>
                <a:gd name="connsiteY44" fmla="*/ 254758 h 782471"/>
                <a:gd name="connsiteX45" fmla="*/ 432179 w 2984311"/>
                <a:gd name="connsiteY45" fmla="*/ 236561 h 782471"/>
                <a:gd name="connsiteX46" fmla="*/ 423080 w 2984311"/>
                <a:gd name="connsiteY46" fmla="*/ 222913 h 782471"/>
                <a:gd name="connsiteX47" fmla="*/ 404883 w 2984311"/>
                <a:gd name="connsiteY47" fmla="*/ 213815 h 782471"/>
                <a:gd name="connsiteX48" fmla="*/ 391236 w 2984311"/>
                <a:gd name="connsiteY48" fmla="*/ 204716 h 782471"/>
                <a:gd name="connsiteX49" fmla="*/ 373039 w 2984311"/>
                <a:gd name="connsiteY49" fmla="*/ 177421 h 782471"/>
                <a:gd name="connsiteX50" fmla="*/ 350292 w 2984311"/>
                <a:gd name="connsiteY50" fmla="*/ 150125 h 782471"/>
                <a:gd name="connsiteX51" fmla="*/ 322997 w 2984311"/>
                <a:gd name="connsiteY51" fmla="*/ 131928 h 782471"/>
                <a:gd name="connsiteX52" fmla="*/ 295701 w 2984311"/>
                <a:gd name="connsiteY52" fmla="*/ 113731 h 782471"/>
                <a:gd name="connsiteX53" fmla="*/ 286603 w 2984311"/>
                <a:gd name="connsiteY53" fmla="*/ 100084 h 782471"/>
                <a:gd name="connsiteX54" fmla="*/ 272955 w 2984311"/>
                <a:gd name="connsiteY54" fmla="*/ 95534 h 782471"/>
                <a:gd name="connsiteX55" fmla="*/ 259307 w 2984311"/>
                <a:gd name="connsiteY55" fmla="*/ 86436 h 782471"/>
                <a:gd name="connsiteX56" fmla="*/ 232012 w 2984311"/>
                <a:gd name="connsiteY56" fmla="*/ 77337 h 782471"/>
                <a:gd name="connsiteX57" fmla="*/ 218364 w 2984311"/>
                <a:gd name="connsiteY57" fmla="*/ 72788 h 782471"/>
                <a:gd name="connsiteX58" fmla="*/ 204716 w 2984311"/>
                <a:gd name="connsiteY58" fmla="*/ 68239 h 782471"/>
                <a:gd name="connsiteX59" fmla="*/ 191068 w 2984311"/>
                <a:gd name="connsiteY59" fmla="*/ 59140 h 782471"/>
                <a:gd name="connsiteX60" fmla="*/ 163773 w 2984311"/>
                <a:gd name="connsiteY60" fmla="*/ 50042 h 782471"/>
                <a:gd name="connsiteX61" fmla="*/ 136477 w 2984311"/>
                <a:gd name="connsiteY61" fmla="*/ 40943 h 782471"/>
                <a:gd name="connsiteX62" fmla="*/ 122830 w 2984311"/>
                <a:gd name="connsiteY62" fmla="*/ 36394 h 782471"/>
                <a:gd name="connsiteX63" fmla="*/ 0 w 2984311"/>
                <a:gd name="connsiteY63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20369 w 2984311"/>
                <a:gd name="connsiteY5" fmla="*/ 491319 h 782471"/>
                <a:gd name="connsiteX6" fmla="*/ 2370161 w 2984311"/>
                <a:gd name="connsiteY6" fmla="*/ 459475 h 782471"/>
                <a:gd name="connsiteX7" fmla="*/ 2247331 w 2984311"/>
                <a:gd name="connsiteY7" fmla="*/ 413982 h 782471"/>
                <a:gd name="connsiteX8" fmla="*/ 2233683 w 2984311"/>
                <a:gd name="connsiteY8" fmla="*/ 409433 h 782471"/>
                <a:gd name="connsiteX9" fmla="*/ 2197290 w 2984311"/>
                <a:gd name="connsiteY9" fmla="*/ 423081 h 782471"/>
                <a:gd name="connsiteX10" fmla="*/ 2056263 w 2984311"/>
                <a:gd name="connsiteY10" fmla="*/ 477672 h 782471"/>
                <a:gd name="connsiteX11" fmla="*/ 1969827 w 2984311"/>
                <a:gd name="connsiteY11" fmla="*/ 468573 h 782471"/>
                <a:gd name="connsiteX12" fmla="*/ 1883391 w 2984311"/>
                <a:gd name="connsiteY12" fmla="*/ 477672 h 782471"/>
                <a:gd name="connsiteX13" fmla="*/ 1796955 w 2984311"/>
                <a:gd name="connsiteY13" fmla="*/ 527713 h 782471"/>
                <a:gd name="connsiteX14" fmla="*/ 1733266 w 2984311"/>
                <a:gd name="connsiteY14" fmla="*/ 509516 h 782471"/>
                <a:gd name="connsiteX15" fmla="*/ 1728716 w 2984311"/>
                <a:gd name="connsiteY15" fmla="*/ 495869 h 782471"/>
                <a:gd name="connsiteX16" fmla="*/ 1724167 w 2984311"/>
                <a:gd name="connsiteY16" fmla="*/ 450376 h 782471"/>
                <a:gd name="connsiteX17" fmla="*/ 1699805 w 2984311"/>
                <a:gd name="connsiteY17" fmla="*/ 429247 h 782471"/>
                <a:gd name="connsiteX18" fmla="*/ 1665027 w 2984311"/>
                <a:gd name="connsiteY18" fmla="*/ 376271 h 782471"/>
                <a:gd name="connsiteX19" fmla="*/ 1610360 w 2984311"/>
                <a:gd name="connsiteY19" fmla="*/ 330703 h 782471"/>
                <a:gd name="connsiteX20" fmla="*/ 1534939 w 2984311"/>
                <a:gd name="connsiteY20" fmla="*/ 297317 h 782471"/>
                <a:gd name="connsiteX21" fmla="*/ 1418199 w 2984311"/>
                <a:gd name="connsiteY21" fmla="*/ 277355 h 782471"/>
                <a:gd name="connsiteX22" fmla="*/ 1278340 w 2984311"/>
                <a:gd name="connsiteY22" fmla="*/ 227463 h 782471"/>
                <a:gd name="connsiteX23" fmla="*/ 1264692 w 2984311"/>
                <a:gd name="connsiteY23" fmla="*/ 236561 h 782471"/>
                <a:gd name="connsiteX24" fmla="*/ 1246495 w 2984311"/>
                <a:gd name="connsiteY24" fmla="*/ 241111 h 782471"/>
                <a:gd name="connsiteX25" fmla="*/ 1219200 w 2984311"/>
                <a:gd name="connsiteY25" fmla="*/ 254758 h 782471"/>
                <a:gd name="connsiteX26" fmla="*/ 1160060 w 2984311"/>
                <a:gd name="connsiteY26" fmla="*/ 272955 h 782471"/>
                <a:gd name="connsiteX27" fmla="*/ 1105468 w 2984311"/>
                <a:gd name="connsiteY27" fmla="*/ 291152 h 782471"/>
                <a:gd name="connsiteX28" fmla="*/ 1073624 w 2984311"/>
                <a:gd name="connsiteY28" fmla="*/ 304800 h 782471"/>
                <a:gd name="connsiteX29" fmla="*/ 896203 w 2984311"/>
                <a:gd name="connsiteY29" fmla="*/ 309349 h 782471"/>
                <a:gd name="connsiteX30" fmla="*/ 868907 w 2984311"/>
                <a:gd name="connsiteY30" fmla="*/ 322997 h 782471"/>
                <a:gd name="connsiteX31" fmla="*/ 855260 w 2984311"/>
                <a:gd name="connsiteY31" fmla="*/ 327546 h 782471"/>
                <a:gd name="connsiteX32" fmla="*/ 782471 w 2984311"/>
                <a:gd name="connsiteY32" fmla="*/ 322997 h 782471"/>
                <a:gd name="connsiteX33" fmla="*/ 768824 w 2984311"/>
                <a:gd name="connsiteY33" fmla="*/ 318448 h 782471"/>
                <a:gd name="connsiteX34" fmla="*/ 723331 w 2984311"/>
                <a:gd name="connsiteY34" fmla="*/ 304800 h 782471"/>
                <a:gd name="connsiteX35" fmla="*/ 709683 w 2984311"/>
                <a:gd name="connsiteY35" fmla="*/ 300251 h 782471"/>
                <a:gd name="connsiteX36" fmla="*/ 696036 w 2984311"/>
                <a:gd name="connsiteY36" fmla="*/ 295702 h 782471"/>
                <a:gd name="connsiteX37" fmla="*/ 641445 w 2984311"/>
                <a:gd name="connsiteY37" fmla="*/ 291152 h 782471"/>
                <a:gd name="connsiteX38" fmla="*/ 591403 w 2984311"/>
                <a:gd name="connsiteY38" fmla="*/ 282054 h 782471"/>
                <a:gd name="connsiteX39" fmla="*/ 573206 w 2984311"/>
                <a:gd name="connsiteY39" fmla="*/ 277505 h 782471"/>
                <a:gd name="connsiteX40" fmla="*/ 545910 w 2984311"/>
                <a:gd name="connsiteY40" fmla="*/ 268406 h 782471"/>
                <a:gd name="connsiteX41" fmla="*/ 514066 w 2984311"/>
                <a:gd name="connsiteY41" fmla="*/ 263857 h 782471"/>
                <a:gd name="connsiteX42" fmla="*/ 491319 w 2984311"/>
                <a:gd name="connsiteY42" fmla="*/ 259308 h 782471"/>
                <a:gd name="connsiteX43" fmla="*/ 459474 w 2984311"/>
                <a:gd name="connsiteY43" fmla="*/ 254758 h 782471"/>
                <a:gd name="connsiteX44" fmla="*/ 432179 w 2984311"/>
                <a:gd name="connsiteY44" fmla="*/ 236561 h 782471"/>
                <a:gd name="connsiteX45" fmla="*/ 423080 w 2984311"/>
                <a:gd name="connsiteY45" fmla="*/ 222913 h 782471"/>
                <a:gd name="connsiteX46" fmla="*/ 404883 w 2984311"/>
                <a:gd name="connsiteY46" fmla="*/ 213815 h 782471"/>
                <a:gd name="connsiteX47" fmla="*/ 391236 w 2984311"/>
                <a:gd name="connsiteY47" fmla="*/ 204716 h 782471"/>
                <a:gd name="connsiteX48" fmla="*/ 373039 w 2984311"/>
                <a:gd name="connsiteY48" fmla="*/ 177421 h 782471"/>
                <a:gd name="connsiteX49" fmla="*/ 350292 w 2984311"/>
                <a:gd name="connsiteY49" fmla="*/ 150125 h 782471"/>
                <a:gd name="connsiteX50" fmla="*/ 322997 w 2984311"/>
                <a:gd name="connsiteY50" fmla="*/ 131928 h 782471"/>
                <a:gd name="connsiteX51" fmla="*/ 295701 w 2984311"/>
                <a:gd name="connsiteY51" fmla="*/ 113731 h 782471"/>
                <a:gd name="connsiteX52" fmla="*/ 286603 w 2984311"/>
                <a:gd name="connsiteY52" fmla="*/ 100084 h 782471"/>
                <a:gd name="connsiteX53" fmla="*/ 272955 w 2984311"/>
                <a:gd name="connsiteY53" fmla="*/ 95534 h 782471"/>
                <a:gd name="connsiteX54" fmla="*/ 259307 w 2984311"/>
                <a:gd name="connsiteY54" fmla="*/ 86436 h 782471"/>
                <a:gd name="connsiteX55" fmla="*/ 232012 w 2984311"/>
                <a:gd name="connsiteY55" fmla="*/ 77337 h 782471"/>
                <a:gd name="connsiteX56" fmla="*/ 218364 w 2984311"/>
                <a:gd name="connsiteY56" fmla="*/ 72788 h 782471"/>
                <a:gd name="connsiteX57" fmla="*/ 204716 w 2984311"/>
                <a:gd name="connsiteY57" fmla="*/ 68239 h 782471"/>
                <a:gd name="connsiteX58" fmla="*/ 191068 w 2984311"/>
                <a:gd name="connsiteY58" fmla="*/ 59140 h 782471"/>
                <a:gd name="connsiteX59" fmla="*/ 163773 w 2984311"/>
                <a:gd name="connsiteY59" fmla="*/ 50042 h 782471"/>
                <a:gd name="connsiteX60" fmla="*/ 136477 w 2984311"/>
                <a:gd name="connsiteY60" fmla="*/ 40943 h 782471"/>
                <a:gd name="connsiteX61" fmla="*/ 122830 w 2984311"/>
                <a:gd name="connsiteY61" fmla="*/ 36394 h 782471"/>
                <a:gd name="connsiteX62" fmla="*/ 0 w 2984311"/>
                <a:gd name="connsiteY62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20369 w 2984311"/>
                <a:gd name="connsiteY5" fmla="*/ 491319 h 782471"/>
                <a:gd name="connsiteX6" fmla="*/ 2370161 w 2984311"/>
                <a:gd name="connsiteY6" fmla="*/ 459475 h 782471"/>
                <a:gd name="connsiteX7" fmla="*/ 2247331 w 2984311"/>
                <a:gd name="connsiteY7" fmla="*/ 413982 h 782471"/>
                <a:gd name="connsiteX8" fmla="*/ 2233683 w 2984311"/>
                <a:gd name="connsiteY8" fmla="*/ 409433 h 782471"/>
                <a:gd name="connsiteX9" fmla="*/ 2197290 w 2984311"/>
                <a:gd name="connsiteY9" fmla="*/ 423081 h 782471"/>
                <a:gd name="connsiteX10" fmla="*/ 2056263 w 2984311"/>
                <a:gd name="connsiteY10" fmla="*/ 477672 h 782471"/>
                <a:gd name="connsiteX11" fmla="*/ 1969827 w 2984311"/>
                <a:gd name="connsiteY11" fmla="*/ 468573 h 782471"/>
                <a:gd name="connsiteX12" fmla="*/ 1883391 w 2984311"/>
                <a:gd name="connsiteY12" fmla="*/ 477672 h 782471"/>
                <a:gd name="connsiteX13" fmla="*/ 1796955 w 2984311"/>
                <a:gd name="connsiteY13" fmla="*/ 527713 h 782471"/>
                <a:gd name="connsiteX14" fmla="*/ 1733266 w 2984311"/>
                <a:gd name="connsiteY14" fmla="*/ 509516 h 782471"/>
                <a:gd name="connsiteX15" fmla="*/ 1728716 w 2984311"/>
                <a:gd name="connsiteY15" fmla="*/ 495869 h 782471"/>
                <a:gd name="connsiteX16" fmla="*/ 1724167 w 2984311"/>
                <a:gd name="connsiteY16" fmla="*/ 450376 h 782471"/>
                <a:gd name="connsiteX17" fmla="*/ 1699805 w 2984311"/>
                <a:gd name="connsiteY17" fmla="*/ 429247 h 782471"/>
                <a:gd name="connsiteX18" fmla="*/ 1665027 w 2984311"/>
                <a:gd name="connsiteY18" fmla="*/ 376271 h 782471"/>
                <a:gd name="connsiteX19" fmla="*/ 1610360 w 2984311"/>
                <a:gd name="connsiteY19" fmla="*/ 330703 h 782471"/>
                <a:gd name="connsiteX20" fmla="*/ 1534939 w 2984311"/>
                <a:gd name="connsiteY20" fmla="*/ 297317 h 782471"/>
                <a:gd name="connsiteX21" fmla="*/ 1418199 w 2984311"/>
                <a:gd name="connsiteY21" fmla="*/ 277355 h 782471"/>
                <a:gd name="connsiteX22" fmla="*/ 1278340 w 2984311"/>
                <a:gd name="connsiteY22" fmla="*/ 227463 h 782471"/>
                <a:gd name="connsiteX23" fmla="*/ 1264692 w 2984311"/>
                <a:gd name="connsiteY23" fmla="*/ 236561 h 782471"/>
                <a:gd name="connsiteX24" fmla="*/ 1246495 w 2984311"/>
                <a:gd name="connsiteY24" fmla="*/ 241111 h 782471"/>
                <a:gd name="connsiteX25" fmla="*/ 1219200 w 2984311"/>
                <a:gd name="connsiteY25" fmla="*/ 254758 h 782471"/>
                <a:gd name="connsiteX26" fmla="*/ 1105468 w 2984311"/>
                <a:gd name="connsiteY26" fmla="*/ 291152 h 782471"/>
                <a:gd name="connsiteX27" fmla="*/ 1073624 w 2984311"/>
                <a:gd name="connsiteY27" fmla="*/ 304800 h 782471"/>
                <a:gd name="connsiteX28" fmla="*/ 896203 w 2984311"/>
                <a:gd name="connsiteY28" fmla="*/ 309349 h 782471"/>
                <a:gd name="connsiteX29" fmla="*/ 868907 w 2984311"/>
                <a:gd name="connsiteY29" fmla="*/ 322997 h 782471"/>
                <a:gd name="connsiteX30" fmla="*/ 855260 w 2984311"/>
                <a:gd name="connsiteY30" fmla="*/ 327546 h 782471"/>
                <a:gd name="connsiteX31" fmla="*/ 782471 w 2984311"/>
                <a:gd name="connsiteY31" fmla="*/ 322997 h 782471"/>
                <a:gd name="connsiteX32" fmla="*/ 768824 w 2984311"/>
                <a:gd name="connsiteY32" fmla="*/ 318448 h 782471"/>
                <a:gd name="connsiteX33" fmla="*/ 723331 w 2984311"/>
                <a:gd name="connsiteY33" fmla="*/ 304800 h 782471"/>
                <a:gd name="connsiteX34" fmla="*/ 709683 w 2984311"/>
                <a:gd name="connsiteY34" fmla="*/ 300251 h 782471"/>
                <a:gd name="connsiteX35" fmla="*/ 696036 w 2984311"/>
                <a:gd name="connsiteY35" fmla="*/ 295702 h 782471"/>
                <a:gd name="connsiteX36" fmla="*/ 641445 w 2984311"/>
                <a:gd name="connsiteY36" fmla="*/ 291152 h 782471"/>
                <a:gd name="connsiteX37" fmla="*/ 591403 w 2984311"/>
                <a:gd name="connsiteY37" fmla="*/ 282054 h 782471"/>
                <a:gd name="connsiteX38" fmla="*/ 573206 w 2984311"/>
                <a:gd name="connsiteY38" fmla="*/ 277505 h 782471"/>
                <a:gd name="connsiteX39" fmla="*/ 545910 w 2984311"/>
                <a:gd name="connsiteY39" fmla="*/ 268406 h 782471"/>
                <a:gd name="connsiteX40" fmla="*/ 514066 w 2984311"/>
                <a:gd name="connsiteY40" fmla="*/ 263857 h 782471"/>
                <a:gd name="connsiteX41" fmla="*/ 491319 w 2984311"/>
                <a:gd name="connsiteY41" fmla="*/ 259308 h 782471"/>
                <a:gd name="connsiteX42" fmla="*/ 459474 w 2984311"/>
                <a:gd name="connsiteY42" fmla="*/ 254758 h 782471"/>
                <a:gd name="connsiteX43" fmla="*/ 432179 w 2984311"/>
                <a:gd name="connsiteY43" fmla="*/ 236561 h 782471"/>
                <a:gd name="connsiteX44" fmla="*/ 423080 w 2984311"/>
                <a:gd name="connsiteY44" fmla="*/ 222913 h 782471"/>
                <a:gd name="connsiteX45" fmla="*/ 404883 w 2984311"/>
                <a:gd name="connsiteY45" fmla="*/ 213815 h 782471"/>
                <a:gd name="connsiteX46" fmla="*/ 391236 w 2984311"/>
                <a:gd name="connsiteY46" fmla="*/ 204716 h 782471"/>
                <a:gd name="connsiteX47" fmla="*/ 373039 w 2984311"/>
                <a:gd name="connsiteY47" fmla="*/ 177421 h 782471"/>
                <a:gd name="connsiteX48" fmla="*/ 350292 w 2984311"/>
                <a:gd name="connsiteY48" fmla="*/ 150125 h 782471"/>
                <a:gd name="connsiteX49" fmla="*/ 322997 w 2984311"/>
                <a:gd name="connsiteY49" fmla="*/ 131928 h 782471"/>
                <a:gd name="connsiteX50" fmla="*/ 295701 w 2984311"/>
                <a:gd name="connsiteY50" fmla="*/ 113731 h 782471"/>
                <a:gd name="connsiteX51" fmla="*/ 286603 w 2984311"/>
                <a:gd name="connsiteY51" fmla="*/ 100084 h 782471"/>
                <a:gd name="connsiteX52" fmla="*/ 272955 w 2984311"/>
                <a:gd name="connsiteY52" fmla="*/ 95534 h 782471"/>
                <a:gd name="connsiteX53" fmla="*/ 259307 w 2984311"/>
                <a:gd name="connsiteY53" fmla="*/ 86436 h 782471"/>
                <a:gd name="connsiteX54" fmla="*/ 232012 w 2984311"/>
                <a:gd name="connsiteY54" fmla="*/ 77337 h 782471"/>
                <a:gd name="connsiteX55" fmla="*/ 218364 w 2984311"/>
                <a:gd name="connsiteY55" fmla="*/ 72788 h 782471"/>
                <a:gd name="connsiteX56" fmla="*/ 204716 w 2984311"/>
                <a:gd name="connsiteY56" fmla="*/ 68239 h 782471"/>
                <a:gd name="connsiteX57" fmla="*/ 191068 w 2984311"/>
                <a:gd name="connsiteY57" fmla="*/ 59140 h 782471"/>
                <a:gd name="connsiteX58" fmla="*/ 163773 w 2984311"/>
                <a:gd name="connsiteY58" fmla="*/ 50042 h 782471"/>
                <a:gd name="connsiteX59" fmla="*/ 136477 w 2984311"/>
                <a:gd name="connsiteY59" fmla="*/ 40943 h 782471"/>
                <a:gd name="connsiteX60" fmla="*/ 122830 w 2984311"/>
                <a:gd name="connsiteY60" fmla="*/ 36394 h 782471"/>
                <a:gd name="connsiteX61" fmla="*/ 0 w 2984311"/>
                <a:gd name="connsiteY61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20369 w 2984311"/>
                <a:gd name="connsiteY5" fmla="*/ 491319 h 782471"/>
                <a:gd name="connsiteX6" fmla="*/ 2370161 w 2984311"/>
                <a:gd name="connsiteY6" fmla="*/ 459475 h 782471"/>
                <a:gd name="connsiteX7" fmla="*/ 2247331 w 2984311"/>
                <a:gd name="connsiteY7" fmla="*/ 413982 h 782471"/>
                <a:gd name="connsiteX8" fmla="*/ 2233683 w 2984311"/>
                <a:gd name="connsiteY8" fmla="*/ 409433 h 782471"/>
                <a:gd name="connsiteX9" fmla="*/ 2197290 w 2984311"/>
                <a:gd name="connsiteY9" fmla="*/ 423081 h 782471"/>
                <a:gd name="connsiteX10" fmla="*/ 2056263 w 2984311"/>
                <a:gd name="connsiteY10" fmla="*/ 477672 h 782471"/>
                <a:gd name="connsiteX11" fmla="*/ 1969827 w 2984311"/>
                <a:gd name="connsiteY11" fmla="*/ 468573 h 782471"/>
                <a:gd name="connsiteX12" fmla="*/ 1883391 w 2984311"/>
                <a:gd name="connsiteY12" fmla="*/ 477672 h 782471"/>
                <a:gd name="connsiteX13" fmla="*/ 1796955 w 2984311"/>
                <a:gd name="connsiteY13" fmla="*/ 527713 h 782471"/>
                <a:gd name="connsiteX14" fmla="*/ 1733266 w 2984311"/>
                <a:gd name="connsiteY14" fmla="*/ 509516 h 782471"/>
                <a:gd name="connsiteX15" fmla="*/ 1728716 w 2984311"/>
                <a:gd name="connsiteY15" fmla="*/ 495869 h 782471"/>
                <a:gd name="connsiteX16" fmla="*/ 1724167 w 2984311"/>
                <a:gd name="connsiteY16" fmla="*/ 450376 h 782471"/>
                <a:gd name="connsiteX17" fmla="*/ 1699805 w 2984311"/>
                <a:gd name="connsiteY17" fmla="*/ 429247 h 782471"/>
                <a:gd name="connsiteX18" fmla="*/ 1665027 w 2984311"/>
                <a:gd name="connsiteY18" fmla="*/ 376271 h 782471"/>
                <a:gd name="connsiteX19" fmla="*/ 1610360 w 2984311"/>
                <a:gd name="connsiteY19" fmla="*/ 330703 h 782471"/>
                <a:gd name="connsiteX20" fmla="*/ 1534939 w 2984311"/>
                <a:gd name="connsiteY20" fmla="*/ 297317 h 782471"/>
                <a:gd name="connsiteX21" fmla="*/ 1418199 w 2984311"/>
                <a:gd name="connsiteY21" fmla="*/ 277355 h 782471"/>
                <a:gd name="connsiteX22" fmla="*/ 1278340 w 2984311"/>
                <a:gd name="connsiteY22" fmla="*/ 227463 h 782471"/>
                <a:gd name="connsiteX23" fmla="*/ 1264692 w 2984311"/>
                <a:gd name="connsiteY23" fmla="*/ 236561 h 782471"/>
                <a:gd name="connsiteX24" fmla="*/ 1246495 w 2984311"/>
                <a:gd name="connsiteY24" fmla="*/ 241111 h 782471"/>
                <a:gd name="connsiteX25" fmla="*/ 1219200 w 2984311"/>
                <a:gd name="connsiteY25" fmla="*/ 254758 h 782471"/>
                <a:gd name="connsiteX26" fmla="*/ 1073624 w 2984311"/>
                <a:gd name="connsiteY26" fmla="*/ 304800 h 782471"/>
                <a:gd name="connsiteX27" fmla="*/ 896203 w 2984311"/>
                <a:gd name="connsiteY27" fmla="*/ 309349 h 782471"/>
                <a:gd name="connsiteX28" fmla="*/ 868907 w 2984311"/>
                <a:gd name="connsiteY28" fmla="*/ 322997 h 782471"/>
                <a:gd name="connsiteX29" fmla="*/ 855260 w 2984311"/>
                <a:gd name="connsiteY29" fmla="*/ 327546 h 782471"/>
                <a:gd name="connsiteX30" fmla="*/ 782471 w 2984311"/>
                <a:gd name="connsiteY30" fmla="*/ 322997 h 782471"/>
                <a:gd name="connsiteX31" fmla="*/ 768824 w 2984311"/>
                <a:gd name="connsiteY31" fmla="*/ 318448 h 782471"/>
                <a:gd name="connsiteX32" fmla="*/ 723331 w 2984311"/>
                <a:gd name="connsiteY32" fmla="*/ 304800 h 782471"/>
                <a:gd name="connsiteX33" fmla="*/ 709683 w 2984311"/>
                <a:gd name="connsiteY33" fmla="*/ 300251 h 782471"/>
                <a:gd name="connsiteX34" fmla="*/ 696036 w 2984311"/>
                <a:gd name="connsiteY34" fmla="*/ 295702 h 782471"/>
                <a:gd name="connsiteX35" fmla="*/ 641445 w 2984311"/>
                <a:gd name="connsiteY35" fmla="*/ 291152 h 782471"/>
                <a:gd name="connsiteX36" fmla="*/ 591403 w 2984311"/>
                <a:gd name="connsiteY36" fmla="*/ 282054 h 782471"/>
                <a:gd name="connsiteX37" fmla="*/ 573206 w 2984311"/>
                <a:gd name="connsiteY37" fmla="*/ 277505 h 782471"/>
                <a:gd name="connsiteX38" fmla="*/ 545910 w 2984311"/>
                <a:gd name="connsiteY38" fmla="*/ 268406 h 782471"/>
                <a:gd name="connsiteX39" fmla="*/ 514066 w 2984311"/>
                <a:gd name="connsiteY39" fmla="*/ 263857 h 782471"/>
                <a:gd name="connsiteX40" fmla="*/ 491319 w 2984311"/>
                <a:gd name="connsiteY40" fmla="*/ 259308 h 782471"/>
                <a:gd name="connsiteX41" fmla="*/ 459474 w 2984311"/>
                <a:gd name="connsiteY41" fmla="*/ 254758 h 782471"/>
                <a:gd name="connsiteX42" fmla="*/ 432179 w 2984311"/>
                <a:gd name="connsiteY42" fmla="*/ 236561 h 782471"/>
                <a:gd name="connsiteX43" fmla="*/ 423080 w 2984311"/>
                <a:gd name="connsiteY43" fmla="*/ 222913 h 782471"/>
                <a:gd name="connsiteX44" fmla="*/ 404883 w 2984311"/>
                <a:gd name="connsiteY44" fmla="*/ 213815 h 782471"/>
                <a:gd name="connsiteX45" fmla="*/ 391236 w 2984311"/>
                <a:gd name="connsiteY45" fmla="*/ 204716 h 782471"/>
                <a:gd name="connsiteX46" fmla="*/ 373039 w 2984311"/>
                <a:gd name="connsiteY46" fmla="*/ 177421 h 782471"/>
                <a:gd name="connsiteX47" fmla="*/ 350292 w 2984311"/>
                <a:gd name="connsiteY47" fmla="*/ 150125 h 782471"/>
                <a:gd name="connsiteX48" fmla="*/ 322997 w 2984311"/>
                <a:gd name="connsiteY48" fmla="*/ 131928 h 782471"/>
                <a:gd name="connsiteX49" fmla="*/ 295701 w 2984311"/>
                <a:gd name="connsiteY49" fmla="*/ 113731 h 782471"/>
                <a:gd name="connsiteX50" fmla="*/ 286603 w 2984311"/>
                <a:gd name="connsiteY50" fmla="*/ 100084 h 782471"/>
                <a:gd name="connsiteX51" fmla="*/ 272955 w 2984311"/>
                <a:gd name="connsiteY51" fmla="*/ 95534 h 782471"/>
                <a:gd name="connsiteX52" fmla="*/ 259307 w 2984311"/>
                <a:gd name="connsiteY52" fmla="*/ 86436 h 782471"/>
                <a:gd name="connsiteX53" fmla="*/ 232012 w 2984311"/>
                <a:gd name="connsiteY53" fmla="*/ 77337 h 782471"/>
                <a:gd name="connsiteX54" fmla="*/ 218364 w 2984311"/>
                <a:gd name="connsiteY54" fmla="*/ 72788 h 782471"/>
                <a:gd name="connsiteX55" fmla="*/ 204716 w 2984311"/>
                <a:gd name="connsiteY55" fmla="*/ 68239 h 782471"/>
                <a:gd name="connsiteX56" fmla="*/ 191068 w 2984311"/>
                <a:gd name="connsiteY56" fmla="*/ 59140 h 782471"/>
                <a:gd name="connsiteX57" fmla="*/ 163773 w 2984311"/>
                <a:gd name="connsiteY57" fmla="*/ 50042 h 782471"/>
                <a:gd name="connsiteX58" fmla="*/ 136477 w 2984311"/>
                <a:gd name="connsiteY58" fmla="*/ 40943 h 782471"/>
                <a:gd name="connsiteX59" fmla="*/ 122830 w 2984311"/>
                <a:gd name="connsiteY59" fmla="*/ 36394 h 782471"/>
                <a:gd name="connsiteX60" fmla="*/ 0 w 2984311"/>
                <a:gd name="connsiteY60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20369 w 2984311"/>
                <a:gd name="connsiteY5" fmla="*/ 491319 h 782471"/>
                <a:gd name="connsiteX6" fmla="*/ 2370161 w 2984311"/>
                <a:gd name="connsiteY6" fmla="*/ 459475 h 782471"/>
                <a:gd name="connsiteX7" fmla="*/ 2247331 w 2984311"/>
                <a:gd name="connsiteY7" fmla="*/ 413982 h 782471"/>
                <a:gd name="connsiteX8" fmla="*/ 2233683 w 2984311"/>
                <a:gd name="connsiteY8" fmla="*/ 409433 h 782471"/>
                <a:gd name="connsiteX9" fmla="*/ 2197290 w 2984311"/>
                <a:gd name="connsiteY9" fmla="*/ 423081 h 782471"/>
                <a:gd name="connsiteX10" fmla="*/ 2056263 w 2984311"/>
                <a:gd name="connsiteY10" fmla="*/ 477672 h 782471"/>
                <a:gd name="connsiteX11" fmla="*/ 1969827 w 2984311"/>
                <a:gd name="connsiteY11" fmla="*/ 468573 h 782471"/>
                <a:gd name="connsiteX12" fmla="*/ 1883391 w 2984311"/>
                <a:gd name="connsiteY12" fmla="*/ 477672 h 782471"/>
                <a:gd name="connsiteX13" fmla="*/ 1796955 w 2984311"/>
                <a:gd name="connsiteY13" fmla="*/ 527713 h 782471"/>
                <a:gd name="connsiteX14" fmla="*/ 1733266 w 2984311"/>
                <a:gd name="connsiteY14" fmla="*/ 509516 h 782471"/>
                <a:gd name="connsiteX15" fmla="*/ 1728716 w 2984311"/>
                <a:gd name="connsiteY15" fmla="*/ 495869 h 782471"/>
                <a:gd name="connsiteX16" fmla="*/ 1724167 w 2984311"/>
                <a:gd name="connsiteY16" fmla="*/ 450376 h 782471"/>
                <a:gd name="connsiteX17" fmla="*/ 1699805 w 2984311"/>
                <a:gd name="connsiteY17" fmla="*/ 429247 h 782471"/>
                <a:gd name="connsiteX18" fmla="*/ 1665027 w 2984311"/>
                <a:gd name="connsiteY18" fmla="*/ 376271 h 782471"/>
                <a:gd name="connsiteX19" fmla="*/ 1610360 w 2984311"/>
                <a:gd name="connsiteY19" fmla="*/ 330703 h 782471"/>
                <a:gd name="connsiteX20" fmla="*/ 1534939 w 2984311"/>
                <a:gd name="connsiteY20" fmla="*/ 297317 h 782471"/>
                <a:gd name="connsiteX21" fmla="*/ 1418199 w 2984311"/>
                <a:gd name="connsiteY21" fmla="*/ 277355 h 782471"/>
                <a:gd name="connsiteX22" fmla="*/ 1278340 w 2984311"/>
                <a:gd name="connsiteY22" fmla="*/ 227463 h 782471"/>
                <a:gd name="connsiteX23" fmla="*/ 1264692 w 2984311"/>
                <a:gd name="connsiteY23" fmla="*/ 236561 h 782471"/>
                <a:gd name="connsiteX24" fmla="*/ 1219200 w 2984311"/>
                <a:gd name="connsiteY24" fmla="*/ 254758 h 782471"/>
                <a:gd name="connsiteX25" fmla="*/ 1073624 w 2984311"/>
                <a:gd name="connsiteY25" fmla="*/ 304800 h 782471"/>
                <a:gd name="connsiteX26" fmla="*/ 896203 w 2984311"/>
                <a:gd name="connsiteY26" fmla="*/ 309349 h 782471"/>
                <a:gd name="connsiteX27" fmla="*/ 868907 w 2984311"/>
                <a:gd name="connsiteY27" fmla="*/ 322997 h 782471"/>
                <a:gd name="connsiteX28" fmla="*/ 855260 w 2984311"/>
                <a:gd name="connsiteY28" fmla="*/ 327546 h 782471"/>
                <a:gd name="connsiteX29" fmla="*/ 782471 w 2984311"/>
                <a:gd name="connsiteY29" fmla="*/ 322997 h 782471"/>
                <a:gd name="connsiteX30" fmla="*/ 768824 w 2984311"/>
                <a:gd name="connsiteY30" fmla="*/ 318448 h 782471"/>
                <a:gd name="connsiteX31" fmla="*/ 723331 w 2984311"/>
                <a:gd name="connsiteY31" fmla="*/ 304800 h 782471"/>
                <a:gd name="connsiteX32" fmla="*/ 709683 w 2984311"/>
                <a:gd name="connsiteY32" fmla="*/ 300251 h 782471"/>
                <a:gd name="connsiteX33" fmla="*/ 696036 w 2984311"/>
                <a:gd name="connsiteY33" fmla="*/ 295702 h 782471"/>
                <a:gd name="connsiteX34" fmla="*/ 641445 w 2984311"/>
                <a:gd name="connsiteY34" fmla="*/ 291152 h 782471"/>
                <a:gd name="connsiteX35" fmla="*/ 591403 w 2984311"/>
                <a:gd name="connsiteY35" fmla="*/ 282054 h 782471"/>
                <a:gd name="connsiteX36" fmla="*/ 573206 w 2984311"/>
                <a:gd name="connsiteY36" fmla="*/ 277505 h 782471"/>
                <a:gd name="connsiteX37" fmla="*/ 545910 w 2984311"/>
                <a:gd name="connsiteY37" fmla="*/ 268406 h 782471"/>
                <a:gd name="connsiteX38" fmla="*/ 514066 w 2984311"/>
                <a:gd name="connsiteY38" fmla="*/ 263857 h 782471"/>
                <a:gd name="connsiteX39" fmla="*/ 491319 w 2984311"/>
                <a:gd name="connsiteY39" fmla="*/ 259308 h 782471"/>
                <a:gd name="connsiteX40" fmla="*/ 459474 w 2984311"/>
                <a:gd name="connsiteY40" fmla="*/ 254758 h 782471"/>
                <a:gd name="connsiteX41" fmla="*/ 432179 w 2984311"/>
                <a:gd name="connsiteY41" fmla="*/ 236561 h 782471"/>
                <a:gd name="connsiteX42" fmla="*/ 423080 w 2984311"/>
                <a:gd name="connsiteY42" fmla="*/ 222913 h 782471"/>
                <a:gd name="connsiteX43" fmla="*/ 404883 w 2984311"/>
                <a:gd name="connsiteY43" fmla="*/ 213815 h 782471"/>
                <a:gd name="connsiteX44" fmla="*/ 391236 w 2984311"/>
                <a:gd name="connsiteY44" fmla="*/ 204716 h 782471"/>
                <a:gd name="connsiteX45" fmla="*/ 373039 w 2984311"/>
                <a:gd name="connsiteY45" fmla="*/ 177421 h 782471"/>
                <a:gd name="connsiteX46" fmla="*/ 350292 w 2984311"/>
                <a:gd name="connsiteY46" fmla="*/ 150125 h 782471"/>
                <a:gd name="connsiteX47" fmla="*/ 322997 w 2984311"/>
                <a:gd name="connsiteY47" fmla="*/ 131928 h 782471"/>
                <a:gd name="connsiteX48" fmla="*/ 295701 w 2984311"/>
                <a:gd name="connsiteY48" fmla="*/ 113731 h 782471"/>
                <a:gd name="connsiteX49" fmla="*/ 286603 w 2984311"/>
                <a:gd name="connsiteY49" fmla="*/ 100084 h 782471"/>
                <a:gd name="connsiteX50" fmla="*/ 272955 w 2984311"/>
                <a:gd name="connsiteY50" fmla="*/ 95534 h 782471"/>
                <a:gd name="connsiteX51" fmla="*/ 259307 w 2984311"/>
                <a:gd name="connsiteY51" fmla="*/ 86436 h 782471"/>
                <a:gd name="connsiteX52" fmla="*/ 232012 w 2984311"/>
                <a:gd name="connsiteY52" fmla="*/ 77337 h 782471"/>
                <a:gd name="connsiteX53" fmla="*/ 218364 w 2984311"/>
                <a:gd name="connsiteY53" fmla="*/ 72788 h 782471"/>
                <a:gd name="connsiteX54" fmla="*/ 204716 w 2984311"/>
                <a:gd name="connsiteY54" fmla="*/ 68239 h 782471"/>
                <a:gd name="connsiteX55" fmla="*/ 191068 w 2984311"/>
                <a:gd name="connsiteY55" fmla="*/ 59140 h 782471"/>
                <a:gd name="connsiteX56" fmla="*/ 163773 w 2984311"/>
                <a:gd name="connsiteY56" fmla="*/ 50042 h 782471"/>
                <a:gd name="connsiteX57" fmla="*/ 136477 w 2984311"/>
                <a:gd name="connsiteY57" fmla="*/ 40943 h 782471"/>
                <a:gd name="connsiteX58" fmla="*/ 122830 w 2984311"/>
                <a:gd name="connsiteY58" fmla="*/ 36394 h 782471"/>
                <a:gd name="connsiteX59" fmla="*/ 0 w 2984311"/>
                <a:gd name="connsiteY59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20369 w 2984311"/>
                <a:gd name="connsiteY5" fmla="*/ 491319 h 782471"/>
                <a:gd name="connsiteX6" fmla="*/ 2370161 w 2984311"/>
                <a:gd name="connsiteY6" fmla="*/ 459475 h 782471"/>
                <a:gd name="connsiteX7" fmla="*/ 2247331 w 2984311"/>
                <a:gd name="connsiteY7" fmla="*/ 413982 h 782471"/>
                <a:gd name="connsiteX8" fmla="*/ 2233683 w 2984311"/>
                <a:gd name="connsiteY8" fmla="*/ 409433 h 782471"/>
                <a:gd name="connsiteX9" fmla="*/ 2197290 w 2984311"/>
                <a:gd name="connsiteY9" fmla="*/ 423081 h 782471"/>
                <a:gd name="connsiteX10" fmla="*/ 2056263 w 2984311"/>
                <a:gd name="connsiteY10" fmla="*/ 477672 h 782471"/>
                <a:gd name="connsiteX11" fmla="*/ 1969827 w 2984311"/>
                <a:gd name="connsiteY11" fmla="*/ 468573 h 782471"/>
                <a:gd name="connsiteX12" fmla="*/ 1883391 w 2984311"/>
                <a:gd name="connsiteY12" fmla="*/ 477672 h 782471"/>
                <a:gd name="connsiteX13" fmla="*/ 1796955 w 2984311"/>
                <a:gd name="connsiteY13" fmla="*/ 527713 h 782471"/>
                <a:gd name="connsiteX14" fmla="*/ 1733266 w 2984311"/>
                <a:gd name="connsiteY14" fmla="*/ 509516 h 782471"/>
                <a:gd name="connsiteX15" fmla="*/ 1728716 w 2984311"/>
                <a:gd name="connsiteY15" fmla="*/ 495869 h 782471"/>
                <a:gd name="connsiteX16" fmla="*/ 1724167 w 2984311"/>
                <a:gd name="connsiteY16" fmla="*/ 450376 h 782471"/>
                <a:gd name="connsiteX17" fmla="*/ 1699805 w 2984311"/>
                <a:gd name="connsiteY17" fmla="*/ 429247 h 782471"/>
                <a:gd name="connsiteX18" fmla="*/ 1665027 w 2984311"/>
                <a:gd name="connsiteY18" fmla="*/ 376271 h 782471"/>
                <a:gd name="connsiteX19" fmla="*/ 1610360 w 2984311"/>
                <a:gd name="connsiteY19" fmla="*/ 330703 h 782471"/>
                <a:gd name="connsiteX20" fmla="*/ 1534939 w 2984311"/>
                <a:gd name="connsiteY20" fmla="*/ 297317 h 782471"/>
                <a:gd name="connsiteX21" fmla="*/ 1418199 w 2984311"/>
                <a:gd name="connsiteY21" fmla="*/ 277355 h 782471"/>
                <a:gd name="connsiteX22" fmla="*/ 1278340 w 2984311"/>
                <a:gd name="connsiteY22" fmla="*/ 227463 h 782471"/>
                <a:gd name="connsiteX23" fmla="*/ 1219200 w 2984311"/>
                <a:gd name="connsiteY23" fmla="*/ 254758 h 782471"/>
                <a:gd name="connsiteX24" fmla="*/ 1073624 w 2984311"/>
                <a:gd name="connsiteY24" fmla="*/ 304800 h 782471"/>
                <a:gd name="connsiteX25" fmla="*/ 896203 w 2984311"/>
                <a:gd name="connsiteY25" fmla="*/ 309349 h 782471"/>
                <a:gd name="connsiteX26" fmla="*/ 868907 w 2984311"/>
                <a:gd name="connsiteY26" fmla="*/ 322997 h 782471"/>
                <a:gd name="connsiteX27" fmla="*/ 855260 w 2984311"/>
                <a:gd name="connsiteY27" fmla="*/ 327546 h 782471"/>
                <a:gd name="connsiteX28" fmla="*/ 782471 w 2984311"/>
                <a:gd name="connsiteY28" fmla="*/ 322997 h 782471"/>
                <a:gd name="connsiteX29" fmla="*/ 768824 w 2984311"/>
                <a:gd name="connsiteY29" fmla="*/ 318448 h 782471"/>
                <a:gd name="connsiteX30" fmla="*/ 723331 w 2984311"/>
                <a:gd name="connsiteY30" fmla="*/ 304800 h 782471"/>
                <a:gd name="connsiteX31" fmla="*/ 709683 w 2984311"/>
                <a:gd name="connsiteY31" fmla="*/ 300251 h 782471"/>
                <a:gd name="connsiteX32" fmla="*/ 696036 w 2984311"/>
                <a:gd name="connsiteY32" fmla="*/ 295702 h 782471"/>
                <a:gd name="connsiteX33" fmla="*/ 641445 w 2984311"/>
                <a:gd name="connsiteY33" fmla="*/ 291152 h 782471"/>
                <a:gd name="connsiteX34" fmla="*/ 591403 w 2984311"/>
                <a:gd name="connsiteY34" fmla="*/ 282054 h 782471"/>
                <a:gd name="connsiteX35" fmla="*/ 573206 w 2984311"/>
                <a:gd name="connsiteY35" fmla="*/ 277505 h 782471"/>
                <a:gd name="connsiteX36" fmla="*/ 545910 w 2984311"/>
                <a:gd name="connsiteY36" fmla="*/ 268406 h 782471"/>
                <a:gd name="connsiteX37" fmla="*/ 514066 w 2984311"/>
                <a:gd name="connsiteY37" fmla="*/ 263857 h 782471"/>
                <a:gd name="connsiteX38" fmla="*/ 491319 w 2984311"/>
                <a:gd name="connsiteY38" fmla="*/ 259308 h 782471"/>
                <a:gd name="connsiteX39" fmla="*/ 459474 w 2984311"/>
                <a:gd name="connsiteY39" fmla="*/ 254758 h 782471"/>
                <a:gd name="connsiteX40" fmla="*/ 432179 w 2984311"/>
                <a:gd name="connsiteY40" fmla="*/ 236561 h 782471"/>
                <a:gd name="connsiteX41" fmla="*/ 423080 w 2984311"/>
                <a:gd name="connsiteY41" fmla="*/ 222913 h 782471"/>
                <a:gd name="connsiteX42" fmla="*/ 404883 w 2984311"/>
                <a:gd name="connsiteY42" fmla="*/ 213815 h 782471"/>
                <a:gd name="connsiteX43" fmla="*/ 391236 w 2984311"/>
                <a:gd name="connsiteY43" fmla="*/ 204716 h 782471"/>
                <a:gd name="connsiteX44" fmla="*/ 373039 w 2984311"/>
                <a:gd name="connsiteY44" fmla="*/ 177421 h 782471"/>
                <a:gd name="connsiteX45" fmla="*/ 350292 w 2984311"/>
                <a:gd name="connsiteY45" fmla="*/ 150125 h 782471"/>
                <a:gd name="connsiteX46" fmla="*/ 322997 w 2984311"/>
                <a:gd name="connsiteY46" fmla="*/ 131928 h 782471"/>
                <a:gd name="connsiteX47" fmla="*/ 295701 w 2984311"/>
                <a:gd name="connsiteY47" fmla="*/ 113731 h 782471"/>
                <a:gd name="connsiteX48" fmla="*/ 286603 w 2984311"/>
                <a:gd name="connsiteY48" fmla="*/ 100084 h 782471"/>
                <a:gd name="connsiteX49" fmla="*/ 272955 w 2984311"/>
                <a:gd name="connsiteY49" fmla="*/ 95534 h 782471"/>
                <a:gd name="connsiteX50" fmla="*/ 259307 w 2984311"/>
                <a:gd name="connsiteY50" fmla="*/ 86436 h 782471"/>
                <a:gd name="connsiteX51" fmla="*/ 232012 w 2984311"/>
                <a:gd name="connsiteY51" fmla="*/ 77337 h 782471"/>
                <a:gd name="connsiteX52" fmla="*/ 218364 w 2984311"/>
                <a:gd name="connsiteY52" fmla="*/ 72788 h 782471"/>
                <a:gd name="connsiteX53" fmla="*/ 204716 w 2984311"/>
                <a:gd name="connsiteY53" fmla="*/ 68239 h 782471"/>
                <a:gd name="connsiteX54" fmla="*/ 191068 w 2984311"/>
                <a:gd name="connsiteY54" fmla="*/ 59140 h 782471"/>
                <a:gd name="connsiteX55" fmla="*/ 163773 w 2984311"/>
                <a:gd name="connsiteY55" fmla="*/ 50042 h 782471"/>
                <a:gd name="connsiteX56" fmla="*/ 136477 w 2984311"/>
                <a:gd name="connsiteY56" fmla="*/ 40943 h 782471"/>
                <a:gd name="connsiteX57" fmla="*/ 122830 w 2984311"/>
                <a:gd name="connsiteY57" fmla="*/ 36394 h 782471"/>
                <a:gd name="connsiteX58" fmla="*/ 0 w 2984311"/>
                <a:gd name="connsiteY58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20369 w 2984311"/>
                <a:gd name="connsiteY5" fmla="*/ 491319 h 782471"/>
                <a:gd name="connsiteX6" fmla="*/ 2370161 w 2984311"/>
                <a:gd name="connsiteY6" fmla="*/ 459475 h 782471"/>
                <a:gd name="connsiteX7" fmla="*/ 2247331 w 2984311"/>
                <a:gd name="connsiteY7" fmla="*/ 413982 h 782471"/>
                <a:gd name="connsiteX8" fmla="*/ 2233683 w 2984311"/>
                <a:gd name="connsiteY8" fmla="*/ 409433 h 782471"/>
                <a:gd name="connsiteX9" fmla="*/ 2197290 w 2984311"/>
                <a:gd name="connsiteY9" fmla="*/ 423081 h 782471"/>
                <a:gd name="connsiteX10" fmla="*/ 2056263 w 2984311"/>
                <a:gd name="connsiteY10" fmla="*/ 477672 h 782471"/>
                <a:gd name="connsiteX11" fmla="*/ 1969827 w 2984311"/>
                <a:gd name="connsiteY11" fmla="*/ 468573 h 782471"/>
                <a:gd name="connsiteX12" fmla="*/ 1883391 w 2984311"/>
                <a:gd name="connsiteY12" fmla="*/ 477672 h 782471"/>
                <a:gd name="connsiteX13" fmla="*/ 1796955 w 2984311"/>
                <a:gd name="connsiteY13" fmla="*/ 527713 h 782471"/>
                <a:gd name="connsiteX14" fmla="*/ 1733266 w 2984311"/>
                <a:gd name="connsiteY14" fmla="*/ 509516 h 782471"/>
                <a:gd name="connsiteX15" fmla="*/ 1728716 w 2984311"/>
                <a:gd name="connsiteY15" fmla="*/ 495869 h 782471"/>
                <a:gd name="connsiteX16" fmla="*/ 1724167 w 2984311"/>
                <a:gd name="connsiteY16" fmla="*/ 450376 h 782471"/>
                <a:gd name="connsiteX17" fmla="*/ 1699805 w 2984311"/>
                <a:gd name="connsiteY17" fmla="*/ 429247 h 782471"/>
                <a:gd name="connsiteX18" fmla="*/ 1665027 w 2984311"/>
                <a:gd name="connsiteY18" fmla="*/ 376271 h 782471"/>
                <a:gd name="connsiteX19" fmla="*/ 1610360 w 2984311"/>
                <a:gd name="connsiteY19" fmla="*/ 330703 h 782471"/>
                <a:gd name="connsiteX20" fmla="*/ 1534939 w 2984311"/>
                <a:gd name="connsiteY20" fmla="*/ 297317 h 782471"/>
                <a:gd name="connsiteX21" fmla="*/ 1418199 w 2984311"/>
                <a:gd name="connsiteY21" fmla="*/ 277355 h 782471"/>
                <a:gd name="connsiteX22" fmla="*/ 1260293 w 2984311"/>
                <a:gd name="connsiteY22" fmla="*/ 230471 h 782471"/>
                <a:gd name="connsiteX23" fmla="*/ 1219200 w 2984311"/>
                <a:gd name="connsiteY23" fmla="*/ 254758 h 782471"/>
                <a:gd name="connsiteX24" fmla="*/ 1073624 w 2984311"/>
                <a:gd name="connsiteY24" fmla="*/ 304800 h 782471"/>
                <a:gd name="connsiteX25" fmla="*/ 896203 w 2984311"/>
                <a:gd name="connsiteY25" fmla="*/ 309349 h 782471"/>
                <a:gd name="connsiteX26" fmla="*/ 868907 w 2984311"/>
                <a:gd name="connsiteY26" fmla="*/ 322997 h 782471"/>
                <a:gd name="connsiteX27" fmla="*/ 855260 w 2984311"/>
                <a:gd name="connsiteY27" fmla="*/ 327546 h 782471"/>
                <a:gd name="connsiteX28" fmla="*/ 782471 w 2984311"/>
                <a:gd name="connsiteY28" fmla="*/ 322997 h 782471"/>
                <a:gd name="connsiteX29" fmla="*/ 768824 w 2984311"/>
                <a:gd name="connsiteY29" fmla="*/ 318448 h 782471"/>
                <a:gd name="connsiteX30" fmla="*/ 723331 w 2984311"/>
                <a:gd name="connsiteY30" fmla="*/ 304800 h 782471"/>
                <a:gd name="connsiteX31" fmla="*/ 709683 w 2984311"/>
                <a:gd name="connsiteY31" fmla="*/ 300251 h 782471"/>
                <a:gd name="connsiteX32" fmla="*/ 696036 w 2984311"/>
                <a:gd name="connsiteY32" fmla="*/ 295702 h 782471"/>
                <a:gd name="connsiteX33" fmla="*/ 641445 w 2984311"/>
                <a:gd name="connsiteY33" fmla="*/ 291152 h 782471"/>
                <a:gd name="connsiteX34" fmla="*/ 591403 w 2984311"/>
                <a:gd name="connsiteY34" fmla="*/ 282054 h 782471"/>
                <a:gd name="connsiteX35" fmla="*/ 573206 w 2984311"/>
                <a:gd name="connsiteY35" fmla="*/ 277505 h 782471"/>
                <a:gd name="connsiteX36" fmla="*/ 545910 w 2984311"/>
                <a:gd name="connsiteY36" fmla="*/ 268406 h 782471"/>
                <a:gd name="connsiteX37" fmla="*/ 514066 w 2984311"/>
                <a:gd name="connsiteY37" fmla="*/ 263857 h 782471"/>
                <a:gd name="connsiteX38" fmla="*/ 491319 w 2984311"/>
                <a:gd name="connsiteY38" fmla="*/ 259308 h 782471"/>
                <a:gd name="connsiteX39" fmla="*/ 459474 w 2984311"/>
                <a:gd name="connsiteY39" fmla="*/ 254758 h 782471"/>
                <a:gd name="connsiteX40" fmla="*/ 432179 w 2984311"/>
                <a:gd name="connsiteY40" fmla="*/ 236561 h 782471"/>
                <a:gd name="connsiteX41" fmla="*/ 423080 w 2984311"/>
                <a:gd name="connsiteY41" fmla="*/ 222913 h 782471"/>
                <a:gd name="connsiteX42" fmla="*/ 404883 w 2984311"/>
                <a:gd name="connsiteY42" fmla="*/ 213815 h 782471"/>
                <a:gd name="connsiteX43" fmla="*/ 391236 w 2984311"/>
                <a:gd name="connsiteY43" fmla="*/ 204716 h 782471"/>
                <a:gd name="connsiteX44" fmla="*/ 373039 w 2984311"/>
                <a:gd name="connsiteY44" fmla="*/ 177421 h 782471"/>
                <a:gd name="connsiteX45" fmla="*/ 350292 w 2984311"/>
                <a:gd name="connsiteY45" fmla="*/ 150125 h 782471"/>
                <a:gd name="connsiteX46" fmla="*/ 322997 w 2984311"/>
                <a:gd name="connsiteY46" fmla="*/ 131928 h 782471"/>
                <a:gd name="connsiteX47" fmla="*/ 295701 w 2984311"/>
                <a:gd name="connsiteY47" fmla="*/ 113731 h 782471"/>
                <a:gd name="connsiteX48" fmla="*/ 286603 w 2984311"/>
                <a:gd name="connsiteY48" fmla="*/ 100084 h 782471"/>
                <a:gd name="connsiteX49" fmla="*/ 272955 w 2984311"/>
                <a:gd name="connsiteY49" fmla="*/ 95534 h 782471"/>
                <a:gd name="connsiteX50" fmla="*/ 259307 w 2984311"/>
                <a:gd name="connsiteY50" fmla="*/ 86436 h 782471"/>
                <a:gd name="connsiteX51" fmla="*/ 232012 w 2984311"/>
                <a:gd name="connsiteY51" fmla="*/ 77337 h 782471"/>
                <a:gd name="connsiteX52" fmla="*/ 218364 w 2984311"/>
                <a:gd name="connsiteY52" fmla="*/ 72788 h 782471"/>
                <a:gd name="connsiteX53" fmla="*/ 204716 w 2984311"/>
                <a:gd name="connsiteY53" fmla="*/ 68239 h 782471"/>
                <a:gd name="connsiteX54" fmla="*/ 191068 w 2984311"/>
                <a:gd name="connsiteY54" fmla="*/ 59140 h 782471"/>
                <a:gd name="connsiteX55" fmla="*/ 163773 w 2984311"/>
                <a:gd name="connsiteY55" fmla="*/ 50042 h 782471"/>
                <a:gd name="connsiteX56" fmla="*/ 136477 w 2984311"/>
                <a:gd name="connsiteY56" fmla="*/ 40943 h 782471"/>
                <a:gd name="connsiteX57" fmla="*/ 122830 w 2984311"/>
                <a:gd name="connsiteY57" fmla="*/ 36394 h 782471"/>
                <a:gd name="connsiteX58" fmla="*/ 0 w 2984311"/>
                <a:gd name="connsiteY58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20369 w 2984311"/>
                <a:gd name="connsiteY5" fmla="*/ 491319 h 782471"/>
                <a:gd name="connsiteX6" fmla="*/ 2370161 w 2984311"/>
                <a:gd name="connsiteY6" fmla="*/ 459475 h 782471"/>
                <a:gd name="connsiteX7" fmla="*/ 2247331 w 2984311"/>
                <a:gd name="connsiteY7" fmla="*/ 413982 h 782471"/>
                <a:gd name="connsiteX8" fmla="*/ 2233683 w 2984311"/>
                <a:gd name="connsiteY8" fmla="*/ 409433 h 782471"/>
                <a:gd name="connsiteX9" fmla="*/ 2197290 w 2984311"/>
                <a:gd name="connsiteY9" fmla="*/ 423081 h 782471"/>
                <a:gd name="connsiteX10" fmla="*/ 2056263 w 2984311"/>
                <a:gd name="connsiteY10" fmla="*/ 477672 h 782471"/>
                <a:gd name="connsiteX11" fmla="*/ 1969827 w 2984311"/>
                <a:gd name="connsiteY11" fmla="*/ 468573 h 782471"/>
                <a:gd name="connsiteX12" fmla="*/ 1883391 w 2984311"/>
                <a:gd name="connsiteY12" fmla="*/ 477672 h 782471"/>
                <a:gd name="connsiteX13" fmla="*/ 1796955 w 2984311"/>
                <a:gd name="connsiteY13" fmla="*/ 527713 h 782471"/>
                <a:gd name="connsiteX14" fmla="*/ 1733266 w 2984311"/>
                <a:gd name="connsiteY14" fmla="*/ 509516 h 782471"/>
                <a:gd name="connsiteX15" fmla="*/ 1728716 w 2984311"/>
                <a:gd name="connsiteY15" fmla="*/ 495869 h 782471"/>
                <a:gd name="connsiteX16" fmla="*/ 1724167 w 2984311"/>
                <a:gd name="connsiteY16" fmla="*/ 450376 h 782471"/>
                <a:gd name="connsiteX17" fmla="*/ 1699805 w 2984311"/>
                <a:gd name="connsiteY17" fmla="*/ 429247 h 782471"/>
                <a:gd name="connsiteX18" fmla="*/ 1665027 w 2984311"/>
                <a:gd name="connsiteY18" fmla="*/ 376271 h 782471"/>
                <a:gd name="connsiteX19" fmla="*/ 1610360 w 2984311"/>
                <a:gd name="connsiteY19" fmla="*/ 330703 h 782471"/>
                <a:gd name="connsiteX20" fmla="*/ 1534939 w 2984311"/>
                <a:gd name="connsiteY20" fmla="*/ 297317 h 782471"/>
                <a:gd name="connsiteX21" fmla="*/ 1418199 w 2984311"/>
                <a:gd name="connsiteY21" fmla="*/ 277355 h 782471"/>
                <a:gd name="connsiteX22" fmla="*/ 1260293 w 2984311"/>
                <a:gd name="connsiteY22" fmla="*/ 230471 h 782471"/>
                <a:gd name="connsiteX23" fmla="*/ 1219200 w 2984311"/>
                <a:gd name="connsiteY23" fmla="*/ 254758 h 782471"/>
                <a:gd name="connsiteX24" fmla="*/ 1073624 w 2984311"/>
                <a:gd name="connsiteY24" fmla="*/ 304800 h 782471"/>
                <a:gd name="connsiteX25" fmla="*/ 890187 w 2984311"/>
                <a:gd name="connsiteY25" fmla="*/ 318372 h 782471"/>
                <a:gd name="connsiteX26" fmla="*/ 868907 w 2984311"/>
                <a:gd name="connsiteY26" fmla="*/ 322997 h 782471"/>
                <a:gd name="connsiteX27" fmla="*/ 855260 w 2984311"/>
                <a:gd name="connsiteY27" fmla="*/ 327546 h 782471"/>
                <a:gd name="connsiteX28" fmla="*/ 782471 w 2984311"/>
                <a:gd name="connsiteY28" fmla="*/ 322997 h 782471"/>
                <a:gd name="connsiteX29" fmla="*/ 768824 w 2984311"/>
                <a:gd name="connsiteY29" fmla="*/ 318448 h 782471"/>
                <a:gd name="connsiteX30" fmla="*/ 723331 w 2984311"/>
                <a:gd name="connsiteY30" fmla="*/ 304800 h 782471"/>
                <a:gd name="connsiteX31" fmla="*/ 709683 w 2984311"/>
                <a:gd name="connsiteY31" fmla="*/ 300251 h 782471"/>
                <a:gd name="connsiteX32" fmla="*/ 696036 w 2984311"/>
                <a:gd name="connsiteY32" fmla="*/ 295702 h 782471"/>
                <a:gd name="connsiteX33" fmla="*/ 641445 w 2984311"/>
                <a:gd name="connsiteY33" fmla="*/ 291152 h 782471"/>
                <a:gd name="connsiteX34" fmla="*/ 591403 w 2984311"/>
                <a:gd name="connsiteY34" fmla="*/ 282054 h 782471"/>
                <a:gd name="connsiteX35" fmla="*/ 573206 w 2984311"/>
                <a:gd name="connsiteY35" fmla="*/ 277505 h 782471"/>
                <a:gd name="connsiteX36" fmla="*/ 545910 w 2984311"/>
                <a:gd name="connsiteY36" fmla="*/ 268406 h 782471"/>
                <a:gd name="connsiteX37" fmla="*/ 514066 w 2984311"/>
                <a:gd name="connsiteY37" fmla="*/ 263857 h 782471"/>
                <a:gd name="connsiteX38" fmla="*/ 491319 w 2984311"/>
                <a:gd name="connsiteY38" fmla="*/ 259308 h 782471"/>
                <a:gd name="connsiteX39" fmla="*/ 459474 w 2984311"/>
                <a:gd name="connsiteY39" fmla="*/ 254758 h 782471"/>
                <a:gd name="connsiteX40" fmla="*/ 432179 w 2984311"/>
                <a:gd name="connsiteY40" fmla="*/ 236561 h 782471"/>
                <a:gd name="connsiteX41" fmla="*/ 423080 w 2984311"/>
                <a:gd name="connsiteY41" fmla="*/ 222913 h 782471"/>
                <a:gd name="connsiteX42" fmla="*/ 404883 w 2984311"/>
                <a:gd name="connsiteY42" fmla="*/ 213815 h 782471"/>
                <a:gd name="connsiteX43" fmla="*/ 391236 w 2984311"/>
                <a:gd name="connsiteY43" fmla="*/ 204716 h 782471"/>
                <a:gd name="connsiteX44" fmla="*/ 373039 w 2984311"/>
                <a:gd name="connsiteY44" fmla="*/ 177421 h 782471"/>
                <a:gd name="connsiteX45" fmla="*/ 350292 w 2984311"/>
                <a:gd name="connsiteY45" fmla="*/ 150125 h 782471"/>
                <a:gd name="connsiteX46" fmla="*/ 322997 w 2984311"/>
                <a:gd name="connsiteY46" fmla="*/ 131928 h 782471"/>
                <a:gd name="connsiteX47" fmla="*/ 295701 w 2984311"/>
                <a:gd name="connsiteY47" fmla="*/ 113731 h 782471"/>
                <a:gd name="connsiteX48" fmla="*/ 286603 w 2984311"/>
                <a:gd name="connsiteY48" fmla="*/ 100084 h 782471"/>
                <a:gd name="connsiteX49" fmla="*/ 272955 w 2984311"/>
                <a:gd name="connsiteY49" fmla="*/ 95534 h 782471"/>
                <a:gd name="connsiteX50" fmla="*/ 259307 w 2984311"/>
                <a:gd name="connsiteY50" fmla="*/ 86436 h 782471"/>
                <a:gd name="connsiteX51" fmla="*/ 232012 w 2984311"/>
                <a:gd name="connsiteY51" fmla="*/ 77337 h 782471"/>
                <a:gd name="connsiteX52" fmla="*/ 218364 w 2984311"/>
                <a:gd name="connsiteY52" fmla="*/ 72788 h 782471"/>
                <a:gd name="connsiteX53" fmla="*/ 204716 w 2984311"/>
                <a:gd name="connsiteY53" fmla="*/ 68239 h 782471"/>
                <a:gd name="connsiteX54" fmla="*/ 191068 w 2984311"/>
                <a:gd name="connsiteY54" fmla="*/ 59140 h 782471"/>
                <a:gd name="connsiteX55" fmla="*/ 163773 w 2984311"/>
                <a:gd name="connsiteY55" fmla="*/ 50042 h 782471"/>
                <a:gd name="connsiteX56" fmla="*/ 136477 w 2984311"/>
                <a:gd name="connsiteY56" fmla="*/ 40943 h 782471"/>
                <a:gd name="connsiteX57" fmla="*/ 122830 w 2984311"/>
                <a:gd name="connsiteY57" fmla="*/ 36394 h 782471"/>
                <a:gd name="connsiteX58" fmla="*/ 0 w 2984311"/>
                <a:gd name="connsiteY58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20369 w 2984311"/>
                <a:gd name="connsiteY5" fmla="*/ 491319 h 782471"/>
                <a:gd name="connsiteX6" fmla="*/ 2370161 w 2984311"/>
                <a:gd name="connsiteY6" fmla="*/ 459475 h 782471"/>
                <a:gd name="connsiteX7" fmla="*/ 2247331 w 2984311"/>
                <a:gd name="connsiteY7" fmla="*/ 413982 h 782471"/>
                <a:gd name="connsiteX8" fmla="*/ 2233683 w 2984311"/>
                <a:gd name="connsiteY8" fmla="*/ 409433 h 782471"/>
                <a:gd name="connsiteX9" fmla="*/ 2197290 w 2984311"/>
                <a:gd name="connsiteY9" fmla="*/ 423081 h 782471"/>
                <a:gd name="connsiteX10" fmla="*/ 2056263 w 2984311"/>
                <a:gd name="connsiteY10" fmla="*/ 477672 h 782471"/>
                <a:gd name="connsiteX11" fmla="*/ 1969827 w 2984311"/>
                <a:gd name="connsiteY11" fmla="*/ 468573 h 782471"/>
                <a:gd name="connsiteX12" fmla="*/ 1883391 w 2984311"/>
                <a:gd name="connsiteY12" fmla="*/ 477672 h 782471"/>
                <a:gd name="connsiteX13" fmla="*/ 1796955 w 2984311"/>
                <a:gd name="connsiteY13" fmla="*/ 527713 h 782471"/>
                <a:gd name="connsiteX14" fmla="*/ 1733266 w 2984311"/>
                <a:gd name="connsiteY14" fmla="*/ 509516 h 782471"/>
                <a:gd name="connsiteX15" fmla="*/ 1728716 w 2984311"/>
                <a:gd name="connsiteY15" fmla="*/ 495869 h 782471"/>
                <a:gd name="connsiteX16" fmla="*/ 1724167 w 2984311"/>
                <a:gd name="connsiteY16" fmla="*/ 450376 h 782471"/>
                <a:gd name="connsiteX17" fmla="*/ 1699805 w 2984311"/>
                <a:gd name="connsiteY17" fmla="*/ 429247 h 782471"/>
                <a:gd name="connsiteX18" fmla="*/ 1665027 w 2984311"/>
                <a:gd name="connsiteY18" fmla="*/ 376271 h 782471"/>
                <a:gd name="connsiteX19" fmla="*/ 1610360 w 2984311"/>
                <a:gd name="connsiteY19" fmla="*/ 330703 h 782471"/>
                <a:gd name="connsiteX20" fmla="*/ 1534939 w 2984311"/>
                <a:gd name="connsiteY20" fmla="*/ 297317 h 782471"/>
                <a:gd name="connsiteX21" fmla="*/ 1418199 w 2984311"/>
                <a:gd name="connsiteY21" fmla="*/ 277355 h 782471"/>
                <a:gd name="connsiteX22" fmla="*/ 1260293 w 2984311"/>
                <a:gd name="connsiteY22" fmla="*/ 230471 h 782471"/>
                <a:gd name="connsiteX23" fmla="*/ 1219200 w 2984311"/>
                <a:gd name="connsiteY23" fmla="*/ 254758 h 782471"/>
                <a:gd name="connsiteX24" fmla="*/ 1073624 w 2984311"/>
                <a:gd name="connsiteY24" fmla="*/ 304800 h 782471"/>
                <a:gd name="connsiteX25" fmla="*/ 890187 w 2984311"/>
                <a:gd name="connsiteY25" fmla="*/ 318372 h 782471"/>
                <a:gd name="connsiteX26" fmla="*/ 868907 w 2984311"/>
                <a:gd name="connsiteY26" fmla="*/ 322997 h 782471"/>
                <a:gd name="connsiteX27" fmla="*/ 855260 w 2984311"/>
                <a:gd name="connsiteY27" fmla="*/ 327546 h 782471"/>
                <a:gd name="connsiteX28" fmla="*/ 782471 w 2984311"/>
                <a:gd name="connsiteY28" fmla="*/ 322997 h 782471"/>
                <a:gd name="connsiteX29" fmla="*/ 768824 w 2984311"/>
                <a:gd name="connsiteY29" fmla="*/ 318448 h 782471"/>
                <a:gd name="connsiteX30" fmla="*/ 723331 w 2984311"/>
                <a:gd name="connsiteY30" fmla="*/ 304800 h 782471"/>
                <a:gd name="connsiteX31" fmla="*/ 709683 w 2984311"/>
                <a:gd name="connsiteY31" fmla="*/ 300251 h 782471"/>
                <a:gd name="connsiteX32" fmla="*/ 696036 w 2984311"/>
                <a:gd name="connsiteY32" fmla="*/ 295702 h 782471"/>
                <a:gd name="connsiteX33" fmla="*/ 641445 w 2984311"/>
                <a:gd name="connsiteY33" fmla="*/ 291152 h 782471"/>
                <a:gd name="connsiteX34" fmla="*/ 591403 w 2984311"/>
                <a:gd name="connsiteY34" fmla="*/ 282054 h 782471"/>
                <a:gd name="connsiteX35" fmla="*/ 573206 w 2984311"/>
                <a:gd name="connsiteY35" fmla="*/ 277505 h 782471"/>
                <a:gd name="connsiteX36" fmla="*/ 545910 w 2984311"/>
                <a:gd name="connsiteY36" fmla="*/ 268406 h 782471"/>
                <a:gd name="connsiteX37" fmla="*/ 514066 w 2984311"/>
                <a:gd name="connsiteY37" fmla="*/ 263857 h 782471"/>
                <a:gd name="connsiteX38" fmla="*/ 491319 w 2984311"/>
                <a:gd name="connsiteY38" fmla="*/ 259308 h 782471"/>
                <a:gd name="connsiteX39" fmla="*/ 459474 w 2984311"/>
                <a:gd name="connsiteY39" fmla="*/ 254758 h 782471"/>
                <a:gd name="connsiteX40" fmla="*/ 432179 w 2984311"/>
                <a:gd name="connsiteY40" fmla="*/ 236561 h 782471"/>
                <a:gd name="connsiteX41" fmla="*/ 423080 w 2984311"/>
                <a:gd name="connsiteY41" fmla="*/ 222913 h 782471"/>
                <a:gd name="connsiteX42" fmla="*/ 404883 w 2984311"/>
                <a:gd name="connsiteY42" fmla="*/ 213815 h 782471"/>
                <a:gd name="connsiteX43" fmla="*/ 391236 w 2984311"/>
                <a:gd name="connsiteY43" fmla="*/ 204716 h 782471"/>
                <a:gd name="connsiteX44" fmla="*/ 373039 w 2984311"/>
                <a:gd name="connsiteY44" fmla="*/ 177421 h 782471"/>
                <a:gd name="connsiteX45" fmla="*/ 350292 w 2984311"/>
                <a:gd name="connsiteY45" fmla="*/ 150125 h 782471"/>
                <a:gd name="connsiteX46" fmla="*/ 322997 w 2984311"/>
                <a:gd name="connsiteY46" fmla="*/ 131928 h 782471"/>
                <a:gd name="connsiteX47" fmla="*/ 295701 w 2984311"/>
                <a:gd name="connsiteY47" fmla="*/ 113731 h 782471"/>
                <a:gd name="connsiteX48" fmla="*/ 286603 w 2984311"/>
                <a:gd name="connsiteY48" fmla="*/ 100084 h 782471"/>
                <a:gd name="connsiteX49" fmla="*/ 272955 w 2984311"/>
                <a:gd name="connsiteY49" fmla="*/ 95534 h 782471"/>
                <a:gd name="connsiteX50" fmla="*/ 259307 w 2984311"/>
                <a:gd name="connsiteY50" fmla="*/ 86436 h 782471"/>
                <a:gd name="connsiteX51" fmla="*/ 232012 w 2984311"/>
                <a:gd name="connsiteY51" fmla="*/ 77337 h 782471"/>
                <a:gd name="connsiteX52" fmla="*/ 218364 w 2984311"/>
                <a:gd name="connsiteY52" fmla="*/ 72788 h 782471"/>
                <a:gd name="connsiteX53" fmla="*/ 204716 w 2984311"/>
                <a:gd name="connsiteY53" fmla="*/ 68239 h 782471"/>
                <a:gd name="connsiteX54" fmla="*/ 191068 w 2984311"/>
                <a:gd name="connsiteY54" fmla="*/ 59140 h 782471"/>
                <a:gd name="connsiteX55" fmla="*/ 163773 w 2984311"/>
                <a:gd name="connsiteY55" fmla="*/ 50042 h 782471"/>
                <a:gd name="connsiteX56" fmla="*/ 136477 w 2984311"/>
                <a:gd name="connsiteY56" fmla="*/ 40943 h 782471"/>
                <a:gd name="connsiteX57" fmla="*/ 122830 w 2984311"/>
                <a:gd name="connsiteY57" fmla="*/ 36394 h 782471"/>
                <a:gd name="connsiteX58" fmla="*/ 0 w 2984311"/>
                <a:gd name="connsiteY58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20369 w 2984311"/>
                <a:gd name="connsiteY5" fmla="*/ 491319 h 782471"/>
                <a:gd name="connsiteX6" fmla="*/ 2370161 w 2984311"/>
                <a:gd name="connsiteY6" fmla="*/ 459475 h 782471"/>
                <a:gd name="connsiteX7" fmla="*/ 2247331 w 2984311"/>
                <a:gd name="connsiteY7" fmla="*/ 413982 h 782471"/>
                <a:gd name="connsiteX8" fmla="*/ 2233683 w 2984311"/>
                <a:gd name="connsiteY8" fmla="*/ 409433 h 782471"/>
                <a:gd name="connsiteX9" fmla="*/ 2197290 w 2984311"/>
                <a:gd name="connsiteY9" fmla="*/ 423081 h 782471"/>
                <a:gd name="connsiteX10" fmla="*/ 2056263 w 2984311"/>
                <a:gd name="connsiteY10" fmla="*/ 477672 h 782471"/>
                <a:gd name="connsiteX11" fmla="*/ 1969827 w 2984311"/>
                <a:gd name="connsiteY11" fmla="*/ 468573 h 782471"/>
                <a:gd name="connsiteX12" fmla="*/ 1883391 w 2984311"/>
                <a:gd name="connsiteY12" fmla="*/ 477672 h 782471"/>
                <a:gd name="connsiteX13" fmla="*/ 1796955 w 2984311"/>
                <a:gd name="connsiteY13" fmla="*/ 527713 h 782471"/>
                <a:gd name="connsiteX14" fmla="*/ 1733266 w 2984311"/>
                <a:gd name="connsiteY14" fmla="*/ 509516 h 782471"/>
                <a:gd name="connsiteX15" fmla="*/ 1728716 w 2984311"/>
                <a:gd name="connsiteY15" fmla="*/ 495869 h 782471"/>
                <a:gd name="connsiteX16" fmla="*/ 1724167 w 2984311"/>
                <a:gd name="connsiteY16" fmla="*/ 450376 h 782471"/>
                <a:gd name="connsiteX17" fmla="*/ 1699805 w 2984311"/>
                <a:gd name="connsiteY17" fmla="*/ 429247 h 782471"/>
                <a:gd name="connsiteX18" fmla="*/ 1665027 w 2984311"/>
                <a:gd name="connsiteY18" fmla="*/ 376271 h 782471"/>
                <a:gd name="connsiteX19" fmla="*/ 1610360 w 2984311"/>
                <a:gd name="connsiteY19" fmla="*/ 330703 h 782471"/>
                <a:gd name="connsiteX20" fmla="*/ 1534939 w 2984311"/>
                <a:gd name="connsiteY20" fmla="*/ 297317 h 782471"/>
                <a:gd name="connsiteX21" fmla="*/ 1418199 w 2984311"/>
                <a:gd name="connsiteY21" fmla="*/ 277355 h 782471"/>
                <a:gd name="connsiteX22" fmla="*/ 1260293 w 2984311"/>
                <a:gd name="connsiteY22" fmla="*/ 230471 h 782471"/>
                <a:gd name="connsiteX23" fmla="*/ 1219200 w 2984311"/>
                <a:gd name="connsiteY23" fmla="*/ 254758 h 782471"/>
                <a:gd name="connsiteX24" fmla="*/ 1073624 w 2984311"/>
                <a:gd name="connsiteY24" fmla="*/ 304800 h 782471"/>
                <a:gd name="connsiteX25" fmla="*/ 950345 w 2984311"/>
                <a:gd name="connsiteY25" fmla="*/ 306341 h 782471"/>
                <a:gd name="connsiteX26" fmla="*/ 868907 w 2984311"/>
                <a:gd name="connsiteY26" fmla="*/ 322997 h 782471"/>
                <a:gd name="connsiteX27" fmla="*/ 855260 w 2984311"/>
                <a:gd name="connsiteY27" fmla="*/ 327546 h 782471"/>
                <a:gd name="connsiteX28" fmla="*/ 782471 w 2984311"/>
                <a:gd name="connsiteY28" fmla="*/ 322997 h 782471"/>
                <a:gd name="connsiteX29" fmla="*/ 768824 w 2984311"/>
                <a:gd name="connsiteY29" fmla="*/ 318448 h 782471"/>
                <a:gd name="connsiteX30" fmla="*/ 723331 w 2984311"/>
                <a:gd name="connsiteY30" fmla="*/ 304800 h 782471"/>
                <a:gd name="connsiteX31" fmla="*/ 709683 w 2984311"/>
                <a:gd name="connsiteY31" fmla="*/ 300251 h 782471"/>
                <a:gd name="connsiteX32" fmla="*/ 696036 w 2984311"/>
                <a:gd name="connsiteY32" fmla="*/ 295702 h 782471"/>
                <a:gd name="connsiteX33" fmla="*/ 641445 w 2984311"/>
                <a:gd name="connsiteY33" fmla="*/ 291152 h 782471"/>
                <a:gd name="connsiteX34" fmla="*/ 591403 w 2984311"/>
                <a:gd name="connsiteY34" fmla="*/ 282054 h 782471"/>
                <a:gd name="connsiteX35" fmla="*/ 573206 w 2984311"/>
                <a:gd name="connsiteY35" fmla="*/ 277505 h 782471"/>
                <a:gd name="connsiteX36" fmla="*/ 545910 w 2984311"/>
                <a:gd name="connsiteY36" fmla="*/ 268406 h 782471"/>
                <a:gd name="connsiteX37" fmla="*/ 514066 w 2984311"/>
                <a:gd name="connsiteY37" fmla="*/ 263857 h 782471"/>
                <a:gd name="connsiteX38" fmla="*/ 491319 w 2984311"/>
                <a:gd name="connsiteY38" fmla="*/ 259308 h 782471"/>
                <a:gd name="connsiteX39" fmla="*/ 459474 w 2984311"/>
                <a:gd name="connsiteY39" fmla="*/ 254758 h 782471"/>
                <a:gd name="connsiteX40" fmla="*/ 432179 w 2984311"/>
                <a:gd name="connsiteY40" fmla="*/ 236561 h 782471"/>
                <a:gd name="connsiteX41" fmla="*/ 423080 w 2984311"/>
                <a:gd name="connsiteY41" fmla="*/ 222913 h 782471"/>
                <a:gd name="connsiteX42" fmla="*/ 404883 w 2984311"/>
                <a:gd name="connsiteY42" fmla="*/ 213815 h 782471"/>
                <a:gd name="connsiteX43" fmla="*/ 391236 w 2984311"/>
                <a:gd name="connsiteY43" fmla="*/ 204716 h 782471"/>
                <a:gd name="connsiteX44" fmla="*/ 373039 w 2984311"/>
                <a:gd name="connsiteY44" fmla="*/ 177421 h 782471"/>
                <a:gd name="connsiteX45" fmla="*/ 350292 w 2984311"/>
                <a:gd name="connsiteY45" fmla="*/ 150125 h 782471"/>
                <a:gd name="connsiteX46" fmla="*/ 322997 w 2984311"/>
                <a:gd name="connsiteY46" fmla="*/ 131928 h 782471"/>
                <a:gd name="connsiteX47" fmla="*/ 295701 w 2984311"/>
                <a:gd name="connsiteY47" fmla="*/ 113731 h 782471"/>
                <a:gd name="connsiteX48" fmla="*/ 286603 w 2984311"/>
                <a:gd name="connsiteY48" fmla="*/ 100084 h 782471"/>
                <a:gd name="connsiteX49" fmla="*/ 272955 w 2984311"/>
                <a:gd name="connsiteY49" fmla="*/ 95534 h 782471"/>
                <a:gd name="connsiteX50" fmla="*/ 259307 w 2984311"/>
                <a:gd name="connsiteY50" fmla="*/ 86436 h 782471"/>
                <a:gd name="connsiteX51" fmla="*/ 232012 w 2984311"/>
                <a:gd name="connsiteY51" fmla="*/ 77337 h 782471"/>
                <a:gd name="connsiteX52" fmla="*/ 218364 w 2984311"/>
                <a:gd name="connsiteY52" fmla="*/ 72788 h 782471"/>
                <a:gd name="connsiteX53" fmla="*/ 204716 w 2984311"/>
                <a:gd name="connsiteY53" fmla="*/ 68239 h 782471"/>
                <a:gd name="connsiteX54" fmla="*/ 191068 w 2984311"/>
                <a:gd name="connsiteY54" fmla="*/ 59140 h 782471"/>
                <a:gd name="connsiteX55" fmla="*/ 163773 w 2984311"/>
                <a:gd name="connsiteY55" fmla="*/ 50042 h 782471"/>
                <a:gd name="connsiteX56" fmla="*/ 136477 w 2984311"/>
                <a:gd name="connsiteY56" fmla="*/ 40943 h 782471"/>
                <a:gd name="connsiteX57" fmla="*/ 122830 w 2984311"/>
                <a:gd name="connsiteY57" fmla="*/ 36394 h 782471"/>
                <a:gd name="connsiteX58" fmla="*/ 0 w 2984311"/>
                <a:gd name="connsiteY58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20369 w 2984311"/>
                <a:gd name="connsiteY5" fmla="*/ 491319 h 782471"/>
                <a:gd name="connsiteX6" fmla="*/ 2370161 w 2984311"/>
                <a:gd name="connsiteY6" fmla="*/ 459475 h 782471"/>
                <a:gd name="connsiteX7" fmla="*/ 2247331 w 2984311"/>
                <a:gd name="connsiteY7" fmla="*/ 413982 h 782471"/>
                <a:gd name="connsiteX8" fmla="*/ 2233683 w 2984311"/>
                <a:gd name="connsiteY8" fmla="*/ 409433 h 782471"/>
                <a:gd name="connsiteX9" fmla="*/ 2197290 w 2984311"/>
                <a:gd name="connsiteY9" fmla="*/ 423081 h 782471"/>
                <a:gd name="connsiteX10" fmla="*/ 2056263 w 2984311"/>
                <a:gd name="connsiteY10" fmla="*/ 477672 h 782471"/>
                <a:gd name="connsiteX11" fmla="*/ 1969827 w 2984311"/>
                <a:gd name="connsiteY11" fmla="*/ 468573 h 782471"/>
                <a:gd name="connsiteX12" fmla="*/ 1883391 w 2984311"/>
                <a:gd name="connsiteY12" fmla="*/ 477672 h 782471"/>
                <a:gd name="connsiteX13" fmla="*/ 1796955 w 2984311"/>
                <a:gd name="connsiteY13" fmla="*/ 527713 h 782471"/>
                <a:gd name="connsiteX14" fmla="*/ 1733266 w 2984311"/>
                <a:gd name="connsiteY14" fmla="*/ 509516 h 782471"/>
                <a:gd name="connsiteX15" fmla="*/ 1728716 w 2984311"/>
                <a:gd name="connsiteY15" fmla="*/ 495869 h 782471"/>
                <a:gd name="connsiteX16" fmla="*/ 1724167 w 2984311"/>
                <a:gd name="connsiteY16" fmla="*/ 450376 h 782471"/>
                <a:gd name="connsiteX17" fmla="*/ 1699805 w 2984311"/>
                <a:gd name="connsiteY17" fmla="*/ 429247 h 782471"/>
                <a:gd name="connsiteX18" fmla="*/ 1665027 w 2984311"/>
                <a:gd name="connsiteY18" fmla="*/ 376271 h 782471"/>
                <a:gd name="connsiteX19" fmla="*/ 1610360 w 2984311"/>
                <a:gd name="connsiteY19" fmla="*/ 330703 h 782471"/>
                <a:gd name="connsiteX20" fmla="*/ 1534939 w 2984311"/>
                <a:gd name="connsiteY20" fmla="*/ 297317 h 782471"/>
                <a:gd name="connsiteX21" fmla="*/ 1418199 w 2984311"/>
                <a:gd name="connsiteY21" fmla="*/ 277355 h 782471"/>
                <a:gd name="connsiteX22" fmla="*/ 1260293 w 2984311"/>
                <a:gd name="connsiteY22" fmla="*/ 230471 h 782471"/>
                <a:gd name="connsiteX23" fmla="*/ 1219200 w 2984311"/>
                <a:gd name="connsiteY23" fmla="*/ 254758 h 782471"/>
                <a:gd name="connsiteX24" fmla="*/ 1073624 w 2984311"/>
                <a:gd name="connsiteY24" fmla="*/ 304800 h 782471"/>
                <a:gd name="connsiteX25" fmla="*/ 950345 w 2984311"/>
                <a:gd name="connsiteY25" fmla="*/ 306341 h 782471"/>
                <a:gd name="connsiteX26" fmla="*/ 868907 w 2984311"/>
                <a:gd name="connsiteY26" fmla="*/ 322997 h 782471"/>
                <a:gd name="connsiteX27" fmla="*/ 825182 w 2984311"/>
                <a:gd name="connsiteY27" fmla="*/ 321530 h 782471"/>
                <a:gd name="connsiteX28" fmla="*/ 782471 w 2984311"/>
                <a:gd name="connsiteY28" fmla="*/ 322997 h 782471"/>
                <a:gd name="connsiteX29" fmla="*/ 768824 w 2984311"/>
                <a:gd name="connsiteY29" fmla="*/ 318448 h 782471"/>
                <a:gd name="connsiteX30" fmla="*/ 723331 w 2984311"/>
                <a:gd name="connsiteY30" fmla="*/ 304800 h 782471"/>
                <a:gd name="connsiteX31" fmla="*/ 709683 w 2984311"/>
                <a:gd name="connsiteY31" fmla="*/ 300251 h 782471"/>
                <a:gd name="connsiteX32" fmla="*/ 696036 w 2984311"/>
                <a:gd name="connsiteY32" fmla="*/ 295702 h 782471"/>
                <a:gd name="connsiteX33" fmla="*/ 641445 w 2984311"/>
                <a:gd name="connsiteY33" fmla="*/ 291152 h 782471"/>
                <a:gd name="connsiteX34" fmla="*/ 591403 w 2984311"/>
                <a:gd name="connsiteY34" fmla="*/ 282054 h 782471"/>
                <a:gd name="connsiteX35" fmla="*/ 573206 w 2984311"/>
                <a:gd name="connsiteY35" fmla="*/ 277505 h 782471"/>
                <a:gd name="connsiteX36" fmla="*/ 545910 w 2984311"/>
                <a:gd name="connsiteY36" fmla="*/ 268406 h 782471"/>
                <a:gd name="connsiteX37" fmla="*/ 514066 w 2984311"/>
                <a:gd name="connsiteY37" fmla="*/ 263857 h 782471"/>
                <a:gd name="connsiteX38" fmla="*/ 491319 w 2984311"/>
                <a:gd name="connsiteY38" fmla="*/ 259308 h 782471"/>
                <a:gd name="connsiteX39" fmla="*/ 459474 w 2984311"/>
                <a:gd name="connsiteY39" fmla="*/ 254758 h 782471"/>
                <a:gd name="connsiteX40" fmla="*/ 432179 w 2984311"/>
                <a:gd name="connsiteY40" fmla="*/ 236561 h 782471"/>
                <a:gd name="connsiteX41" fmla="*/ 423080 w 2984311"/>
                <a:gd name="connsiteY41" fmla="*/ 222913 h 782471"/>
                <a:gd name="connsiteX42" fmla="*/ 404883 w 2984311"/>
                <a:gd name="connsiteY42" fmla="*/ 213815 h 782471"/>
                <a:gd name="connsiteX43" fmla="*/ 391236 w 2984311"/>
                <a:gd name="connsiteY43" fmla="*/ 204716 h 782471"/>
                <a:gd name="connsiteX44" fmla="*/ 373039 w 2984311"/>
                <a:gd name="connsiteY44" fmla="*/ 177421 h 782471"/>
                <a:gd name="connsiteX45" fmla="*/ 350292 w 2984311"/>
                <a:gd name="connsiteY45" fmla="*/ 150125 h 782471"/>
                <a:gd name="connsiteX46" fmla="*/ 322997 w 2984311"/>
                <a:gd name="connsiteY46" fmla="*/ 131928 h 782471"/>
                <a:gd name="connsiteX47" fmla="*/ 295701 w 2984311"/>
                <a:gd name="connsiteY47" fmla="*/ 113731 h 782471"/>
                <a:gd name="connsiteX48" fmla="*/ 286603 w 2984311"/>
                <a:gd name="connsiteY48" fmla="*/ 100084 h 782471"/>
                <a:gd name="connsiteX49" fmla="*/ 272955 w 2984311"/>
                <a:gd name="connsiteY49" fmla="*/ 95534 h 782471"/>
                <a:gd name="connsiteX50" fmla="*/ 259307 w 2984311"/>
                <a:gd name="connsiteY50" fmla="*/ 86436 h 782471"/>
                <a:gd name="connsiteX51" fmla="*/ 232012 w 2984311"/>
                <a:gd name="connsiteY51" fmla="*/ 77337 h 782471"/>
                <a:gd name="connsiteX52" fmla="*/ 218364 w 2984311"/>
                <a:gd name="connsiteY52" fmla="*/ 72788 h 782471"/>
                <a:gd name="connsiteX53" fmla="*/ 204716 w 2984311"/>
                <a:gd name="connsiteY53" fmla="*/ 68239 h 782471"/>
                <a:gd name="connsiteX54" fmla="*/ 191068 w 2984311"/>
                <a:gd name="connsiteY54" fmla="*/ 59140 h 782471"/>
                <a:gd name="connsiteX55" fmla="*/ 163773 w 2984311"/>
                <a:gd name="connsiteY55" fmla="*/ 50042 h 782471"/>
                <a:gd name="connsiteX56" fmla="*/ 136477 w 2984311"/>
                <a:gd name="connsiteY56" fmla="*/ 40943 h 782471"/>
                <a:gd name="connsiteX57" fmla="*/ 122830 w 2984311"/>
                <a:gd name="connsiteY57" fmla="*/ 36394 h 782471"/>
                <a:gd name="connsiteX58" fmla="*/ 0 w 2984311"/>
                <a:gd name="connsiteY58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20369 w 2984311"/>
                <a:gd name="connsiteY5" fmla="*/ 491319 h 782471"/>
                <a:gd name="connsiteX6" fmla="*/ 2370161 w 2984311"/>
                <a:gd name="connsiteY6" fmla="*/ 459475 h 782471"/>
                <a:gd name="connsiteX7" fmla="*/ 2247331 w 2984311"/>
                <a:gd name="connsiteY7" fmla="*/ 413982 h 782471"/>
                <a:gd name="connsiteX8" fmla="*/ 2233683 w 2984311"/>
                <a:gd name="connsiteY8" fmla="*/ 409433 h 782471"/>
                <a:gd name="connsiteX9" fmla="*/ 2197290 w 2984311"/>
                <a:gd name="connsiteY9" fmla="*/ 423081 h 782471"/>
                <a:gd name="connsiteX10" fmla="*/ 2056263 w 2984311"/>
                <a:gd name="connsiteY10" fmla="*/ 477672 h 782471"/>
                <a:gd name="connsiteX11" fmla="*/ 1969827 w 2984311"/>
                <a:gd name="connsiteY11" fmla="*/ 468573 h 782471"/>
                <a:gd name="connsiteX12" fmla="*/ 1883391 w 2984311"/>
                <a:gd name="connsiteY12" fmla="*/ 477672 h 782471"/>
                <a:gd name="connsiteX13" fmla="*/ 1796955 w 2984311"/>
                <a:gd name="connsiteY13" fmla="*/ 527713 h 782471"/>
                <a:gd name="connsiteX14" fmla="*/ 1733266 w 2984311"/>
                <a:gd name="connsiteY14" fmla="*/ 509516 h 782471"/>
                <a:gd name="connsiteX15" fmla="*/ 1728716 w 2984311"/>
                <a:gd name="connsiteY15" fmla="*/ 495869 h 782471"/>
                <a:gd name="connsiteX16" fmla="*/ 1724167 w 2984311"/>
                <a:gd name="connsiteY16" fmla="*/ 450376 h 782471"/>
                <a:gd name="connsiteX17" fmla="*/ 1699805 w 2984311"/>
                <a:gd name="connsiteY17" fmla="*/ 429247 h 782471"/>
                <a:gd name="connsiteX18" fmla="*/ 1665027 w 2984311"/>
                <a:gd name="connsiteY18" fmla="*/ 376271 h 782471"/>
                <a:gd name="connsiteX19" fmla="*/ 1610360 w 2984311"/>
                <a:gd name="connsiteY19" fmla="*/ 330703 h 782471"/>
                <a:gd name="connsiteX20" fmla="*/ 1534939 w 2984311"/>
                <a:gd name="connsiteY20" fmla="*/ 297317 h 782471"/>
                <a:gd name="connsiteX21" fmla="*/ 1418199 w 2984311"/>
                <a:gd name="connsiteY21" fmla="*/ 277355 h 782471"/>
                <a:gd name="connsiteX22" fmla="*/ 1260293 w 2984311"/>
                <a:gd name="connsiteY22" fmla="*/ 230471 h 782471"/>
                <a:gd name="connsiteX23" fmla="*/ 1219200 w 2984311"/>
                <a:gd name="connsiteY23" fmla="*/ 254758 h 782471"/>
                <a:gd name="connsiteX24" fmla="*/ 1073624 w 2984311"/>
                <a:gd name="connsiteY24" fmla="*/ 304800 h 782471"/>
                <a:gd name="connsiteX25" fmla="*/ 950345 w 2984311"/>
                <a:gd name="connsiteY25" fmla="*/ 306341 h 782471"/>
                <a:gd name="connsiteX26" fmla="*/ 868907 w 2984311"/>
                <a:gd name="connsiteY26" fmla="*/ 322997 h 782471"/>
                <a:gd name="connsiteX27" fmla="*/ 782471 w 2984311"/>
                <a:gd name="connsiteY27" fmla="*/ 322997 h 782471"/>
                <a:gd name="connsiteX28" fmla="*/ 768824 w 2984311"/>
                <a:gd name="connsiteY28" fmla="*/ 318448 h 782471"/>
                <a:gd name="connsiteX29" fmla="*/ 723331 w 2984311"/>
                <a:gd name="connsiteY29" fmla="*/ 304800 h 782471"/>
                <a:gd name="connsiteX30" fmla="*/ 709683 w 2984311"/>
                <a:gd name="connsiteY30" fmla="*/ 300251 h 782471"/>
                <a:gd name="connsiteX31" fmla="*/ 696036 w 2984311"/>
                <a:gd name="connsiteY31" fmla="*/ 295702 h 782471"/>
                <a:gd name="connsiteX32" fmla="*/ 641445 w 2984311"/>
                <a:gd name="connsiteY32" fmla="*/ 291152 h 782471"/>
                <a:gd name="connsiteX33" fmla="*/ 591403 w 2984311"/>
                <a:gd name="connsiteY33" fmla="*/ 282054 h 782471"/>
                <a:gd name="connsiteX34" fmla="*/ 573206 w 2984311"/>
                <a:gd name="connsiteY34" fmla="*/ 277505 h 782471"/>
                <a:gd name="connsiteX35" fmla="*/ 545910 w 2984311"/>
                <a:gd name="connsiteY35" fmla="*/ 268406 h 782471"/>
                <a:gd name="connsiteX36" fmla="*/ 514066 w 2984311"/>
                <a:gd name="connsiteY36" fmla="*/ 263857 h 782471"/>
                <a:gd name="connsiteX37" fmla="*/ 491319 w 2984311"/>
                <a:gd name="connsiteY37" fmla="*/ 259308 h 782471"/>
                <a:gd name="connsiteX38" fmla="*/ 459474 w 2984311"/>
                <a:gd name="connsiteY38" fmla="*/ 254758 h 782471"/>
                <a:gd name="connsiteX39" fmla="*/ 432179 w 2984311"/>
                <a:gd name="connsiteY39" fmla="*/ 236561 h 782471"/>
                <a:gd name="connsiteX40" fmla="*/ 423080 w 2984311"/>
                <a:gd name="connsiteY40" fmla="*/ 222913 h 782471"/>
                <a:gd name="connsiteX41" fmla="*/ 404883 w 2984311"/>
                <a:gd name="connsiteY41" fmla="*/ 213815 h 782471"/>
                <a:gd name="connsiteX42" fmla="*/ 391236 w 2984311"/>
                <a:gd name="connsiteY42" fmla="*/ 204716 h 782471"/>
                <a:gd name="connsiteX43" fmla="*/ 373039 w 2984311"/>
                <a:gd name="connsiteY43" fmla="*/ 177421 h 782471"/>
                <a:gd name="connsiteX44" fmla="*/ 350292 w 2984311"/>
                <a:gd name="connsiteY44" fmla="*/ 150125 h 782471"/>
                <a:gd name="connsiteX45" fmla="*/ 322997 w 2984311"/>
                <a:gd name="connsiteY45" fmla="*/ 131928 h 782471"/>
                <a:gd name="connsiteX46" fmla="*/ 295701 w 2984311"/>
                <a:gd name="connsiteY46" fmla="*/ 113731 h 782471"/>
                <a:gd name="connsiteX47" fmla="*/ 286603 w 2984311"/>
                <a:gd name="connsiteY47" fmla="*/ 100084 h 782471"/>
                <a:gd name="connsiteX48" fmla="*/ 272955 w 2984311"/>
                <a:gd name="connsiteY48" fmla="*/ 95534 h 782471"/>
                <a:gd name="connsiteX49" fmla="*/ 259307 w 2984311"/>
                <a:gd name="connsiteY49" fmla="*/ 86436 h 782471"/>
                <a:gd name="connsiteX50" fmla="*/ 232012 w 2984311"/>
                <a:gd name="connsiteY50" fmla="*/ 77337 h 782471"/>
                <a:gd name="connsiteX51" fmla="*/ 218364 w 2984311"/>
                <a:gd name="connsiteY51" fmla="*/ 72788 h 782471"/>
                <a:gd name="connsiteX52" fmla="*/ 204716 w 2984311"/>
                <a:gd name="connsiteY52" fmla="*/ 68239 h 782471"/>
                <a:gd name="connsiteX53" fmla="*/ 191068 w 2984311"/>
                <a:gd name="connsiteY53" fmla="*/ 59140 h 782471"/>
                <a:gd name="connsiteX54" fmla="*/ 163773 w 2984311"/>
                <a:gd name="connsiteY54" fmla="*/ 50042 h 782471"/>
                <a:gd name="connsiteX55" fmla="*/ 136477 w 2984311"/>
                <a:gd name="connsiteY55" fmla="*/ 40943 h 782471"/>
                <a:gd name="connsiteX56" fmla="*/ 122830 w 2984311"/>
                <a:gd name="connsiteY56" fmla="*/ 36394 h 782471"/>
                <a:gd name="connsiteX57" fmla="*/ 0 w 2984311"/>
                <a:gd name="connsiteY57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20369 w 2984311"/>
                <a:gd name="connsiteY5" fmla="*/ 491319 h 782471"/>
                <a:gd name="connsiteX6" fmla="*/ 2370161 w 2984311"/>
                <a:gd name="connsiteY6" fmla="*/ 459475 h 782471"/>
                <a:gd name="connsiteX7" fmla="*/ 2247331 w 2984311"/>
                <a:gd name="connsiteY7" fmla="*/ 413982 h 782471"/>
                <a:gd name="connsiteX8" fmla="*/ 2233683 w 2984311"/>
                <a:gd name="connsiteY8" fmla="*/ 409433 h 782471"/>
                <a:gd name="connsiteX9" fmla="*/ 2197290 w 2984311"/>
                <a:gd name="connsiteY9" fmla="*/ 423081 h 782471"/>
                <a:gd name="connsiteX10" fmla="*/ 2056263 w 2984311"/>
                <a:gd name="connsiteY10" fmla="*/ 477672 h 782471"/>
                <a:gd name="connsiteX11" fmla="*/ 1969827 w 2984311"/>
                <a:gd name="connsiteY11" fmla="*/ 468573 h 782471"/>
                <a:gd name="connsiteX12" fmla="*/ 1883391 w 2984311"/>
                <a:gd name="connsiteY12" fmla="*/ 477672 h 782471"/>
                <a:gd name="connsiteX13" fmla="*/ 1796955 w 2984311"/>
                <a:gd name="connsiteY13" fmla="*/ 527713 h 782471"/>
                <a:gd name="connsiteX14" fmla="*/ 1733266 w 2984311"/>
                <a:gd name="connsiteY14" fmla="*/ 509516 h 782471"/>
                <a:gd name="connsiteX15" fmla="*/ 1728716 w 2984311"/>
                <a:gd name="connsiteY15" fmla="*/ 495869 h 782471"/>
                <a:gd name="connsiteX16" fmla="*/ 1724167 w 2984311"/>
                <a:gd name="connsiteY16" fmla="*/ 450376 h 782471"/>
                <a:gd name="connsiteX17" fmla="*/ 1699805 w 2984311"/>
                <a:gd name="connsiteY17" fmla="*/ 429247 h 782471"/>
                <a:gd name="connsiteX18" fmla="*/ 1665027 w 2984311"/>
                <a:gd name="connsiteY18" fmla="*/ 376271 h 782471"/>
                <a:gd name="connsiteX19" fmla="*/ 1610360 w 2984311"/>
                <a:gd name="connsiteY19" fmla="*/ 330703 h 782471"/>
                <a:gd name="connsiteX20" fmla="*/ 1534939 w 2984311"/>
                <a:gd name="connsiteY20" fmla="*/ 297317 h 782471"/>
                <a:gd name="connsiteX21" fmla="*/ 1418199 w 2984311"/>
                <a:gd name="connsiteY21" fmla="*/ 277355 h 782471"/>
                <a:gd name="connsiteX22" fmla="*/ 1260293 w 2984311"/>
                <a:gd name="connsiteY22" fmla="*/ 230471 h 782471"/>
                <a:gd name="connsiteX23" fmla="*/ 1219200 w 2984311"/>
                <a:gd name="connsiteY23" fmla="*/ 254758 h 782471"/>
                <a:gd name="connsiteX24" fmla="*/ 1073624 w 2984311"/>
                <a:gd name="connsiteY24" fmla="*/ 304800 h 782471"/>
                <a:gd name="connsiteX25" fmla="*/ 950345 w 2984311"/>
                <a:gd name="connsiteY25" fmla="*/ 306341 h 782471"/>
                <a:gd name="connsiteX26" fmla="*/ 868907 w 2984311"/>
                <a:gd name="connsiteY26" fmla="*/ 322997 h 782471"/>
                <a:gd name="connsiteX27" fmla="*/ 782471 w 2984311"/>
                <a:gd name="connsiteY27" fmla="*/ 322997 h 782471"/>
                <a:gd name="connsiteX28" fmla="*/ 768824 w 2984311"/>
                <a:gd name="connsiteY28" fmla="*/ 318448 h 782471"/>
                <a:gd name="connsiteX29" fmla="*/ 723331 w 2984311"/>
                <a:gd name="connsiteY29" fmla="*/ 304800 h 782471"/>
                <a:gd name="connsiteX30" fmla="*/ 709683 w 2984311"/>
                <a:gd name="connsiteY30" fmla="*/ 300251 h 782471"/>
                <a:gd name="connsiteX31" fmla="*/ 641445 w 2984311"/>
                <a:gd name="connsiteY31" fmla="*/ 291152 h 782471"/>
                <a:gd name="connsiteX32" fmla="*/ 591403 w 2984311"/>
                <a:gd name="connsiteY32" fmla="*/ 282054 h 782471"/>
                <a:gd name="connsiteX33" fmla="*/ 573206 w 2984311"/>
                <a:gd name="connsiteY33" fmla="*/ 277505 h 782471"/>
                <a:gd name="connsiteX34" fmla="*/ 545910 w 2984311"/>
                <a:gd name="connsiteY34" fmla="*/ 268406 h 782471"/>
                <a:gd name="connsiteX35" fmla="*/ 514066 w 2984311"/>
                <a:gd name="connsiteY35" fmla="*/ 263857 h 782471"/>
                <a:gd name="connsiteX36" fmla="*/ 491319 w 2984311"/>
                <a:gd name="connsiteY36" fmla="*/ 259308 h 782471"/>
                <a:gd name="connsiteX37" fmla="*/ 459474 w 2984311"/>
                <a:gd name="connsiteY37" fmla="*/ 254758 h 782471"/>
                <a:gd name="connsiteX38" fmla="*/ 432179 w 2984311"/>
                <a:gd name="connsiteY38" fmla="*/ 236561 h 782471"/>
                <a:gd name="connsiteX39" fmla="*/ 423080 w 2984311"/>
                <a:gd name="connsiteY39" fmla="*/ 222913 h 782471"/>
                <a:gd name="connsiteX40" fmla="*/ 404883 w 2984311"/>
                <a:gd name="connsiteY40" fmla="*/ 213815 h 782471"/>
                <a:gd name="connsiteX41" fmla="*/ 391236 w 2984311"/>
                <a:gd name="connsiteY41" fmla="*/ 204716 h 782471"/>
                <a:gd name="connsiteX42" fmla="*/ 373039 w 2984311"/>
                <a:gd name="connsiteY42" fmla="*/ 177421 h 782471"/>
                <a:gd name="connsiteX43" fmla="*/ 350292 w 2984311"/>
                <a:gd name="connsiteY43" fmla="*/ 150125 h 782471"/>
                <a:gd name="connsiteX44" fmla="*/ 322997 w 2984311"/>
                <a:gd name="connsiteY44" fmla="*/ 131928 h 782471"/>
                <a:gd name="connsiteX45" fmla="*/ 295701 w 2984311"/>
                <a:gd name="connsiteY45" fmla="*/ 113731 h 782471"/>
                <a:gd name="connsiteX46" fmla="*/ 286603 w 2984311"/>
                <a:gd name="connsiteY46" fmla="*/ 100084 h 782471"/>
                <a:gd name="connsiteX47" fmla="*/ 272955 w 2984311"/>
                <a:gd name="connsiteY47" fmla="*/ 95534 h 782471"/>
                <a:gd name="connsiteX48" fmla="*/ 259307 w 2984311"/>
                <a:gd name="connsiteY48" fmla="*/ 86436 h 782471"/>
                <a:gd name="connsiteX49" fmla="*/ 232012 w 2984311"/>
                <a:gd name="connsiteY49" fmla="*/ 77337 h 782471"/>
                <a:gd name="connsiteX50" fmla="*/ 218364 w 2984311"/>
                <a:gd name="connsiteY50" fmla="*/ 72788 h 782471"/>
                <a:gd name="connsiteX51" fmla="*/ 204716 w 2984311"/>
                <a:gd name="connsiteY51" fmla="*/ 68239 h 782471"/>
                <a:gd name="connsiteX52" fmla="*/ 191068 w 2984311"/>
                <a:gd name="connsiteY52" fmla="*/ 59140 h 782471"/>
                <a:gd name="connsiteX53" fmla="*/ 163773 w 2984311"/>
                <a:gd name="connsiteY53" fmla="*/ 50042 h 782471"/>
                <a:gd name="connsiteX54" fmla="*/ 136477 w 2984311"/>
                <a:gd name="connsiteY54" fmla="*/ 40943 h 782471"/>
                <a:gd name="connsiteX55" fmla="*/ 122830 w 2984311"/>
                <a:gd name="connsiteY55" fmla="*/ 36394 h 782471"/>
                <a:gd name="connsiteX56" fmla="*/ 0 w 2984311"/>
                <a:gd name="connsiteY56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20369 w 2984311"/>
                <a:gd name="connsiteY5" fmla="*/ 491319 h 782471"/>
                <a:gd name="connsiteX6" fmla="*/ 2370161 w 2984311"/>
                <a:gd name="connsiteY6" fmla="*/ 459475 h 782471"/>
                <a:gd name="connsiteX7" fmla="*/ 2247331 w 2984311"/>
                <a:gd name="connsiteY7" fmla="*/ 413982 h 782471"/>
                <a:gd name="connsiteX8" fmla="*/ 2233683 w 2984311"/>
                <a:gd name="connsiteY8" fmla="*/ 409433 h 782471"/>
                <a:gd name="connsiteX9" fmla="*/ 2197290 w 2984311"/>
                <a:gd name="connsiteY9" fmla="*/ 423081 h 782471"/>
                <a:gd name="connsiteX10" fmla="*/ 2056263 w 2984311"/>
                <a:gd name="connsiteY10" fmla="*/ 477672 h 782471"/>
                <a:gd name="connsiteX11" fmla="*/ 1969827 w 2984311"/>
                <a:gd name="connsiteY11" fmla="*/ 468573 h 782471"/>
                <a:gd name="connsiteX12" fmla="*/ 1883391 w 2984311"/>
                <a:gd name="connsiteY12" fmla="*/ 477672 h 782471"/>
                <a:gd name="connsiteX13" fmla="*/ 1796955 w 2984311"/>
                <a:gd name="connsiteY13" fmla="*/ 527713 h 782471"/>
                <a:gd name="connsiteX14" fmla="*/ 1733266 w 2984311"/>
                <a:gd name="connsiteY14" fmla="*/ 509516 h 782471"/>
                <a:gd name="connsiteX15" fmla="*/ 1728716 w 2984311"/>
                <a:gd name="connsiteY15" fmla="*/ 495869 h 782471"/>
                <a:gd name="connsiteX16" fmla="*/ 1724167 w 2984311"/>
                <a:gd name="connsiteY16" fmla="*/ 450376 h 782471"/>
                <a:gd name="connsiteX17" fmla="*/ 1699805 w 2984311"/>
                <a:gd name="connsiteY17" fmla="*/ 429247 h 782471"/>
                <a:gd name="connsiteX18" fmla="*/ 1665027 w 2984311"/>
                <a:gd name="connsiteY18" fmla="*/ 376271 h 782471"/>
                <a:gd name="connsiteX19" fmla="*/ 1610360 w 2984311"/>
                <a:gd name="connsiteY19" fmla="*/ 330703 h 782471"/>
                <a:gd name="connsiteX20" fmla="*/ 1534939 w 2984311"/>
                <a:gd name="connsiteY20" fmla="*/ 297317 h 782471"/>
                <a:gd name="connsiteX21" fmla="*/ 1418199 w 2984311"/>
                <a:gd name="connsiteY21" fmla="*/ 277355 h 782471"/>
                <a:gd name="connsiteX22" fmla="*/ 1260293 w 2984311"/>
                <a:gd name="connsiteY22" fmla="*/ 230471 h 782471"/>
                <a:gd name="connsiteX23" fmla="*/ 1219200 w 2984311"/>
                <a:gd name="connsiteY23" fmla="*/ 254758 h 782471"/>
                <a:gd name="connsiteX24" fmla="*/ 1073624 w 2984311"/>
                <a:gd name="connsiteY24" fmla="*/ 304800 h 782471"/>
                <a:gd name="connsiteX25" fmla="*/ 950345 w 2984311"/>
                <a:gd name="connsiteY25" fmla="*/ 306341 h 782471"/>
                <a:gd name="connsiteX26" fmla="*/ 868907 w 2984311"/>
                <a:gd name="connsiteY26" fmla="*/ 322997 h 782471"/>
                <a:gd name="connsiteX27" fmla="*/ 782471 w 2984311"/>
                <a:gd name="connsiteY27" fmla="*/ 322997 h 782471"/>
                <a:gd name="connsiteX28" fmla="*/ 768824 w 2984311"/>
                <a:gd name="connsiteY28" fmla="*/ 318448 h 782471"/>
                <a:gd name="connsiteX29" fmla="*/ 723331 w 2984311"/>
                <a:gd name="connsiteY29" fmla="*/ 304800 h 782471"/>
                <a:gd name="connsiteX30" fmla="*/ 641445 w 2984311"/>
                <a:gd name="connsiteY30" fmla="*/ 291152 h 782471"/>
                <a:gd name="connsiteX31" fmla="*/ 591403 w 2984311"/>
                <a:gd name="connsiteY31" fmla="*/ 282054 h 782471"/>
                <a:gd name="connsiteX32" fmla="*/ 573206 w 2984311"/>
                <a:gd name="connsiteY32" fmla="*/ 277505 h 782471"/>
                <a:gd name="connsiteX33" fmla="*/ 545910 w 2984311"/>
                <a:gd name="connsiteY33" fmla="*/ 268406 h 782471"/>
                <a:gd name="connsiteX34" fmla="*/ 514066 w 2984311"/>
                <a:gd name="connsiteY34" fmla="*/ 263857 h 782471"/>
                <a:gd name="connsiteX35" fmla="*/ 491319 w 2984311"/>
                <a:gd name="connsiteY35" fmla="*/ 259308 h 782471"/>
                <a:gd name="connsiteX36" fmla="*/ 459474 w 2984311"/>
                <a:gd name="connsiteY36" fmla="*/ 254758 h 782471"/>
                <a:gd name="connsiteX37" fmla="*/ 432179 w 2984311"/>
                <a:gd name="connsiteY37" fmla="*/ 236561 h 782471"/>
                <a:gd name="connsiteX38" fmla="*/ 423080 w 2984311"/>
                <a:gd name="connsiteY38" fmla="*/ 222913 h 782471"/>
                <a:gd name="connsiteX39" fmla="*/ 404883 w 2984311"/>
                <a:gd name="connsiteY39" fmla="*/ 213815 h 782471"/>
                <a:gd name="connsiteX40" fmla="*/ 391236 w 2984311"/>
                <a:gd name="connsiteY40" fmla="*/ 204716 h 782471"/>
                <a:gd name="connsiteX41" fmla="*/ 373039 w 2984311"/>
                <a:gd name="connsiteY41" fmla="*/ 177421 h 782471"/>
                <a:gd name="connsiteX42" fmla="*/ 350292 w 2984311"/>
                <a:gd name="connsiteY42" fmla="*/ 150125 h 782471"/>
                <a:gd name="connsiteX43" fmla="*/ 322997 w 2984311"/>
                <a:gd name="connsiteY43" fmla="*/ 131928 h 782471"/>
                <a:gd name="connsiteX44" fmla="*/ 295701 w 2984311"/>
                <a:gd name="connsiteY44" fmla="*/ 113731 h 782471"/>
                <a:gd name="connsiteX45" fmla="*/ 286603 w 2984311"/>
                <a:gd name="connsiteY45" fmla="*/ 100084 h 782471"/>
                <a:gd name="connsiteX46" fmla="*/ 272955 w 2984311"/>
                <a:gd name="connsiteY46" fmla="*/ 95534 h 782471"/>
                <a:gd name="connsiteX47" fmla="*/ 259307 w 2984311"/>
                <a:gd name="connsiteY47" fmla="*/ 86436 h 782471"/>
                <a:gd name="connsiteX48" fmla="*/ 232012 w 2984311"/>
                <a:gd name="connsiteY48" fmla="*/ 77337 h 782471"/>
                <a:gd name="connsiteX49" fmla="*/ 218364 w 2984311"/>
                <a:gd name="connsiteY49" fmla="*/ 72788 h 782471"/>
                <a:gd name="connsiteX50" fmla="*/ 204716 w 2984311"/>
                <a:gd name="connsiteY50" fmla="*/ 68239 h 782471"/>
                <a:gd name="connsiteX51" fmla="*/ 191068 w 2984311"/>
                <a:gd name="connsiteY51" fmla="*/ 59140 h 782471"/>
                <a:gd name="connsiteX52" fmla="*/ 163773 w 2984311"/>
                <a:gd name="connsiteY52" fmla="*/ 50042 h 782471"/>
                <a:gd name="connsiteX53" fmla="*/ 136477 w 2984311"/>
                <a:gd name="connsiteY53" fmla="*/ 40943 h 782471"/>
                <a:gd name="connsiteX54" fmla="*/ 122830 w 2984311"/>
                <a:gd name="connsiteY54" fmla="*/ 36394 h 782471"/>
                <a:gd name="connsiteX55" fmla="*/ 0 w 2984311"/>
                <a:gd name="connsiteY55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20369 w 2984311"/>
                <a:gd name="connsiteY5" fmla="*/ 491319 h 782471"/>
                <a:gd name="connsiteX6" fmla="*/ 2370161 w 2984311"/>
                <a:gd name="connsiteY6" fmla="*/ 459475 h 782471"/>
                <a:gd name="connsiteX7" fmla="*/ 2247331 w 2984311"/>
                <a:gd name="connsiteY7" fmla="*/ 413982 h 782471"/>
                <a:gd name="connsiteX8" fmla="*/ 2233683 w 2984311"/>
                <a:gd name="connsiteY8" fmla="*/ 409433 h 782471"/>
                <a:gd name="connsiteX9" fmla="*/ 2197290 w 2984311"/>
                <a:gd name="connsiteY9" fmla="*/ 423081 h 782471"/>
                <a:gd name="connsiteX10" fmla="*/ 2056263 w 2984311"/>
                <a:gd name="connsiteY10" fmla="*/ 477672 h 782471"/>
                <a:gd name="connsiteX11" fmla="*/ 1969827 w 2984311"/>
                <a:gd name="connsiteY11" fmla="*/ 468573 h 782471"/>
                <a:gd name="connsiteX12" fmla="*/ 1883391 w 2984311"/>
                <a:gd name="connsiteY12" fmla="*/ 477672 h 782471"/>
                <a:gd name="connsiteX13" fmla="*/ 1796955 w 2984311"/>
                <a:gd name="connsiteY13" fmla="*/ 527713 h 782471"/>
                <a:gd name="connsiteX14" fmla="*/ 1733266 w 2984311"/>
                <a:gd name="connsiteY14" fmla="*/ 509516 h 782471"/>
                <a:gd name="connsiteX15" fmla="*/ 1728716 w 2984311"/>
                <a:gd name="connsiteY15" fmla="*/ 495869 h 782471"/>
                <a:gd name="connsiteX16" fmla="*/ 1724167 w 2984311"/>
                <a:gd name="connsiteY16" fmla="*/ 450376 h 782471"/>
                <a:gd name="connsiteX17" fmla="*/ 1699805 w 2984311"/>
                <a:gd name="connsiteY17" fmla="*/ 429247 h 782471"/>
                <a:gd name="connsiteX18" fmla="*/ 1665027 w 2984311"/>
                <a:gd name="connsiteY18" fmla="*/ 376271 h 782471"/>
                <a:gd name="connsiteX19" fmla="*/ 1610360 w 2984311"/>
                <a:gd name="connsiteY19" fmla="*/ 330703 h 782471"/>
                <a:gd name="connsiteX20" fmla="*/ 1534939 w 2984311"/>
                <a:gd name="connsiteY20" fmla="*/ 297317 h 782471"/>
                <a:gd name="connsiteX21" fmla="*/ 1418199 w 2984311"/>
                <a:gd name="connsiteY21" fmla="*/ 277355 h 782471"/>
                <a:gd name="connsiteX22" fmla="*/ 1260293 w 2984311"/>
                <a:gd name="connsiteY22" fmla="*/ 230471 h 782471"/>
                <a:gd name="connsiteX23" fmla="*/ 1219200 w 2984311"/>
                <a:gd name="connsiteY23" fmla="*/ 254758 h 782471"/>
                <a:gd name="connsiteX24" fmla="*/ 1073624 w 2984311"/>
                <a:gd name="connsiteY24" fmla="*/ 304800 h 782471"/>
                <a:gd name="connsiteX25" fmla="*/ 950345 w 2984311"/>
                <a:gd name="connsiteY25" fmla="*/ 306341 h 782471"/>
                <a:gd name="connsiteX26" fmla="*/ 868907 w 2984311"/>
                <a:gd name="connsiteY26" fmla="*/ 322997 h 782471"/>
                <a:gd name="connsiteX27" fmla="*/ 782471 w 2984311"/>
                <a:gd name="connsiteY27" fmla="*/ 322997 h 782471"/>
                <a:gd name="connsiteX28" fmla="*/ 768824 w 2984311"/>
                <a:gd name="connsiteY28" fmla="*/ 318448 h 782471"/>
                <a:gd name="connsiteX29" fmla="*/ 723331 w 2984311"/>
                <a:gd name="connsiteY29" fmla="*/ 304800 h 782471"/>
                <a:gd name="connsiteX30" fmla="*/ 641445 w 2984311"/>
                <a:gd name="connsiteY30" fmla="*/ 291152 h 782471"/>
                <a:gd name="connsiteX31" fmla="*/ 591403 w 2984311"/>
                <a:gd name="connsiteY31" fmla="*/ 282054 h 782471"/>
                <a:gd name="connsiteX32" fmla="*/ 573206 w 2984311"/>
                <a:gd name="connsiteY32" fmla="*/ 277505 h 782471"/>
                <a:gd name="connsiteX33" fmla="*/ 545910 w 2984311"/>
                <a:gd name="connsiteY33" fmla="*/ 268406 h 782471"/>
                <a:gd name="connsiteX34" fmla="*/ 514066 w 2984311"/>
                <a:gd name="connsiteY34" fmla="*/ 263857 h 782471"/>
                <a:gd name="connsiteX35" fmla="*/ 491319 w 2984311"/>
                <a:gd name="connsiteY35" fmla="*/ 259308 h 782471"/>
                <a:gd name="connsiteX36" fmla="*/ 459474 w 2984311"/>
                <a:gd name="connsiteY36" fmla="*/ 254758 h 782471"/>
                <a:gd name="connsiteX37" fmla="*/ 432179 w 2984311"/>
                <a:gd name="connsiteY37" fmla="*/ 236561 h 782471"/>
                <a:gd name="connsiteX38" fmla="*/ 423080 w 2984311"/>
                <a:gd name="connsiteY38" fmla="*/ 222913 h 782471"/>
                <a:gd name="connsiteX39" fmla="*/ 404883 w 2984311"/>
                <a:gd name="connsiteY39" fmla="*/ 213815 h 782471"/>
                <a:gd name="connsiteX40" fmla="*/ 391236 w 2984311"/>
                <a:gd name="connsiteY40" fmla="*/ 204716 h 782471"/>
                <a:gd name="connsiteX41" fmla="*/ 373039 w 2984311"/>
                <a:gd name="connsiteY41" fmla="*/ 177421 h 782471"/>
                <a:gd name="connsiteX42" fmla="*/ 350292 w 2984311"/>
                <a:gd name="connsiteY42" fmla="*/ 150125 h 782471"/>
                <a:gd name="connsiteX43" fmla="*/ 322997 w 2984311"/>
                <a:gd name="connsiteY43" fmla="*/ 131928 h 782471"/>
                <a:gd name="connsiteX44" fmla="*/ 295701 w 2984311"/>
                <a:gd name="connsiteY44" fmla="*/ 113731 h 782471"/>
                <a:gd name="connsiteX45" fmla="*/ 286603 w 2984311"/>
                <a:gd name="connsiteY45" fmla="*/ 100084 h 782471"/>
                <a:gd name="connsiteX46" fmla="*/ 272955 w 2984311"/>
                <a:gd name="connsiteY46" fmla="*/ 95534 h 782471"/>
                <a:gd name="connsiteX47" fmla="*/ 259307 w 2984311"/>
                <a:gd name="connsiteY47" fmla="*/ 86436 h 782471"/>
                <a:gd name="connsiteX48" fmla="*/ 232012 w 2984311"/>
                <a:gd name="connsiteY48" fmla="*/ 77337 h 782471"/>
                <a:gd name="connsiteX49" fmla="*/ 218364 w 2984311"/>
                <a:gd name="connsiteY49" fmla="*/ 72788 h 782471"/>
                <a:gd name="connsiteX50" fmla="*/ 204716 w 2984311"/>
                <a:gd name="connsiteY50" fmla="*/ 68239 h 782471"/>
                <a:gd name="connsiteX51" fmla="*/ 191068 w 2984311"/>
                <a:gd name="connsiteY51" fmla="*/ 59140 h 782471"/>
                <a:gd name="connsiteX52" fmla="*/ 163773 w 2984311"/>
                <a:gd name="connsiteY52" fmla="*/ 50042 h 782471"/>
                <a:gd name="connsiteX53" fmla="*/ 136477 w 2984311"/>
                <a:gd name="connsiteY53" fmla="*/ 40943 h 782471"/>
                <a:gd name="connsiteX54" fmla="*/ 122830 w 2984311"/>
                <a:gd name="connsiteY54" fmla="*/ 36394 h 782471"/>
                <a:gd name="connsiteX55" fmla="*/ 0 w 2984311"/>
                <a:gd name="connsiteY55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20369 w 2984311"/>
                <a:gd name="connsiteY5" fmla="*/ 491319 h 782471"/>
                <a:gd name="connsiteX6" fmla="*/ 2370161 w 2984311"/>
                <a:gd name="connsiteY6" fmla="*/ 459475 h 782471"/>
                <a:gd name="connsiteX7" fmla="*/ 2247331 w 2984311"/>
                <a:gd name="connsiteY7" fmla="*/ 413982 h 782471"/>
                <a:gd name="connsiteX8" fmla="*/ 2233683 w 2984311"/>
                <a:gd name="connsiteY8" fmla="*/ 409433 h 782471"/>
                <a:gd name="connsiteX9" fmla="*/ 2197290 w 2984311"/>
                <a:gd name="connsiteY9" fmla="*/ 423081 h 782471"/>
                <a:gd name="connsiteX10" fmla="*/ 2056263 w 2984311"/>
                <a:gd name="connsiteY10" fmla="*/ 477672 h 782471"/>
                <a:gd name="connsiteX11" fmla="*/ 1969827 w 2984311"/>
                <a:gd name="connsiteY11" fmla="*/ 468573 h 782471"/>
                <a:gd name="connsiteX12" fmla="*/ 1883391 w 2984311"/>
                <a:gd name="connsiteY12" fmla="*/ 477672 h 782471"/>
                <a:gd name="connsiteX13" fmla="*/ 1796955 w 2984311"/>
                <a:gd name="connsiteY13" fmla="*/ 527713 h 782471"/>
                <a:gd name="connsiteX14" fmla="*/ 1733266 w 2984311"/>
                <a:gd name="connsiteY14" fmla="*/ 509516 h 782471"/>
                <a:gd name="connsiteX15" fmla="*/ 1728716 w 2984311"/>
                <a:gd name="connsiteY15" fmla="*/ 495869 h 782471"/>
                <a:gd name="connsiteX16" fmla="*/ 1724167 w 2984311"/>
                <a:gd name="connsiteY16" fmla="*/ 450376 h 782471"/>
                <a:gd name="connsiteX17" fmla="*/ 1699805 w 2984311"/>
                <a:gd name="connsiteY17" fmla="*/ 429247 h 782471"/>
                <a:gd name="connsiteX18" fmla="*/ 1665027 w 2984311"/>
                <a:gd name="connsiteY18" fmla="*/ 376271 h 782471"/>
                <a:gd name="connsiteX19" fmla="*/ 1610360 w 2984311"/>
                <a:gd name="connsiteY19" fmla="*/ 330703 h 782471"/>
                <a:gd name="connsiteX20" fmla="*/ 1534939 w 2984311"/>
                <a:gd name="connsiteY20" fmla="*/ 297317 h 782471"/>
                <a:gd name="connsiteX21" fmla="*/ 1418199 w 2984311"/>
                <a:gd name="connsiteY21" fmla="*/ 277355 h 782471"/>
                <a:gd name="connsiteX22" fmla="*/ 1260293 w 2984311"/>
                <a:gd name="connsiteY22" fmla="*/ 230471 h 782471"/>
                <a:gd name="connsiteX23" fmla="*/ 1219200 w 2984311"/>
                <a:gd name="connsiteY23" fmla="*/ 254758 h 782471"/>
                <a:gd name="connsiteX24" fmla="*/ 1073624 w 2984311"/>
                <a:gd name="connsiteY24" fmla="*/ 304800 h 782471"/>
                <a:gd name="connsiteX25" fmla="*/ 950345 w 2984311"/>
                <a:gd name="connsiteY25" fmla="*/ 306341 h 782471"/>
                <a:gd name="connsiteX26" fmla="*/ 868907 w 2984311"/>
                <a:gd name="connsiteY26" fmla="*/ 322997 h 782471"/>
                <a:gd name="connsiteX27" fmla="*/ 782471 w 2984311"/>
                <a:gd name="connsiteY27" fmla="*/ 322997 h 782471"/>
                <a:gd name="connsiteX28" fmla="*/ 768824 w 2984311"/>
                <a:gd name="connsiteY28" fmla="*/ 318448 h 782471"/>
                <a:gd name="connsiteX29" fmla="*/ 641445 w 2984311"/>
                <a:gd name="connsiteY29" fmla="*/ 291152 h 782471"/>
                <a:gd name="connsiteX30" fmla="*/ 591403 w 2984311"/>
                <a:gd name="connsiteY30" fmla="*/ 282054 h 782471"/>
                <a:gd name="connsiteX31" fmla="*/ 573206 w 2984311"/>
                <a:gd name="connsiteY31" fmla="*/ 277505 h 782471"/>
                <a:gd name="connsiteX32" fmla="*/ 545910 w 2984311"/>
                <a:gd name="connsiteY32" fmla="*/ 268406 h 782471"/>
                <a:gd name="connsiteX33" fmla="*/ 514066 w 2984311"/>
                <a:gd name="connsiteY33" fmla="*/ 263857 h 782471"/>
                <a:gd name="connsiteX34" fmla="*/ 491319 w 2984311"/>
                <a:gd name="connsiteY34" fmla="*/ 259308 h 782471"/>
                <a:gd name="connsiteX35" fmla="*/ 459474 w 2984311"/>
                <a:gd name="connsiteY35" fmla="*/ 254758 h 782471"/>
                <a:gd name="connsiteX36" fmla="*/ 432179 w 2984311"/>
                <a:gd name="connsiteY36" fmla="*/ 236561 h 782471"/>
                <a:gd name="connsiteX37" fmla="*/ 423080 w 2984311"/>
                <a:gd name="connsiteY37" fmla="*/ 222913 h 782471"/>
                <a:gd name="connsiteX38" fmla="*/ 404883 w 2984311"/>
                <a:gd name="connsiteY38" fmla="*/ 213815 h 782471"/>
                <a:gd name="connsiteX39" fmla="*/ 391236 w 2984311"/>
                <a:gd name="connsiteY39" fmla="*/ 204716 h 782471"/>
                <a:gd name="connsiteX40" fmla="*/ 373039 w 2984311"/>
                <a:gd name="connsiteY40" fmla="*/ 177421 h 782471"/>
                <a:gd name="connsiteX41" fmla="*/ 350292 w 2984311"/>
                <a:gd name="connsiteY41" fmla="*/ 150125 h 782471"/>
                <a:gd name="connsiteX42" fmla="*/ 322997 w 2984311"/>
                <a:gd name="connsiteY42" fmla="*/ 131928 h 782471"/>
                <a:gd name="connsiteX43" fmla="*/ 295701 w 2984311"/>
                <a:gd name="connsiteY43" fmla="*/ 113731 h 782471"/>
                <a:gd name="connsiteX44" fmla="*/ 286603 w 2984311"/>
                <a:gd name="connsiteY44" fmla="*/ 100084 h 782471"/>
                <a:gd name="connsiteX45" fmla="*/ 272955 w 2984311"/>
                <a:gd name="connsiteY45" fmla="*/ 95534 h 782471"/>
                <a:gd name="connsiteX46" fmla="*/ 259307 w 2984311"/>
                <a:gd name="connsiteY46" fmla="*/ 86436 h 782471"/>
                <a:gd name="connsiteX47" fmla="*/ 232012 w 2984311"/>
                <a:gd name="connsiteY47" fmla="*/ 77337 h 782471"/>
                <a:gd name="connsiteX48" fmla="*/ 218364 w 2984311"/>
                <a:gd name="connsiteY48" fmla="*/ 72788 h 782471"/>
                <a:gd name="connsiteX49" fmla="*/ 204716 w 2984311"/>
                <a:gd name="connsiteY49" fmla="*/ 68239 h 782471"/>
                <a:gd name="connsiteX50" fmla="*/ 191068 w 2984311"/>
                <a:gd name="connsiteY50" fmla="*/ 59140 h 782471"/>
                <a:gd name="connsiteX51" fmla="*/ 163773 w 2984311"/>
                <a:gd name="connsiteY51" fmla="*/ 50042 h 782471"/>
                <a:gd name="connsiteX52" fmla="*/ 136477 w 2984311"/>
                <a:gd name="connsiteY52" fmla="*/ 40943 h 782471"/>
                <a:gd name="connsiteX53" fmla="*/ 122830 w 2984311"/>
                <a:gd name="connsiteY53" fmla="*/ 36394 h 782471"/>
                <a:gd name="connsiteX54" fmla="*/ 0 w 2984311"/>
                <a:gd name="connsiteY54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20369 w 2984311"/>
                <a:gd name="connsiteY5" fmla="*/ 491319 h 782471"/>
                <a:gd name="connsiteX6" fmla="*/ 2370161 w 2984311"/>
                <a:gd name="connsiteY6" fmla="*/ 459475 h 782471"/>
                <a:gd name="connsiteX7" fmla="*/ 2247331 w 2984311"/>
                <a:gd name="connsiteY7" fmla="*/ 413982 h 782471"/>
                <a:gd name="connsiteX8" fmla="*/ 2233683 w 2984311"/>
                <a:gd name="connsiteY8" fmla="*/ 409433 h 782471"/>
                <a:gd name="connsiteX9" fmla="*/ 2197290 w 2984311"/>
                <a:gd name="connsiteY9" fmla="*/ 423081 h 782471"/>
                <a:gd name="connsiteX10" fmla="*/ 2056263 w 2984311"/>
                <a:gd name="connsiteY10" fmla="*/ 477672 h 782471"/>
                <a:gd name="connsiteX11" fmla="*/ 1969827 w 2984311"/>
                <a:gd name="connsiteY11" fmla="*/ 468573 h 782471"/>
                <a:gd name="connsiteX12" fmla="*/ 1883391 w 2984311"/>
                <a:gd name="connsiteY12" fmla="*/ 477672 h 782471"/>
                <a:gd name="connsiteX13" fmla="*/ 1796955 w 2984311"/>
                <a:gd name="connsiteY13" fmla="*/ 527713 h 782471"/>
                <a:gd name="connsiteX14" fmla="*/ 1733266 w 2984311"/>
                <a:gd name="connsiteY14" fmla="*/ 509516 h 782471"/>
                <a:gd name="connsiteX15" fmla="*/ 1728716 w 2984311"/>
                <a:gd name="connsiteY15" fmla="*/ 495869 h 782471"/>
                <a:gd name="connsiteX16" fmla="*/ 1724167 w 2984311"/>
                <a:gd name="connsiteY16" fmla="*/ 450376 h 782471"/>
                <a:gd name="connsiteX17" fmla="*/ 1699805 w 2984311"/>
                <a:gd name="connsiteY17" fmla="*/ 429247 h 782471"/>
                <a:gd name="connsiteX18" fmla="*/ 1665027 w 2984311"/>
                <a:gd name="connsiteY18" fmla="*/ 376271 h 782471"/>
                <a:gd name="connsiteX19" fmla="*/ 1610360 w 2984311"/>
                <a:gd name="connsiteY19" fmla="*/ 330703 h 782471"/>
                <a:gd name="connsiteX20" fmla="*/ 1534939 w 2984311"/>
                <a:gd name="connsiteY20" fmla="*/ 297317 h 782471"/>
                <a:gd name="connsiteX21" fmla="*/ 1418199 w 2984311"/>
                <a:gd name="connsiteY21" fmla="*/ 277355 h 782471"/>
                <a:gd name="connsiteX22" fmla="*/ 1260293 w 2984311"/>
                <a:gd name="connsiteY22" fmla="*/ 230471 h 782471"/>
                <a:gd name="connsiteX23" fmla="*/ 1219200 w 2984311"/>
                <a:gd name="connsiteY23" fmla="*/ 254758 h 782471"/>
                <a:gd name="connsiteX24" fmla="*/ 1073624 w 2984311"/>
                <a:gd name="connsiteY24" fmla="*/ 304800 h 782471"/>
                <a:gd name="connsiteX25" fmla="*/ 950345 w 2984311"/>
                <a:gd name="connsiteY25" fmla="*/ 306341 h 782471"/>
                <a:gd name="connsiteX26" fmla="*/ 868907 w 2984311"/>
                <a:gd name="connsiteY26" fmla="*/ 322997 h 782471"/>
                <a:gd name="connsiteX27" fmla="*/ 782471 w 2984311"/>
                <a:gd name="connsiteY27" fmla="*/ 322997 h 782471"/>
                <a:gd name="connsiteX28" fmla="*/ 768824 w 2984311"/>
                <a:gd name="connsiteY28" fmla="*/ 318448 h 782471"/>
                <a:gd name="connsiteX29" fmla="*/ 641445 w 2984311"/>
                <a:gd name="connsiteY29" fmla="*/ 291152 h 782471"/>
                <a:gd name="connsiteX30" fmla="*/ 591403 w 2984311"/>
                <a:gd name="connsiteY30" fmla="*/ 282054 h 782471"/>
                <a:gd name="connsiteX31" fmla="*/ 573206 w 2984311"/>
                <a:gd name="connsiteY31" fmla="*/ 277505 h 782471"/>
                <a:gd name="connsiteX32" fmla="*/ 524855 w 2984311"/>
                <a:gd name="connsiteY32" fmla="*/ 274422 h 782471"/>
                <a:gd name="connsiteX33" fmla="*/ 514066 w 2984311"/>
                <a:gd name="connsiteY33" fmla="*/ 263857 h 782471"/>
                <a:gd name="connsiteX34" fmla="*/ 491319 w 2984311"/>
                <a:gd name="connsiteY34" fmla="*/ 259308 h 782471"/>
                <a:gd name="connsiteX35" fmla="*/ 459474 w 2984311"/>
                <a:gd name="connsiteY35" fmla="*/ 254758 h 782471"/>
                <a:gd name="connsiteX36" fmla="*/ 432179 w 2984311"/>
                <a:gd name="connsiteY36" fmla="*/ 236561 h 782471"/>
                <a:gd name="connsiteX37" fmla="*/ 423080 w 2984311"/>
                <a:gd name="connsiteY37" fmla="*/ 222913 h 782471"/>
                <a:gd name="connsiteX38" fmla="*/ 404883 w 2984311"/>
                <a:gd name="connsiteY38" fmla="*/ 213815 h 782471"/>
                <a:gd name="connsiteX39" fmla="*/ 391236 w 2984311"/>
                <a:gd name="connsiteY39" fmla="*/ 204716 h 782471"/>
                <a:gd name="connsiteX40" fmla="*/ 373039 w 2984311"/>
                <a:gd name="connsiteY40" fmla="*/ 177421 h 782471"/>
                <a:gd name="connsiteX41" fmla="*/ 350292 w 2984311"/>
                <a:gd name="connsiteY41" fmla="*/ 150125 h 782471"/>
                <a:gd name="connsiteX42" fmla="*/ 322997 w 2984311"/>
                <a:gd name="connsiteY42" fmla="*/ 131928 h 782471"/>
                <a:gd name="connsiteX43" fmla="*/ 295701 w 2984311"/>
                <a:gd name="connsiteY43" fmla="*/ 113731 h 782471"/>
                <a:gd name="connsiteX44" fmla="*/ 286603 w 2984311"/>
                <a:gd name="connsiteY44" fmla="*/ 100084 h 782471"/>
                <a:gd name="connsiteX45" fmla="*/ 272955 w 2984311"/>
                <a:gd name="connsiteY45" fmla="*/ 95534 h 782471"/>
                <a:gd name="connsiteX46" fmla="*/ 259307 w 2984311"/>
                <a:gd name="connsiteY46" fmla="*/ 86436 h 782471"/>
                <a:gd name="connsiteX47" fmla="*/ 232012 w 2984311"/>
                <a:gd name="connsiteY47" fmla="*/ 77337 h 782471"/>
                <a:gd name="connsiteX48" fmla="*/ 218364 w 2984311"/>
                <a:gd name="connsiteY48" fmla="*/ 72788 h 782471"/>
                <a:gd name="connsiteX49" fmla="*/ 204716 w 2984311"/>
                <a:gd name="connsiteY49" fmla="*/ 68239 h 782471"/>
                <a:gd name="connsiteX50" fmla="*/ 191068 w 2984311"/>
                <a:gd name="connsiteY50" fmla="*/ 59140 h 782471"/>
                <a:gd name="connsiteX51" fmla="*/ 163773 w 2984311"/>
                <a:gd name="connsiteY51" fmla="*/ 50042 h 782471"/>
                <a:gd name="connsiteX52" fmla="*/ 136477 w 2984311"/>
                <a:gd name="connsiteY52" fmla="*/ 40943 h 782471"/>
                <a:gd name="connsiteX53" fmla="*/ 122830 w 2984311"/>
                <a:gd name="connsiteY53" fmla="*/ 36394 h 782471"/>
                <a:gd name="connsiteX54" fmla="*/ 0 w 2984311"/>
                <a:gd name="connsiteY54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20369 w 2984311"/>
                <a:gd name="connsiteY5" fmla="*/ 491319 h 782471"/>
                <a:gd name="connsiteX6" fmla="*/ 2370161 w 2984311"/>
                <a:gd name="connsiteY6" fmla="*/ 459475 h 782471"/>
                <a:gd name="connsiteX7" fmla="*/ 2247331 w 2984311"/>
                <a:gd name="connsiteY7" fmla="*/ 413982 h 782471"/>
                <a:gd name="connsiteX8" fmla="*/ 2233683 w 2984311"/>
                <a:gd name="connsiteY8" fmla="*/ 409433 h 782471"/>
                <a:gd name="connsiteX9" fmla="*/ 2197290 w 2984311"/>
                <a:gd name="connsiteY9" fmla="*/ 423081 h 782471"/>
                <a:gd name="connsiteX10" fmla="*/ 2056263 w 2984311"/>
                <a:gd name="connsiteY10" fmla="*/ 477672 h 782471"/>
                <a:gd name="connsiteX11" fmla="*/ 1969827 w 2984311"/>
                <a:gd name="connsiteY11" fmla="*/ 468573 h 782471"/>
                <a:gd name="connsiteX12" fmla="*/ 1883391 w 2984311"/>
                <a:gd name="connsiteY12" fmla="*/ 477672 h 782471"/>
                <a:gd name="connsiteX13" fmla="*/ 1796955 w 2984311"/>
                <a:gd name="connsiteY13" fmla="*/ 527713 h 782471"/>
                <a:gd name="connsiteX14" fmla="*/ 1733266 w 2984311"/>
                <a:gd name="connsiteY14" fmla="*/ 509516 h 782471"/>
                <a:gd name="connsiteX15" fmla="*/ 1728716 w 2984311"/>
                <a:gd name="connsiteY15" fmla="*/ 495869 h 782471"/>
                <a:gd name="connsiteX16" fmla="*/ 1724167 w 2984311"/>
                <a:gd name="connsiteY16" fmla="*/ 450376 h 782471"/>
                <a:gd name="connsiteX17" fmla="*/ 1699805 w 2984311"/>
                <a:gd name="connsiteY17" fmla="*/ 429247 h 782471"/>
                <a:gd name="connsiteX18" fmla="*/ 1665027 w 2984311"/>
                <a:gd name="connsiteY18" fmla="*/ 376271 h 782471"/>
                <a:gd name="connsiteX19" fmla="*/ 1610360 w 2984311"/>
                <a:gd name="connsiteY19" fmla="*/ 330703 h 782471"/>
                <a:gd name="connsiteX20" fmla="*/ 1534939 w 2984311"/>
                <a:gd name="connsiteY20" fmla="*/ 297317 h 782471"/>
                <a:gd name="connsiteX21" fmla="*/ 1418199 w 2984311"/>
                <a:gd name="connsiteY21" fmla="*/ 277355 h 782471"/>
                <a:gd name="connsiteX22" fmla="*/ 1260293 w 2984311"/>
                <a:gd name="connsiteY22" fmla="*/ 230471 h 782471"/>
                <a:gd name="connsiteX23" fmla="*/ 1219200 w 2984311"/>
                <a:gd name="connsiteY23" fmla="*/ 254758 h 782471"/>
                <a:gd name="connsiteX24" fmla="*/ 1073624 w 2984311"/>
                <a:gd name="connsiteY24" fmla="*/ 304800 h 782471"/>
                <a:gd name="connsiteX25" fmla="*/ 950345 w 2984311"/>
                <a:gd name="connsiteY25" fmla="*/ 306341 h 782471"/>
                <a:gd name="connsiteX26" fmla="*/ 868907 w 2984311"/>
                <a:gd name="connsiteY26" fmla="*/ 322997 h 782471"/>
                <a:gd name="connsiteX27" fmla="*/ 782471 w 2984311"/>
                <a:gd name="connsiteY27" fmla="*/ 322997 h 782471"/>
                <a:gd name="connsiteX28" fmla="*/ 768824 w 2984311"/>
                <a:gd name="connsiteY28" fmla="*/ 318448 h 782471"/>
                <a:gd name="connsiteX29" fmla="*/ 641445 w 2984311"/>
                <a:gd name="connsiteY29" fmla="*/ 291152 h 782471"/>
                <a:gd name="connsiteX30" fmla="*/ 591403 w 2984311"/>
                <a:gd name="connsiteY30" fmla="*/ 282054 h 782471"/>
                <a:gd name="connsiteX31" fmla="*/ 573206 w 2984311"/>
                <a:gd name="connsiteY31" fmla="*/ 277505 h 782471"/>
                <a:gd name="connsiteX32" fmla="*/ 514066 w 2984311"/>
                <a:gd name="connsiteY32" fmla="*/ 263857 h 782471"/>
                <a:gd name="connsiteX33" fmla="*/ 491319 w 2984311"/>
                <a:gd name="connsiteY33" fmla="*/ 259308 h 782471"/>
                <a:gd name="connsiteX34" fmla="*/ 459474 w 2984311"/>
                <a:gd name="connsiteY34" fmla="*/ 254758 h 782471"/>
                <a:gd name="connsiteX35" fmla="*/ 432179 w 2984311"/>
                <a:gd name="connsiteY35" fmla="*/ 236561 h 782471"/>
                <a:gd name="connsiteX36" fmla="*/ 423080 w 2984311"/>
                <a:gd name="connsiteY36" fmla="*/ 222913 h 782471"/>
                <a:gd name="connsiteX37" fmla="*/ 404883 w 2984311"/>
                <a:gd name="connsiteY37" fmla="*/ 213815 h 782471"/>
                <a:gd name="connsiteX38" fmla="*/ 391236 w 2984311"/>
                <a:gd name="connsiteY38" fmla="*/ 204716 h 782471"/>
                <a:gd name="connsiteX39" fmla="*/ 373039 w 2984311"/>
                <a:gd name="connsiteY39" fmla="*/ 177421 h 782471"/>
                <a:gd name="connsiteX40" fmla="*/ 350292 w 2984311"/>
                <a:gd name="connsiteY40" fmla="*/ 150125 h 782471"/>
                <a:gd name="connsiteX41" fmla="*/ 322997 w 2984311"/>
                <a:gd name="connsiteY41" fmla="*/ 131928 h 782471"/>
                <a:gd name="connsiteX42" fmla="*/ 295701 w 2984311"/>
                <a:gd name="connsiteY42" fmla="*/ 113731 h 782471"/>
                <a:gd name="connsiteX43" fmla="*/ 286603 w 2984311"/>
                <a:gd name="connsiteY43" fmla="*/ 100084 h 782471"/>
                <a:gd name="connsiteX44" fmla="*/ 272955 w 2984311"/>
                <a:gd name="connsiteY44" fmla="*/ 95534 h 782471"/>
                <a:gd name="connsiteX45" fmla="*/ 259307 w 2984311"/>
                <a:gd name="connsiteY45" fmla="*/ 86436 h 782471"/>
                <a:gd name="connsiteX46" fmla="*/ 232012 w 2984311"/>
                <a:gd name="connsiteY46" fmla="*/ 77337 h 782471"/>
                <a:gd name="connsiteX47" fmla="*/ 218364 w 2984311"/>
                <a:gd name="connsiteY47" fmla="*/ 72788 h 782471"/>
                <a:gd name="connsiteX48" fmla="*/ 204716 w 2984311"/>
                <a:gd name="connsiteY48" fmla="*/ 68239 h 782471"/>
                <a:gd name="connsiteX49" fmla="*/ 191068 w 2984311"/>
                <a:gd name="connsiteY49" fmla="*/ 59140 h 782471"/>
                <a:gd name="connsiteX50" fmla="*/ 163773 w 2984311"/>
                <a:gd name="connsiteY50" fmla="*/ 50042 h 782471"/>
                <a:gd name="connsiteX51" fmla="*/ 136477 w 2984311"/>
                <a:gd name="connsiteY51" fmla="*/ 40943 h 782471"/>
                <a:gd name="connsiteX52" fmla="*/ 122830 w 2984311"/>
                <a:gd name="connsiteY52" fmla="*/ 36394 h 782471"/>
                <a:gd name="connsiteX53" fmla="*/ 0 w 2984311"/>
                <a:gd name="connsiteY53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20369 w 2984311"/>
                <a:gd name="connsiteY5" fmla="*/ 491319 h 782471"/>
                <a:gd name="connsiteX6" fmla="*/ 2370161 w 2984311"/>
                <a:gd name="connsiteY6" fmla="*/ 459475 h 782471"/>
                <a:gd name="connsiteX7" fmla="*/ 2247331 w 2984311"/>
                <a:gd name="connsiteY7" fmla="*/ 413982 h 782471"/>
                <a:gd name="connsiteX8" fmla="*/ 2233683 w 2984311"/>
                <a:gd name="connsiteY8" fmla="*/ 409433 h 782471"/>
                <a:gd name="connsiteX9" fmla="*/ 2197290 w 2984311"/>
                <a:gd name="connsiteY9" fmla="*/ 423081 h 782471"/>
                <a:gd name="connsiteX10" fmla="*/ 2056263 w 2984311"/>
                <a:gd name="connsiteY10" fmla="*/ 477672 h 782471"/>
                <a:gd name="connsiteX11" fmla="*/ 1969827 w 2984311"/>
                <a:gd name="connsiteY11" fmla="*/ 468573 h 782471"/>
                <a:gd name="connsiteX12" fmla="*/ 1883391 w 2984311"/>
                <a:gd name="connsiteY12" fmla="*/ 477672 h 782471"/>
                <a:gd name="connsiteX13" fmla="*/ 1796955 w 2984311"/>
                <a:gd name="connsiteY13" fmla="*/ 527713 h 782471"/>
                <a:gd name="connsiteX14" fmla="*/ 1733266 w 2984311"/>
                <a:gd name="connsiteY14" fmla="*/ 509516 h 782471"/>
                <a:gd name="connsiteX15" fmla="*/ 1728716 w 2984311"/>
                <a:gd name="connsiteY15" fmla="*/ 495869 h 782471"/>
                <a:gd name="connsiteX16" fmla="*/ 1724167 w 2984311"/>
                <a:gd name="connsiteY16" fmla="*/ 450376 h 782471"/>
                <a:gd name="connsiteX17" fmla="*/ 1699805 w 2984311"/>
                <a:gd name="connsiteY17" fmla="*/ 429247 h 782471"/>
                <a:gd name="connsiteX18" fmla="*/ 1665027 w 2984311"/>
                <a:gd name="connsiteY18" fmla="*/ 376271 h 782471"/>
                <a:gd name="connsiteX19" fmla="*/ 1610360 w 2984311"/>
                <a:gd name="connsiteY19" fmla="*/ 330703 h 782471"/>
                <a:gd name="connsiteX20" fmla="*/ 1534939 w 2984311"/>
                <a:gd name="connsiteY20" fmla="*/ 297317 h 782471"/>
                <a:gd name="connsiteX21" fmla="*/ 1418199 w 2984311"/>
                <a:gd name="connsiteY21" fmla="*/ 277355 h 782471"/>
                <a:gd name="connsiteX22" fmla="*/ 1260293 w 2984311"/>
                <a:gd name="connsiteY22" fmla="*/ 230471 h 782471"/>
                <a:gd name="connsiteX23" fmla="*/ 1219200 w 2984311"/>
                <a:gd name="connsiteY23" fmla="*/ 254758 h 782471"/>
                <a:gd name="connsiteX24" fmla="*/ 1073624 w 2984311"/>
                <a:gd name="connsiteY24" fmla="*/ 304800 h 782471"/>
                <a:gd name="connsiteX25" fmla="*/ 950345 w 2984311"/>
                <a:gd name="connsiteY25" fmla="*/ 306341 h 782471"/>
                <a:gd name="connsiteX26" fmla="*/ 868907 w 2984311"/>
                <a:gd name="connsiteY26" fmla="*/ 322997 h 782471"/>
                <a:gd name="connsiteX27" fmla="*/ 782471 w 2984311"/>
                <a:gd name="connsiteY27" fmla="*/ 322997 h 782471"/>
                <a:gd name="connsiteX28" fmla="*/ 768824 w 2984311"/>
                <a:gd name="connsiteY28" fmla="*/ 318448 h 782471"/>
                <a:gd name="connsiteX29" fmla="*/ 641445 w 2984311"/>
                <a:gd name="connsiteY29" fmla="*/ 291152 h 782471"/>
                <a:gd name="connsiteX30" fmla="*/ 591403 w 2984311"/>
                <a:gd name="connsiteY30" fmla="*/ 282054 h 782471"/>
                <a:gd name="connsiteX31" fmla="*/ 561174 w 2984311"/>
                <a:gd name="connsiteY31" fmla="*/ 286529 h 782471"/>
                <a:gd name="connsiteX32" fmla="*/ 514066 w 2984311"/>
                <a:gd name="connsiteY32" fmla="*/ 263857 h 782471"/>
                <a:gd name="connsiteX33" fmla="*/ 491319 w 2984311"/>
                <a:gd name="connsiteY33" fmla="*/ 259308 h 782471"/>
                <a:gd name="connsiteX34" fmla="*/ 459474 w 2984311"/>
                <a:gd name="connsiteY34" fmla="*/ 254758 h 782471"/>
                <a:gd name="connsiteX35" fmla="*/ 432179 w 2984311"/>
                <a:gd name="connsiteY35" fmla="*/ 236561 h 782471"/>
                <a:gd name="connsiteX36" fmla="*/ 423080 w 2984311"/>
                <a:gd name="connsiteY36" fmla="*/ 222913 h 782471"/>
                <a:gd name="connsiteX37" fmla="*/ 404883 w 2984311"/>
                <a:gd name="connsiteY37" fmla="*/ 213815 h 782471"/>
                <a:gd name="connsiteX38" fmla="*/ 391236 w 2984311"/>
                <a:gd name="connsiteY38" fmla="*/ 204716 h 782471"/>
                <a:gd name="connsiteX39" fmla="*/ 373039 w 2984311"/>
                <a:gd name="connsiteY39" fmla="*/ 177421 h 782471"/>
                <a:gd name="connsiteX40" fmla="*/ 350292 w 2984311"/>
                <a:gd name="connsiteY40" fmla="*/ 150125 h 782471"/>
                <a:gd name="connsiteX41" fmla="*/ 322997 w 2984311"/>
                <a:gd name="connsiteY41" fmla="*/ 131928 h 782471"/>
                <a:gd name="connsiteX42" fmla="*/ 295701 w 2984311"/>
                <a:gd name="connsiteY42" fmla="*/ 113731 h 782471"/>
                <a:gd name="connsiteX43" fmla="*/ 286603 w 2984311"/>
                <a:gd name="connsiteY43" fmla="*/ 100084 h 782471"/>
                <a:gd name="connsiteX44" fmla="*/ 272955 w 2984311"/>
                <a:gd name="connsiteY44" fmla="*/ 95534 h 782471"/>
                <a:gd name="connsiteX45" fmla="*/ 259307 w 2984311"/>
                <a:gd name="connsiteY45" fmla="*/ 86436 h 782471"/>
                <a:gd name="connsiteX46" fmla="*/ 232012 w 2984311"/>
                <a:gd name="connsiteY46" fmla="*/ 77337 h 782471"/>
                <a:gd name="connsiteX47" fmla="*/ 218364 w 2984311"/>
                <a:gd name="connsiteY47" fmla="*/ 72788 h 782471"/>
                <a:gd name="connsiteX48" fmla="*/ 204716 w 2984311"/>
                <a:gd name="connsiteY48" fmla="*/ 68239 h 782471"/>
                <a:gd name="connsiteX49" fmla="*/ 191068 w 2984311"/>
                <a:gd name="connsiteY49" fmla="*/ 59140 h 782471"/>
                <a:gd name="connsiteX50" fmla="*/ 163773 w 2984311"/>
                <a:gd name="connsiteY50" fmla="*/ 50042 h 782471"/>
                <a:gd name="connsiteX51" fmla="*/ 136477 w 2984311"/>
                <a:gd name="connsiteY51" fmla="*/ 40943 h 782471"/>
                <a:gd name="connsiteX52" fmla="*/ 122830 w 2984311"/>
                <a:gd name="connsiteY52" fmla="*/ 36394 h 782471"/>
                <a:gd name="connsiteX53" fmla="*/ 0 w 2984311"/>
                <a:gd name="connsiteY53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20369 w 2984311"/>
                <a:gd name="connsiteY5" fmla="*/ 491319 h 782471"/>
                <a:gd name="connsiteX6" fmla="*/ 2370161 w 2984311"/>
                <a:gd name="connsiteY6" fmla="*/ 459475 h 782471"/>
                <a:gd name="connsiteX7" fmla="*/ 2247331 w 2984311"/>
                <a:gd name="connsiteY7" fmla="*/ 413982 h 782471"/>
                <a:gd name="connsiteX8" fmla="*/ 2233683 w 2984311"/>
                <a:gd name="connsiteY8" fmla="*/ 409433 h 782471"/>
                <a:gd name="connsiteX9" fmla="*/ 2197290 w 2984311"/>
                <a:gd name="connsiteY9" fmla="*/ 423081 h 782471"/>
                <a:gd name="connsiteX10" fmla="*/ 2056263 w 2984311"/>
                <a:gd name="connsiteY10" fmla="*/ 477672 h 782471"/>
                <a:gd name="connsiteX11" fmla="*/ 1969827 w 2984311"/>
                <a:gd name="connsiteY11" fmla="*/ 468573 h 782471"/>
                <a:gd name="connsiteX12" fmla="*/ 1883391 w 2984311"/>
                <a:gd name="connsiteY12" fmla="*/ 477672 h 782471"/>
                <a:gd name="connsiteX13" fmla="*/ 1796955 w 2984311"/>
                <a:gd name="connsiteY13" fmla="*/ 527713 h 782471"/>
                <a:gd name="connsiteX14" fmla="*/ 1733266 w 2984311"/>
                <a:gd name="connsiteY14" fmla="*/ 509516 h 782471"/>
                <a:gd name="connsiteX15" fmla="*/ 1728716 w 2984311"/>
                <a:gd name="connsiteY15" fmla="*/ 495869 h 782471"/>
                <a:gd name="connsiteX16" fmla="*/ 1724167 w 2984311"/>
                <a:gd name="connsiteY16" fmla="*/ 450376 h 782471"/>
                <a:gd name="connsiteX17" fmla="*/ 1699805 w 2984311"/>
                <a:gd name="connsiteY17" fmla="*/ 429247 h 782471"/>
                <a:gd name="connsiteX18" fmla="*/ 1665027 w 2984311"/>
                <a:gd name="connsiteY18" fmla="*/ 376271 h 782471"/>
                <a:gd name="connsiteX19" fmla="*/ 1610360 w 2984311"/>
                <a:gd name="connsiteY19" fmla="*/ 330703 h 782471"/>
                <a:gd name="connsiteX20" fmla="*/ 1534939 w 2984311"/>
                <a:gd name="connsiteY20" fmla="*/ 297317 h 782471"/>
                <a:gd name="connsiteX21" fmla="*/ 1418199 w 2984311"/>
                <a:gd name="connsiteY21" fmla="*/ 277355 h 782471"/>
                <a:gd name="connsiteX22" fmla="*/ 1260293 w 2984311"/>
                <a:gd name="connsiteY22" fmla="*/ 230471 h 782471"/>
                <a:gd name="connsiteX23" fmla="*/ 1219200 w 2984311"/>
                <a:gd name="connsiteY23" fmla="*/ 254758 h 782471"/>
                <a:gd name="connsiteX24" fmla="*/ 1073624 w 2984311"/>
                <a:gd name="connsiteY24" fmla="*/ 304800 h 782471"/>
                <a:gd name="connsiteX25" fmla="*/ 950345 w 2984311"/>
                <a:gd name="connsiteY25" fmla="*/ 306341 h 782471"/>
                <a:gd name="connsiteX26" fmla="*/ 868907 w 2984311"/>
                <a:gd name="connsiteY26" fmla="*/ 322997 h 782471"/>
                <a:gd name="connsiteX27" fmla="*/ 782471 w 2984311"/>
                <a:gd name="connsiteY27" fmla="*/ 322997 h 782471"/>
                <a:gd name="connsiteX28" fmla="*/ 768824 w 2984311"/>
                <a:gd name="connsiteY28" fmla="*/ 318448 h 782471"/>
                <a:gd name="connsiteX29" fmla="*/ 641445 w 2984311"/>
                <a:gd name="connsiteY29" fmla="*/ 291152 h 782471"/>
                <a:gd name="connsiteX30" fmla="*/ 591403 w 2984311"/>
                <a:gd name="connsiteY30" fmla="*/ 282054 h 782471"/>
                <a:gd name="connsiteX31" fmla="*/ 514066 w 2984311"/>
                <a:gd name="connsiteY31" fmla="*/ 263857 h 782471"/>
                <a:gd name="connsiteX32" fmla="*/ 491319 w 2984311"/>
                <a:gd name="connsiteY32" fmla="*/ 259308 h 782471"/>
                <a:gd name="connsiteX33" fmla="*/ 459474 w 2984311"/>
                <a:gd name="connsiteY33" fmla="*/ 254758 h 782471"/>
                <a:gd name="connsiteX34" fmla="*/ 432179 w 2984311"/>
                <a:gd name="connsiteY34" fmla="*/ 236561 h 782471"/>
                <a:gd name="connsiteX35" fmla="*/ 423080 w 2984311"/>
                <a:gd name="connsiteY35" fmla="*/ 222913 h 782471"/>
                <a:gd name="connsiteX36" fmla="*/ 404883 w 2984311"/>
                <a:gd name="connsiteY36" fmla="*/ 213815 h 782471"/>
                <a:gd name="connsiteX37" fmla="*/ 391236 w 2984311"/>
                <a:gd name="connsiteY37" fmla="*/ 204716 h 782471"/>
                <a:gd name="connsiteX38" fmla="*/ 373039 w 2984311"/>
                <a:gd name="connsiteY38" fmla="*/ 177421 h 782471"/>
                <a:gd name="connsiteX39" fmla="*/ 350292 w 2984311"/>
                <a:gd name="connsiteY39" fmla="*/ 150125 h 782471"/>
                <a:gd name="connsiteX40" fmla="*/ 322997 w 2984311"/>
                <a:gd name="connsiteY40" fmla="*/ 131928 h 782471"/>
                <a:gd name="connsiteX41" fmla="*/ 295701 w 2984311"/>
                <a:gd name="connsiteY41" fmla="*/ 113731 h 782471"/>
                <a:gd name="connsiteX42" fmla="*/ 286603 w 2984311"/>
                <a:gd name="connsiteY42" fmla="*/ 100084 h 782471"/>
                <a:gd name="connsiteX43" fmla="*/ 272955 w 2984311"/>
                <a:gd name="connsiteY43" fmla="*/ 95534 h 782471"/>
                <a:gd name="connsiteX44" fmla="*/ 259307 w 2984311"/>
                <a:gd name="connsiteY44" fmla="*/ 86436 h 782471"/>
                <a:gd name="connsiteX45" fmla="*/ 232012 w 2984311"/>
                <a:gd name="connsiteY45" fmla="*/ 77337 h 782471"/>
                <a:gd name="connsiteX46" fmla="*/ 218364 w 2984311"/>
                <a:gd name="connsiteY46" fmla="*/ 72788 h 782471"/>
                <a:gd name="connsiteX47" fmla="*/ 204716 w 2984311"/>
                <a:gd name="connsiteY47" fmla="*/ 68239 h 782471"/>
                <a:gd name="connsiteX48" fmla="*/ 191068 w 2984311"/>
                <a:gd name="connsiteY48" fmla="*/ 59140 h 782471"/>
                <a:gd name="connsiteX49" fmla="*/ 163773 w 2984311"/>
                <a:gd name="connsiteY49" fmla="*/ 50042 h 782471"/>
                <a:gd name="connsiteX50" fmla="*/ 136477 w 2984311"/>
                <a:gd name="connsiteY50" fmla="*/ 40943 h 782471"/>
                <a:gd name="connsiteX51" fmla="*/ 122830 w 2984311"/>
                <a:gd name="connsiteY51" fmla="*/ 36394 h 782471"/>
                <a:gd name="connsiteX52" fmla="*/ 0 w 2984311"/>
                <a:gd name="connsiteY52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20369 w 2984311"/>
                <a:gd name="connsiteY5" fmla="*/ 491319 h 782471"/>
                <a:gd name="connsiteX6" fmla="*/ 2370161 w 2984311"/>
                <a:gd name="connsiteY6" fmla="*/ 459475 h 782471"/>
                <a:gd name="connsiteX7" fmla="*/ 2247331 w 2984311"/>
                <a:gd name="connsiteY7" fmla="*/ 413982 h 782471"/>
                <a:gd name="connsiteX8" fmla="*/ 2233683 w 2984311"/>
                <a:gd name="connsiteY8" fmla="*/ 409433 h 782471"/>
                <a:gd name="connsiteX9" fmla="*/ 2197290 w 2984311"/>
                <a:gd name="connsiteY9" fmla="*/ 423081 h 782471"/>
                <a:gd name="connsiteX10" fmla="*/ 2056263 w 2984311"/>
                <a:gd name="connsiteY10" fmla="*/ 477672 h 782471"/>
                <a:gd name="connsiteX11" fmla="*/ 1969827 w 2984311"/>
                <a:gd name="connsiteY11" fmla="*/ 468573 h 782471"/>
                <a:gd name="connsiteX12" fmla="*/ 1883391 w 2984311"/>
                <a:gd name="connsiteY12" fmla="*/ 477672 h 782471"/>
                <a:gd name="connsiteX13" fmla="*/ 1796955 w 2984311"/>
                <a:gd name="connsiteY13" fmla="*/ 527713 h 782471"/>
                <a:gd name="connsiteX14" fmla="*/ 1733266 w 2984311"/>
                <a:gd name="connsiteY14" fmla="*/ 509516 h 782471"/>
                <a:gd name="connsiteX15" fmla="*/ 1728716 w 2984311"/>
                <a:gd name="connsiteY15" fmla="*/ 495869 h 782471"/>
                <a:gd name="connsiteX16" fmla="*/ 1724167 w 2984311"/>
                <a:gd name="connsiteY16" fmla="*/ 450376 h 782471"/>
                <a:gd name="connsiteX17" fmla="*/ 1699805 w 2984311"/>
                <a:gd name="connsiteY17" fmla="*/ 429247 h 782471"/>
                <a:gd name="connsiteX18" fmla="*/ 1665027 w 2984311"/>
                <a:gd name="connsiteY18" fmla="*/ 376271 h 782471"/>
                <a:gd name="connsiteX19" fmla="*/ 1610360 w 2984311"/>
                <a:gd name="connsiteY19" fmla="*/ 330703 h 782471"/>
                <a:gd name="connsiteX20" fmla="*/ 1534939 w 2984311"/>
                <a:gd name="connsiteY20" fmla="*/ 297317 h 782471"/>
                <a:gd name="connsiteX21" fmla="*/ 1418199 w 2984311"/>
                <a:gd name="connsiteY21" fmla="*/ 277355 h 782471"/>
                <a:gd name="connsiteX22" fmla="*/ 1260293 w 2984311"/>
                <a:gd name="connsiteY22" fmla="*/ 230471 h 782471"/>
                <a:gd name="connsiteX23" fmla="*/ 1219200 w 2984311"/>
                <a:gd name="connsiteY23" fmla="*/ 254758 h 782471"/>
                <a:gd name="connsiteX24" fmla="*/ 1073624 w 2984311"/>
                <a:gd name="connsiteY24" fmla="*/ 304800 h 782471"/>
                <a:gd name="connsiteX25" fmla="*/ 950345 w 2984311"/>
                <a:gd name="connsiteY25" fmla="*/ 306341 h 782471"/>
                <a:gd name="connsiteX26" fmla="*/ 868907 w 2984311"/>
                <a:gd name="connsiteY26" fmla="*/ 322997 h 782471"/>
                <a:gd name="connsiteX27" fmla="*/ 782471 w 2984311"/>
                <a:gd name="connsiteY27" fmla="*/ 322997 h 782471"/>
                <a:gd name="connsiteX28" fmla="*/ 768824 w 2984311"/>
                <a:gd name="connsiteY28" fmla="*/ 318448 h 782471"/>
                <a:gd name="connsiteX29" fmla="*/ 641445 w 2984311"/>
                <a:gd name="connsiteY29" fmla="*/ 291152 h 782471"/>
                <a:gd name="connsiteX30" fmla="*/ 514066 w 2984311"/>
                <a:gd name="connsiteY30" fmla="*/ 263857 h 782471"/>
                <a:gd name="connsiteX31" fmla="*/ 491319 w 2984311"/>
                <a:gd name="connsiteY31" fmla="*/ 259308 h 782471"/>
                <a:gd name="connsiteX32" fmla="*/ 459474 w 2984311"/>
                <a:gd name="connsiteY32" fmla="*/ 254758 h 782471"/>
                <a:gd name="connsiteX33" fmla="*/ 432179 w 2984311"/>
                <a:gd name="connsiteY33" fmla="*/ 236561 h 782471"/>
                <a:gd name="connsiteX34" fmla="*/ 423080 w 2984311"/>
                <a:gd name="connsiteY34" fmla="*/ 222913 h 782471"/>
                <a:gd name="connsiteX35" fmla="*/ 404883 w 2984311"/>
                <a:gd name="connsiteY35" fmla="*/ 213815 h 782471"/>
                <a:gd name="connsiteX36" fmla="*/ 391236 w 2984311"/>
                <a:gd name="connsiteY36" fmla="*/ 204716 h 782471"/>
                <a:gd name="connsiteX37" fmla="*/ 373039 w 2984311"/>
                <a:gd name="connsiteY37" fmla="*/ 177421 h 782471"/>
                <a:gd name="connsiteX38" fmla="*/ 350292 w 2984311"/>
                <a:gd name="connsiteY38" fmla="*/ 150125 h 782471"/>
                <a:gd name="connsiteX39" fmla="*/ 322997 w 2984311"/>
                <a:gd name="connsiteY39" fmla="*/ 131928 h 782471"/>
                <a:gd name="connsiteX40" fmla="*/ 295701 w 2984311"/>
                <a:gd name="connsiteY40" fmla="*/ 113731 h 782471"/>
                <a:gd name="connsiteX41" fmla="*/ 286603 w 2984311"/>
                <a:gd name="connsiteY41" fmla="*/ 100084 h 782471"/>
                <a:gd name="connsiteX42" fmla="*/ 272955 w 2984311"/>
                <a:gd name="connsiteY42" fmla="*/ 95534 h 782471"/>
                <a:gd name="connsiteX43" fmla="*/ 259307 w 2984311"/>
                <a:gd name="connsiteY43" fmla="*/ 86436 h 782471"/>
                <a:gd name="connsiteX44" fmla="*/ 232012 w 2984311"/>
                <a:gd name="connsiteY44" fmla="*/ 77337 h 782471"/>
                <a:gd name="connsiteX45" fmla="*/ 218364 w 2984311"/>
                <a:gd name="connsiteY45" fmla="*/ 72788 h 782471"/>
                <a:gd name="connsiteX46" fmla="*/ 204716 w 2984311"/>
                <a:gd name="connsiteY46" fmla="*/ 68239 h 782471"/>
                <a:gd name="connsiteX47" fmla="*/ 191068 w 2984311"/>
                <a:gd name="connsiteY47" fmla="*/ 59140 h 782471"/>
                <a:gd name="connsiteX48" fmla="*/ 163773 w 2984311"/>
                <a:gd name="connsiteY48" fmla="*/ 50042 h 782471"/>
                <a:gd name="connsiteX49" fmla="*/ 136477 w 2984311"/>
                <a:gd name="connsiteY49" fmla="*/ 40943 h 782471"/>
                <a:gd name="connsiteX50" fmla="*/ 122830 w 2984311"/>
                <a:gd name="connsiteY50" fmla="*/ 36394 h 782471"/>
                <a:gd name="connsiteX51" fmla="*/ 0 w 2984311"/>
                <a:gd name="connsiteY51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20369 w 2984311"/>
                <a:gd name="connsiteY5" fmla="*/ 491319 h 782471"/>
                <a:gd name="connsiteX6" fmla="*/ 2370161 w 2984311"/>
                <a:gd name="connsiteY6" fmla="*/ 459475 h 782471"/>
                <a:gd name="connsiteX7" fmla="*/ 2247331 w 2984311"/>
                <a:gd name="connsiteY7" fmla="*/ 413982 h 782471"/>
                <a:gd name="connsiteX8" fmla="*/ 2233683 w 2984311"/>
                <a:gd name="connsiteY8" fmla="*/ 409433 h 782471"/>
                <a:gd name="connsiteX9" fmla="*/ 2197290 w 2984311"/>
                <a:gd name="connsiteY9" fmla="*/ 423081 h 782471"/>
                <a:gd name="connsiteX10" fmla="*/ 2056263 w 2984311"/>
                <a:gd name="connsiteY10" fmla="*/ 477672 h 782471"/>
                <a:gd name="connsiteX11" fmla="*/ 1969827 w 2984311"/>
                <a:gd name="connsiteY11" fmla="*/ 468573 h 782471"/>
                <a:gd name="connsiteX12" fmla="*/ 1883391 w 2984311"/>
                <a:gd name="connsiteY12" fmla="*/ 477672 h 782471"/>
                <a:gd name="connsiteX13" fmla="*/ 1796955 w 2984311"/>
                <a:gd name="connsiteY13" fmla="*/ 527713 h 782471"/>
                <a:gd name="connsiteX14" fmla="*/ 1733266 w 2984311"/>
                <a:gd name="connsiteY14" fmla="*/ 509516 h 782471"/>
                <a:gd name="connsiteX15" fmla="*/ 1728716 w 2984311"/>
                <a:gd name="connsiteY15" fmla="*/ 495869 h 782471"/>
                <a:gd name="connsiteX16" fmla="*/ 1724167 w 2984311"/>
                <a:gd name="connsiteY16" fmla="*/ 450376 h 782471"/>
                <a:gd name="connsiteX17" fmla="*/ 1699805 w 2984311"/>
                <a:gd name="connsiteY17" fmla="*/ 429247 h 782471"/>
                <a:gd name="connsiteX18" fmla="*/ 1665027 w 2984311"/>
                <a:gd name="connsiteY18" fmla="*/ 376271 h 782471"/>
                <a:gd name="connsiteX19" fmla="*/ 1610360 w 2984311"/>
                <a:gd name="connsiteY19" fmla="*/ 330703 h 782471"/>
                <a:gd name="connsiteX20" fmla="*/ 1534939 w 2984311"/>
                <a:gd name="connsiteY20" fmla="*/ 297317 h 782471"/>
                <a:gd name="connsiteX21" fmla="*/ 1418199 w 2984311"/>
                <a:gd name="connsiteY21" fmla="*/ 277355 h 782471"/>
                <a:gd name="connsiteX22" fmla="*/ 1260293 w 2984311"/>
                <a:gd name="connsiteY22" fmla="*/ 230471 h 782471"/>
                <a:gd name="connsiteX23" fmla="*/ 1219200 w 2984311"/>
                <a:gd name="connsiteY23" fmla="*/ 254758 h 782471"/>
                <a:gd name="connsiteX24" fmla="*/ 1073624 w 2984311"/>
                <a:gd name="connsiteY24" fmla="*/ 304800 h 782471"/>
                <a:gd name="connsiteX25" fmla="*/ 950345 w 2984311"/>
                <a:gd name="connsiteY25" fmla="*/ 306341 h 782471"/>
                <a:gd name="connsiteX26" fmla="*/ 868907 w 2984311"/>
                <a:gd name="connsiteY26" fmla="*/ 322997 h 782471"/>
                <a:gd name="connsiteX27" fmla="*/ 782471 w 2984311"/>
                <a:gd name="connsiteY27" fmla="*/ 322997 h 782471"/>
                <a:gd name="connsiteX28" fmla="*/ 768824 w 2984311"/>
                <a:gd name="connsiteY28" fmla="*/ 318448 h 782471"/>
                <a:gd name="connsiteX29" fmla="*/ 641445 w 2984311"/>
                <a:gd name="connsiteY29" fmla="*/ 291152 h 782471"/>
                <a:gd name="connsiteX30" fmla="*/ 491319 w 2984311"/>
                <a:gd name="connsiteY30" fmla="*/ 259308 h 782471"/>
                <a:gd name="connsiteX31" fmla="*/ 459474 w 2984311"/>
                <a:gd name="connsiteY31" fmla="*/ 254758 h 782471"/>
                <a:gd name="connsiteX32" fmla="*/ 432179 w 2984311"/>
                <a:gd name="connsiteY32" fmla="*/ 236561 h 782471"/>
                <a:gd name="connsiteX33" fmla="*/ 423080 w 2984311"/>
                <a:gd name="connsiteY33" fmla="*/ 222913 h 782471"/>
                <a:gd name="connsiteX34" fmla="*/ 404883 w 2984311"/>
                <a:gd name="connsiteY34" fmla="*/ 213815 h 782471"/>
                <a:gd name="connsiteX35" fmla="*/ 391236 w 2984311"/>
                <a:gd name="connsiteY35" fmla="*/ 204716 h 782471"/>
                <a:gd name="connsiteX36" fmla="*/ 373039 w 2984311"/>
                <a:gd name="connsiteY36" fmla="*/ 177421 h 782471"/>
                <a:gd name="connsiteX37" fmla="*/ 350292 w 2984311"/>
                <a:gd name="connsiteY37" fmla="*/ 150125 h 782471"/>
                <a:gd name="connsiteX38" fmla="*/ 322997 w 2984311"/>
                <a:gd name="connsiteY38" fmla="*/ 131928 h 782471"/>
                <a:gd name="connsiteX39" fmla="*/ 295701 w 2984311"/>
                <a:gd name="connsiteY39" fmla="*/ 113731 h 782471"/>
                <a:gd name="connsiteX40" fmla="*/ 286603 w 2984311"/>
                <a:gd name="connsiteY40" fmla="*/ 100084 h 782471"/>
                <a:gd name="connsiteX41" fmla="*/ 272955 w 2984311"/>
                <a:gd name="connsiteY41" fmla="*/ 95534 h 782471"/>
                <a:gd name="connsiteX42" fmla="*/ 259307 w 2984311"/>
                <a:gd name="connsiteY42" fmla="*/ 86436 h 782471"/>
                <a:gd name="connsiteX43" fmla="*/ 232012 w 2984311"/>
                <a:gd name="connsiteY43" fmla="*/ 77337 h 782471"/>
                <a:gd name="connsiteX44" fmla="*/ 218364 w 2984311"/>
                <a:gd name="connsiteY44" fmla="*/ 72788 h 782471"/>
                <a:gd name="connsiteX45" fmla="*/ 204716 w 2984311"/>
                <a:gd name="connsiteY45" fmla="*/ 68239 h 782471"/>
                <a:gd name="connsiteX46" fmla="*/ 191068 w 2984311"/>
                <a:gd name="connsiteY46" fmla="*/ 59140 h 782471"/>
                <a:gd name="connsiteX47" fmla="*/ 163773 w 2984311"/>
                <a:gd name="connsiteY47" fmla="*/ 50042 h 782471"/>
                <a:gd name="connsiteX48" fmla="*/ 136477 w 2984311"/>
                <a:gd name="connsiteY48" fmla="*/ 40943 h 782471"/>
                <a:gd name="connsiteX49" fmla="*/ 122830 w 2984311"/>
                <a:gd name="connsiteY49" fmla="*/ 36394 h 782471"/>
                <a:gd name="connsiteX50" fmla="*/ 0 w 2984311"/>
                <a:gd name="connsiteY50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20369 w 2984311"/>
                <a:gd name="connsiteY5" fmla="*/ 491319 h 782471"/>
                <a:gd name="connsiteX6" fmla="*/ 2370161 w 2984311"/>
                <a:gd name="connsiteY6" fmla="*/ 459475 h 782471"/>
                <a:gd name="connsiteX7" fmla="*/ 2247331 w 2984311"/>
                <a:gd name="connsiteY7" fmla="*/ 413982 h 782471"/>
                <a:gd name="connsiteX8" fmla="*/ 2233683 w 2984311"/>
                <a:gd name="connsiteY8" fmla="*/ 409433 h 782471"/>
                <a:gd name="connsiteX9" fmla="*/ 2197290 w 2984311"/>
                <a:gd name="connsiteY9" fmla="*/ 423081 h 782471"/>
                <a:gd name="connsiteX10" fmla="*/ 2056263 w 2984311"/>
                <a:gd name="connsiteY10" fmla="*/ 477672 h 782471"/>
                <a:gd name="connsiteX11" fmla="*/ 1969827 w 2984311"/>
                <a:gd name="connsiteY11" fmla="*/ 468573 h 782471"/>
                <a:gd name="connsiteX12" fmla="*/ 1883391 w 2984311"/>
                <a:gd name="connsiteY12" fmla="*/ 477672 h 782471"/>
                <a:gd name="connsiteX13" fmla="*/ 1796955 w 2984311"/>
                <a:gd name="connsiteY13" fmla="*/ 527713 h 782471"/>
                <a:gd name="connsiteX14" fmla="*/ 1733266 w 2984311"/>
                <a:gd name="connsiteY14" fmla="*/ 509516 h 782471"/>
                <a:gd name="connsiteX15" fmla="*/ 1728716 w 2984311"/>
                <a:gd name="connsiteY15" fmla="*/ 495869 h 782471"/>
                <a:gd name="connsiteX16" fmla="*/ 1724167 w 2984311"/>
                <a:gd name="connsiteY16" fmla="*/ 450376 h 782471"/>
                <a:gd name="connsiteX17" fmla="*/ 1699805 w 2984311"/>
                <a:gd name="connsiteY17" fmla="*/ 429247 h 782471"/>
                <a:gd name="connsiteX18" fmla="*/ 1665027 w 2984311"/>
                <a:gd name="connsiteY18" fmla="*/ 376271 h 782471"/>
                <a:gd name="connsiteX19" fmla="*/ 1610360 w 2984311"/>
                <a:gd name="connsiteY19" fmla="*/ 330703 h 782471"/>
                <a:gd name="connsiteX20" fmla="*/ 1534939 w 2984311"/>
                <a:gd name="connsiteY20" fmla="*/ 297317 h 782471"/>
                <a:gd name="connsiteX21" fmla="*/ 1418199 w 2984311"/>
                <a:gd name="connsiteY21" fmla="*/ 277355 h 782471"/>
                <a:gd name="connsiteX22" fmla="*/ 1260293 w 2984311"/>
                <a:gd name="connsiteY22" fmla="*/ 230471 h 782471"/>
                <a:gd name="connsiteX23" fmla="*/ 1219200 w 2984311"/>
                <a:gd name="connsiteY23" fmla="*/ 254758 h 782471"/>
                <a:gd name="connsiteX24" fmla="*/ 1073624 w 2984311"/>
                <a:gd name="connsiteY24" fmla="*/ 304800 h 782471"/>
                <a:gd name="connsiteX25" fmla="*/ 950345 w 2984311"/>
                <a:gd name="connsiteY25" fmla="*/ 306341 h 782471"/>
                <a:gd name="connsiteX26" fmla="*/ 868907 w 2984311"/>
                <a:gd name="connsiteY26" fmla="*/ 322997 h 782471"/>
                <a:gd name="connsiteX27" fmla="*/ 782471 w 2984311"/>
                <a:gd name="connsiteY27" fmla="*/ 322997 h 782471"/>
                <a:gd name="connsiteX28" fmla="*/ 768824 w 2984311"/>
                <a:gd name="connsiteY28" fmla="*/ 318448 h 782471"/>
                <a:gd name="connsiteX29" fmla="*/ 641445 w 2984311"/>
                <a:gd name="connsiteY29" fmla="*/ 291152 h 782471"/>
                <a:gd name="connsiteX30" fmla="*/ 476280 w 2984311"/>
                <a:gd name="connsiteY30" fmla="*/ 286379 h 782471"/>
                <a:gd name="connsiteX31" fmla="*/ 459474 w 2984311"/>
                <a:gd name="connsiteY31" fmla="*/ 254758 h 782471"/>
                <a:gd name="connsiteX32" fmla="*/ 432179 w 2984311"/>
                <a:gd name="connsiteY32" fmla="*/ 236561 h 782471"/>
                <a:gd name="connsiteX33" fmla="*/ 423080 w 2984311"/>
                <a:gd name="connsiteY33" fmla="*/ 222913 h 782471"/>
                <a:gd name="connsiteX34" fmla="*/ 404883 w 2984311"/>
                <a:gd name="connsiteY34" fmla="*/ 213815 h 782471"/>
                <a:gd name="connsiteX35" fmla="*/ 391236 w 2984311"/>
                <a:gd name="connsiteY35" fmla="*/ 204716 h 782471"/>
                <a:gd name="connsiteX36" fmla="*/ 373039 w 2984311"/>
                <a:gd name="connsiteY36" fmla="*/ 177421 h 782471"/>
                <a:gd name="connsiteX37" fmla="*/ 350292 w 2984311"/>
                <a:gd name="connsiteY37" fmla="*/ 150125 h 782471"/>
                <a:gd name="connsiteX38" fmla="*/ 322997 w 2984311"/>
                <a:gd name="connsiteY38" fmla="*/ 131928 h 782471"/>
                <a:gd name="connsiteX39" fmla="*/ 295701 w 2984311"/>
                <a:gd name="connsiteY39" fmla="*/ 113731 h 782471"/>
                <a:gd name="connsiteX40" fmla="*/ 286603 w 2984311"/>
                <a:gd name="connsiteY40" fmla="*/ 100084 h 782471"/>
                <a:gd name="connsiteX41" fmla="*/ 272955 w 2984311"/>
                <a:gd name="connsiteY41" fmla="*/ 95534 h 782471"/>
                <a:gd name="connsiteX42" fmla="*/ 259307 w 2984311"/>
                <a:gd name="connsiteY42" fmla="*/ 86436 h 782471"/>
                <a:gd name="connsiteX43" fmla="*/ 232012 w 2984311"/>
                <a:gd name="connsiteY43" fmla="*/ 77337 h 782471"/>
                <a:gd name="connsiteX44" fmla="*/ 218364 w 2984311"/>
                <a:gd name="connsiteY44" fmla="*/ 72788 h 782471"/>
                <a:gd name="connsiteX45" fmla="*/ 204716 w 2984311"/>
                <a:gd name="connsiteY45" fmla="*/ 68239 h 782471"/>
                <a:gd name="connsiteX46" fmla="*/ 191068 w 2984311"/>
                <a:gd name="connsiteY46" fmla="*/ 59140 h 782471"/>
                <a:gd name="connsiteX47" fmla="*/ 163773 w 2984311"/>
                <a:gd name="connsiteY47" fmla="*/ 50042 h 782471"/>
                <a:gd name="connsiteX48" fmla="*/ 136477 w 2984311"/>
                <a:gd name="connsiteY48" fmla="*/ 40943 h 782471"/>
                <a:gd name="connsiteX49" fmla="*/ 122830 w 2984311"/>
                <a:gd name="connsiteY49" fmla="*/ 36394 h 782471"/>
                <a:gd name="connsiteX50" fmla="*/ 0 w 2984311"/>
                <a:gd name="connsiteY50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20369 w 2984311"/>
                <a:gd name="connsiteY5" fmla="*/ 491319 h 782471"/>
                <a:gd name="connsiteX6" fmla="*/ 2370161 w 2984311"/>
                <a:gd name="connsiteY6" fmla="*/ 459475 h 782471"/>
                <a:gd name="connsiteX7" fmla="*/ 2247331 w 2984311"/>
                <a:gd name="connsiteY7" fmla="*/ 413982 h 782471"/>
                <a:gd name="connsiteX8" fmla="*/ 2233683 w 2984311"/>
                <a:gd name="connsiteY8" fmla="*/ 409433 h 782471"/>
                <a:gd name="connsiteX9" fmla="*/ 2197290 w 2984311"/>
                <a:gd name="connsiteY9" fmla="*/ 423081 h 782471"/>
                <a:gd name="connsiteX10" fmla="*/ 2056263 w 2984311"/>
                <a:gd name="connsiteY10" fmla="*/ 477672 h 782471"/>
                <a:gd name="connsiteX11" fmla="*/ 1969827 w 2984311"/>
                <a:gd name="connsiteY11" fmla="*/ 468573 h 782471"/>
                <a:gd name="connsiteX12" fmla="*/ 1883391 w 2984311"/>
                <a:gd name="connsiteY12" fmla="*/ 477672 h 782471"/>
                <a:gd name="connsiteX13" fmla="*/ 1796955 w 2984311"/>
                <a:gd name="connsiteY13" fmla="*/ 527713 h 782471"/>
                <a:gd name="connsiteX14" fmla="*/ 1733266 w 2984311"/>
                <a:gd name="connsiteY14" fmla="*/ 509516 h 782471"/>
                <a:gd name="connsiteX15" fmla="*/ 1728716 w 2984311"/>
                <a:gd name="connsiteY15" fmla="*/ 495869 h 782471"/>
                <a:gd name="connsiteX16" fmla="*/ 1724167 w 2984311"/>
                <a:gd name="connsiteY16" fmla="*/ 450376 h 782471"/>
                <a:gd name="connsiteX17" fmla="*/ 1699805 w 2984311"/>
                <a:gd name="connsiteY17" fmla="*/ 429247 h 782471"/>
                <a:gd name="connsiteX18" fmla="*/ 1665027 w 2984311"/>
                <a:gd name="connsiteY18" fmla="*/ 376271 h 782471"/>
                <a:gd name="connsiteX19" fmla="*/ 1610360 w 2984311"/>
                <a:gd name="connsiteY19" fmla="*/ 330703 h 782471"/>
                <a:gd name="connsiteX20" fmla="*/ 1534939 w 2984311"/>
                <a:gd name="connsiteY20" fmla="*/ 297317 h 782471"/>
                <a:gd name="connsiteX21" fmla="*/ 1418199 w 2984311"/>
                <a:gd name="connsiteY21" fmla="*/ 277355 h 782471"/>
                <a:gd name="connsiteX22" fmla="*/ 1260293 w 2984311"/>
                <a:gd name="connsiteY22" fmla="*/ 230471 h 782471"/>
                <a:gd name="connsiteX23" fmla="*/ 1219200 w 2984311"/>
                <a:gd name="connsiteY23" fmla="*/ 254758 h 782471"/>
                <a:gd name="connsiteX24" fmla="*/ 1073624 w 2984311"/>
                <a:gd name="connsiteY24" fmla="*/ 304800 h 782471"/>
                <a:gd name="connsiteX25" fmla="*/ 950345 w 2984311"/>
                <a:gd name="connsiteY25" fmla="*/ 306341 h 782471"/>
                <a:gd name="connsiteX26" fmla="*/ 868907 w 2984311"/>
                <a:gd name="connsiteY26" fmla="*/ 322997 h 782471"/>
                <a:gd name="connsiteX27" fmla="*/ 782471 w 2984311"/>
                <a:gd name="connsiteY27" fmla="*/ 322997 h 782471"/>
                <a:gd name="connsiteX28" fmla="*/ 641445 w 2984311"/>
                <a:gd name="connsiteY28" fmla="*/ 291152 h 782471"/>
                <a:gd name="connsiteX29" fmla="*/ 476280 w 2984311"/>
                <a:gd name="connsiteY29" fmla="*/ 286379 h 782471"/>
                <a:gd name="connsiteX30" fmla="*/ 459474 w 2984311"/>
                <a:gd name="connsiteY30" fmla="*/ 254758 h 782471"/>
                <a:gd name="connsiteX31" fmla="*/ 432179 w 2984311"/>
                <a:gd name="connsiteY31" fmla="*/ 236561 h 782471"/>
                <a:gd name="connsiteX32" fmla="*/ 423080 w 2984311"/>
                <a:gd name="connsiteY32" fmla="*/ 222913 h 782471"/>
                <a:gd name="connsiteX33" fmla="*/ 404883 w 2984311"/>
                <a:gd name="connsiteY33" fmla="*/ 213815 h 782471"/>
                <a:gd name="connsiteX34" fmla="*/ 391236 w 2984311"/>
                <a:gd name="connsiteY34" fmla="*/ 204716 h 782471"/>
                <a:gd name="connsiteX35" fmla="*/ 373039 w 2984311"/>
                <a:gd name="connsiteY35" fmla="*/ 177421 h 782471"/>
                <a:gd name="connsiteX36" fmla="*/ 350292 w 2984311"/>
                <a:gd name="connsiteY36" fmla="*/ 150125 h 782471"/>
                <a:gd name="connsiteX37" fmla="*/ 322997 w 2984311"/>
                <a:gd name="connsiteY37" fmla="*/ 131928 h 782471"/>
                <a:gd name="connsiteX38" fmla="*/ 295701 w 2984311"/>
                <a:gd name="connsiteY38" fmla="*/ 113731 h 782471"/>
                <a:gd name="connsiteX39" fmla="*/ 286603 w 2984311"/>
                <a:gd name="connsiteY39" fmla="*/ 100084 h 782471"/>
                <a:gd name="connsiteX40" fmla="*/ 272955 w 2984311"/>
                <a:gd name="connsiteY40" fmla="*/ 95534 h 782471"/>
                <a:gd name="connsiteX41" fmla="*/ 259307 w 2984311"/>
                <a:gd name="connsiteY41" fmla="*/ 86436 h 782471"/>
                <a:gd name="connsiteX42" fmla="*/ 232012 w 2984311"/>
                <a:gd name="connsiteY42" fmla="*/ 77337 h 782471"/>
                <a:gd name="connsiteX43" fmla="*/ 218364 w 2984311"/>
                <a:gd name="connsiteY43" fmla="*/ 72788 h 782471"/>
                <a:gd name="connsiteX44" fmla="*/ 204716 w 2984311"/>
                <a:gd name="connsiteY44" fmla="*/ 68239 h 782471"/>
                <a:gd name="connsiteX45" fmla="*/ 191068 w 2984311"/>
                <a:gd name="connsiteY45" fmla="*/ 59140 h 782471"/>
                <a:gd name="connsiteX46" fmla="*/ 163773 w 2984311"/>
                <a:gd name="connsiteY46" fmla="*/ 50042 h 782471"/>
                <a:gd name="connsiteX47" fmla="*/ 136477 w 2984311"/>
                <a:gd name="connsiteY47" fmla="*/ 40943 h 782471"/>
                <a:gd name="connsiteX48" fmla="*/ 122830 w 2984311"/>
                <a:gd name="connsiteY48" fmla="*/ 36394 h 782471"/>
                <a:gd name="connsiteX49" fmla="*/ 0 w 2984311"/>
                <a:gd name="connsiteY49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20369 w 2984311"/>
                <a:gd name="connsiteY5" fmla="*/ 491319 h 782471"/>
                <a:gd name="connsiteX6" fmla="*/ 2370161 w 2984311"/>
                <a:gd name="connsiteY6" fmla="*/ 459475 h 782471"/>
                <a:gd name="connsiteX7" fmla="*/ 2247331 w 2984311"/>
                <a:gd name="connsiteY7" fmla="*/ 413982 h 782471"/>
                <a:gd name="connsiteX8" fmla="*/ 2233683 w 2984311"/>
                <a:gd name="connsiteY8" fmla="*/ 409433 h 782471"/>
                <a:gd name="connsiteX9" fmla="*/ 2197290 w 2984311"/>
                <a:gd name="connsiteY9" fmla="*/ 423081 h 782471"/>
                <a:gd name="connsiteX10" fmla="*/ 2056263 w 2984311"/>
                <a:gd name="connsiteY10" fmla="*/ 477672 h 782471"/>
                <a:gd name="connsiteX11" fmla="*/ 1969827 w 2984311"/>
                <a:gd name="connsiteY11" fmla="*/ 468573 h 782471"/>
                <a:gd name="connsiteX12" fmla="*/ 1883391 w 2984311"/>
                <a:gd name="connsiteY12" fmla="*/ 477672 h 782471"/>
                <a:gd name="connsiteX13" fmla="*/ 1796955 w 2984311"/>
                <a:gd name="connsiteY13" fmla="*/ 527713 h 782471"/>
                <a:gd name="connsiteX14" fmla="*/ 1733266 w 2984311"/>
                <a:gd name="connsiteY14" fmla="*/ 509516 h 782471"/>
                <a:gd name="connsiteX15" fmla="*/ 1728716 w 2984311"/>
                <a:gd name="connsiteY15" fmla="*/ 495869 h 782471"/>
                <a:gd name="connsiteX16" fmla="*/ 1724167 w 2984311"/>
                <a:gd name="connsiteY16" fmla="*/ 450376 h 782471"/>
                <a:gd name="connsiteX17" fmla="*/ 1699805 w 2984311"/>
                <a:gd name="connsiteY17" fmla="*/ 429247 h 782471"/>
                <a:gd name="connsiteX18" fmla="*/ 1665027 w 2984311"/>
                <a:gd name="connsiteY18" fmla="*/ 376271 h 782471"/>
                <a:gd name="connsiteX19" fmla="*/ 1610360 w 2984311"/>
                <a:gd name="connsiteY19" fmla="*/ 330703 h 782471"/>
                <a:gd name="connsiteX20" fmla="*/ 1534939 w 2984311"/>
                <a:gd name="connsiteY20" fmla="*/ 297317 h 782471"/>
                <a:gd name="connsiteX21" fmla="*/ 1418199 w 2984311"/>
                <a:gd name="connsiteY21" fmla="*/ 277355 h 782471"/>
                <a:gd name="connsiteX22" fmla="*/ 1260293 w 2984311"/>
                <a:gd name="connsiteY22" fmla="*/ 230471 h 782471"/>
                <a:gd name="connsiteX23" fmla="*/ 1219200 w 2984311"/>
                <a:gd name="connsiteY23" fmla="*/ 254758 h 782471"/>
                <a:gd name="connsiteX24" fmla="*/ 1073624 w 2984311"/>
                <a:gd name="connsiteY24" fmla="*/ 304800 h 782471"/>
                <a:gd name="connsiteX25" fmla="*/ 950345 w 2984311"/>
                <a:gd name="connsiteY25" fmla="*/ 306341 h 782471"/>
                <a:gd name="connsiteX26" fmla="*/ 868907 w 2984311"/>
                <a:gd name="connsiteY26" fmla="*/ 322997 h 782471"/>
                <a:gd name="connsiteX27" fmla="*/ 797511 w 2984311"/>
                <a:gd name="connsiteY27" fmla="*/ 319989 h 782471"/>
                <a:gd name="connsiteX28" fmla="*/ 641445 w 2984311"/>
                <a:gd name="connsiteY28" fmla="*/ 291152 h 782471"/>
                <a:gd name="connsiteX29" fmla="*/ 476280 w 2984311"/>
                <a:gd name="connsiteY29" fmla="*/ 286379 h 782471"/>
                <a:gd name="connsiteX30" fmla="*/ 459474 w 2984311"/>
                <a:gd name="connsiteY30" fmla="*/ 254758 h 782471"/>
                <a:gd name="connsiteX31" fmla="*/ 432179 w 2984311"/>
                <a:gd name="connsiteY31" fmla="*/ 236561 h 782471"/>
                <a:gd name="connsiteX32" fmla="*/ 423080 w 2984311"/>
                <a:gd name="connsiteY32" fmla="*/ 222913 h 782471"/>
                <a:gd name="connsiteX33" fmla="*/ 404883 w 2984311"/>
                <a:gd name="connsiteY33" fmla="*/ 213815 h 782471"/>
                <a:gd name="connsiteX34" fmla="*/ 391236 w 2984311"/>
                <a:gd name="connsiteY34" fmla="*/ 204716 h 782471"/>
                <a:gd name="connsiteX35" fmla="*/ 373039 w 2984311"/>
                <a:gd name="connsiteY35" fmla="*/ 177421 h 782471"/>
                <a:gd name="connsiteX36" fmla="*/ 350292 w 2984311"/>
                <a:gd name="connsiteY36" fmla="*/ 150125 h 782471"/>
                <a:gd name="connsiteX37" fmla="*/ 322997 w 2984311"/>
                <a:gd name="connsiteY37" fmla="*/ 131928 h 782471"/>
                <a:gd name="connsiteX38" fmla="*/ 295701 w 2984311"/>
                <a:gd name="connsiteY38" fmla="*/ 113731 h 782471"/>
                <a:gd name="connsiteX39" fmla="*/ 286603 w 2984311"/>
                <a:gd name="connsiteY39" fmla="*/ 100084 h 782471"/>
                <a:gd name="connsiteX40" fmla="*/ 272955 w 2984311"/>
                <a:gd name="connsiteY40" fmla="*/ 95534 h 782471"/>
                <a:gd name="connsiteX41" fmla="*/ 259307 w 2984311"/>
                <a:gd name="connsiteY41" fmla="*/ 86436 h 782471"/>
                <a:gd name="connsiteX42" fmla="*/ 232012 w 2984311"/>
                <a:gd name="connsiteY42" fmla="*/ 77337 h 782471"/>
                <a:gd name="connsiteX43" fmla="*/ 218364 w 2984311"/>
                <a:gd name="connsiteY43" fmla="*/ 72788 h 782471"/>
                <a:gd name="connsiteX44" fmla="*/ 204716 w 2984311"/>
                <a:gd name="connsiteY44" fmla="*/ 68239 h 782471"/>
                <a:gd name="connsiteX45" fmla="*/ 191068 w 2984311"/>
                <a:gd name="connsiteY45" fmla="*/ 59140 h 782471"/>
                <a:gd name="connsiteX46" fmla="*/ 163773 w 2984311"/>
                <a:gd name="connsiteY46" fmla="*/ 50042 h 782471"/>
                <a:gd name="connsiteX47" fmla="*/ 136477 w 2984311"/>
                <a:gd name="connsiteY47" fmla="*/ 40943 h 782471"/>
                <a:gd name="connsiteX48" fmla="*/ 122830 w 2984311"/>
                <a:gd name="connsiteY48" fmla="*/ 36394 h 782471"/>
                <a:gd name="connsiteX49" fmla="*/ 0 w 2984311"/>
                <a:gd name="connsiteY49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20369 w 2984311"/>
                <a:gd name="connsiteY5" fmla="*/ 491319 h 782471"/>
                <a:gd name="connsiteX6" fmla="*/ 2370161 w 2984311"/>
                <a:gd name="connsiteY6" fmla="*/ 459475 h 782471"/>
                <a:gd name="connsiteX7" fmla="*/ 2247331 w 2984311"/>
                <a:gd name="connsiteY7" fmla="*/ 413982 h 782471"/>
                <a:gd name="connsiteX8" fmla="*/ 2233683 w 2984311"/>
                <a:gd name="connsiteY8" fmla="*/ 409433 h 782471"/>
                <a:gd name="connsiteX9" fmla="*/ 2197290 w 2984311"/>
                <a:gd name="connsiteY9" fmla="*/ 423081 h 782471"/>
                <a:gd name="connsiteX10" fmla="*/ 2056263 w 2984311"/>
                <a:gd name="connsiteY10" fmla="*/ 477672 h 782471"/>
                <a:gd name="connsiteX11" fmla="*/ 1969827 w 2984311"/>
                <a:gd name="connsiteY11" fmla="*/ 468573 h 782471"/>
                <a:gd name="connsiteX12" fmla="*/ 1883391 w 2984311"/>
                <a:gd name="connsiteY12" fmla="*/ 477672 h 782471"/>
                <a:gd name="connsiteX13" fmla="*/ 1796955 w 2984311"/>
                <a:gd name="connsiteY13" fmla="*/ 527713 h 782471"/>
                <a:gd name="connsiteX14" fmla="*/ 1733266 w 2984311"/>
                <a:gd name="connsiteY14" fmla="*/ 509516 h 782471"/>
                <a:gd name="connsiteX15" fmla="*/ 1728716 w 2984311"/>
                <a:gd name="connsiteY15" fmla="*/ 495869 h 782471"/>
                <a:gd name="connsiteX16" fmla="*/ 1724167 w 2984311"/>
                <a:gd name="connsiteY16" fmla="*/ 450376 h 782471"/>
                <a:gd name="connsiteX17" fmla="*/ 1699805 w 2984311"/>
                <a:gd name="connsiteY17" fmla="*/ 429247 h 782471"/>
                <a:gd name="connsiteX18" fmla="*/ 1665027 w 2984311"/>
                <a:gd name="connsiteY18" fmla="*/ 376271 h 782471"/>
                <a:gd name="connsiteX19" fmla="*/ 1610360 w 2984311"/>
                <a:gd name="connsiteY19" fmla="*/ 330703 h 782471"/>
                <a:gd name="connsiteX20" fmla="*/ 1534939 w 2984311"/>
                <a:gd name="connsiteY20" fmla="*/ 297317 h 782471"/>
                <a:gd name="connsiteX21" fmla="*/ 1418199 w 2984311"/>
                <a:gd name="connsiteY21" fmla="*/ 277355 h 782471"/>
                <a:gd name="connsiteX22" fmla="*/ 1260293 w 2984311"/>
                <a:gd name="connsiteY22" fmla="*/ 230471 h 782471"/>
                <a:gd name="connsiteX23" fmla="*/ 1219200 w 2984311"/>
                <a:gd name="connsiteY23" fmla="*/ 254758 h 782471"/>
                <a:gd name="connsiteX24" fmla="*/ 1073624 w 2984311"/>
                <a:gd name="connsiteY24" fmla="*/ 304800 h 782471"/>
                <a:gd name="connsiteX25" fmla="*/ 950345 w 2984311"/>
                <a:gd name="connsiteY25" fmla="*/ 306341 h 782471"/>
                <a:gd name="connsiteX26" fmla="*/ 868907 w 2984311"/>
                <a:gd name="connsiteY26" fmla="*/ 322997 h 782471"/>
                <a:gd name="connsiteX27" fmla="*/ 641445 w 2984311"/>
                <a:gd name="connsiteY27" fmla="*/ 291152 h 782471"/>
                <a:gd name="connsiteX28" fmla="*/ 476280 w 2984311"/>
                <a:gd name="connsiteY28" fmla="*/ 286379 h 782471"/>
                <a:gd name="connsiteX29" fmla="*/ 459474 w 2984311"/>
                <a:gd name="connsiteY29" fmla="*/ 254758 h 782471"/>
                <a:gd name="connsiteX30" fmla="*/ 432179 w 2984311"/>
                <a:gd name="connsiteY30" fmla="*/ 236561 h 782471"/>
                <a:gd name="connsiteX31" fmla="*/ 423080 w 2984311"/>
                <a:gd name="connsiteY31" fmla="*/ 222913 h 782471"/>
                <a:gd name="connsiteX32" fmla="*/ 404883 w 2984311"/>
                <a:gd name="connsiteY32" fmla="*/ 213815 h 782471"/>
                <a:gd name="connsiteX33" fmla="*/ 391236 w 2984311"/>
                <a:gd name="connsiteY33" fmla="*/ 204716 h 782471"/>
                <a:gd name="connsiteX34" fmla="*/ 373039 w 2984311"/>
                <a:gd name="connsiteY34" fmla="*/ 177421 h 782471"/>
                <a:gd name="connsiteX35" fmla="*/ 350292 w 2984311"/>
                <a:gd name="connsiteY35" fmla="*/ 150125 h 782471"/>
                <a:gd name="connsiteX36" fmla="*/ 322997 w 2984311"/>
                <a:gd name="connsiteY36" fmla="*/ 131928 h 782471"/>
                <a:gd name="connsiteX37" fmla="*/ 295701 w 2984311"/>
                <a:gd name="connsiteY37" fmla="*/ 113731 h 782471"/>
                <a:gd name="connsiteX38" fmla="*/ 286603 w 2984311"/>
                <a:gd name="connsiteY38" fmla="*/ 100084 h 782471"/>
                <a:gd name="connsiteX39" fmla="*/ 272955 w 2984311"/>
                <a:gd name="connsiteY39" fmla="*/ 95534 h 782471"/>
                <a:gd name="connsiteX40" fmla="*/ 259307 w 2984311"/>
                <a:gd name="connsiteY40" fmla="*/ 86436 h 782471"/>
                <a:gd name="connsiteX41" fmla="*/ 232012 w 2984311"/>
                <a:gd name="connsiteY41" fmla="*/ 77337 h 782471"/>
                <a:gd name="connsiteX42" fmla="*/ 218364 w 2984311"/>
                <a:gd name="connsiteY42" fmla="*/ 72788 h 782471"/>
                <a:gd name="connsiteX43" fmla="*/ 204716 w 2984311"/>
                <a:gd name="connsiteY43" fmla="*/ 68239 h 782471"/>
                <a:gd name="connsiteX44" fmla="*/ 191068 w 2984311"/>
                <a:gd name="connsiteY44" fmla="*/ 59140 h 782471"/>
                <a:gd name="connsiteX45" fmla="*/ 163773 w 2984311"/>
                <a:gd name="connsiteY45" fmla="*/ 50042 h 782471"/>
                <a:gd name="connsiteX46" fmla="*/ 136477 w 2984311"/>
                <a:gd name="connsiteY46" fmla="*/ 40943 h 782471"/>
                <a:gd name="connsiteX47" fmla="*/ 122830 w 2984311"/>
                <a:gd name="connsiteY47" fmla="*/ 36394 h 782471"/>
                <a:gd name="connsiteX48" fmla="*/ 0 w 2984311"/>
                <a:gd name="connsiteY48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20369 w 2984311"/>
                <a:gd name="connsiteY5" fmla="*/ 491319 h 782471"/>
                <a:gd name="connsiteX6" fmla="*/ 2370161 w 2984311"/>
                <a:gd name="connsiteY6" fmla="*/ 459475 h 782471"/>
                <a:gd name="connsiteX7" fmla="*/ 2247331 w 2984311"/>
                <a:gd name="connsiteY7" fmla="*/ 413982 h 782471"/>
                <a:gd name="connsiteX8" fmla="*/ 2233683 w 2984311"/>
                <a:gd name="connsiteY8" fmla="*/ 409433 h 782471"/>
                <a:gd name="connsiteX9" fmla="*/ 2197290 w 2984311"/>
                <a:gd name="connsiteY9" fmla="*/ 423081 h 782471"/>
                <a:gd name="connsiteX10" fmla="*/ 2056263 w 2984311"/>
                <a:gd name="connsiteY10" fmla="*/ 477672 h 782471"/>
                <a:gd name="connsiteX11" fmla="*/ 1969827 w 2984311"/>
                <a:gd name="connsiteY11" fmla="*/ 468573 h 782471"/>
                <a:gd name="connsiteX12" fmla="*/ 1883391 w 2984311"/>
                <a:gd name="connsiteY12" fmla="*/ 477672 h 782471"/>
                <a:gd name="connsiteX13" fmla="*/ 1796955 w 2984311"/>
                <a:gd name="connsiteY13" fmla="*/ 527713 h 782471"/>
                <a:gd name="connsiteX14" fmla="*/ 1733266 w 2984311"/>
                <a:gd name="connsiteY14" fmla="*/ 509516 h 782471"/>
                <a:gd name="connsiteX15" fmla="*/ 1728716 w 2984311"/>
                <a:gd name="connsiteY15" fmla="*/ 495869 h 782471"/>
                <a:gd name="connsiteX16" fmla="*/ 1724167 w 2984311"/>
                <a:gd name="connsiteY16" fmla="*/ 450376 h 782471"/>
                <a:gd name="connsiteX17" fmla="*/ 1699805 w 2984311"/>
                <a:gd name="connsiteY17" fmla="*/ 429247 h 782471"/>
                <a:gd name="connsiteX18" fmla="*/ 1665027 w 2984311"/>
                <a:gd name="connsiteY18" fmla="*/ 376271 h 782471"/>
                <a:gd name="connsiteX19" fmla="*/ 1610360 w 2984311"/>
                <a:gd name="connsiteY19" fmla="*/ 330703 h 782471"/>
                <a:gd name="connsiteX20" fmla="*/ 1534939 w 2984311"/>
                <a:gd name="connsiteY20" fmla="*/ 297317 h 782471"/>
                <a:gd name="connsiteX21" fmla="*/ 1418199 w 2984311"/>
                <a:gd name="connsiteY21" fmla="*/ 277355 h 782471"/>
                <a:gd name="connsiteX22" fmla="*/ 1260293 w 2984311"/>
                <a:gd name="connsiteY22" fmla="*/ 230471 h 782471"/>
                <a:gd name="connsiteX23" fmla="*/ 1219200 w 2984311"/>
                <a:gd name="connsiteY23" fmla="*/ 254758 h 782471"/>
                <a:gd name="connsiteX24" fmla="*/ 1073624 w 2984311"/>
                <a:gd name="connsiteY24" fmla="*/ 304800 h 782471"/>
                <a:gd name="connsiteX25" fmla="*/ 950345 w 2984311"/>
                <a:gd name="connsiteY25" fmla="*/ 306341 h 782471"/>
                <a:gd name="connsiteX26" fmla="*/ 832813 w 2984311"/>
                <a:gd name="connsiteY26" fmla="*/ 316981 h 782471"/>
                <a:gd name="connsiteX27" fmla="*/ 641445 w 2984311"/>
                <a:gd name="connsiteY27" fmla="*/ 291152 h 782471"/>
                <a:gd name="connsiteX28" fmla="*/ 476280 w 2984311"/>
                <a:gd name="connsiteY28" fmla="*/ 286379 h 782471"/>
                <a:gd name="connsiteX29" fmla="*/ 459474 w 2984311"/>
                <a:gd name="connsiteY29" fmla="*/ 254758 h 782471"/>
                <a:gd name="connsiteX30" fmla="*/ 432179 w 2984311"/>
                <a:gd name="connsiteY30" fmla="*/ 236561 h 782471"/>
                <a:gd name="connsiteX31" fmla="*/ 423080 w 2984311"/>
                <a:gd name="connsiteY31" fmla="*/ 222913 h 782471"/>
                <a:gd name="connsiteX32" fmla="*/ 404883 w 2984311"/>
                <a:gd name="connsiteY32" fmla="*/ 213815 h 782471"/>
                <a:gd name="connsiteX33" fmla="*/ 391236 w 2984311"/>
                <a:gd name="connsiteY33" fmla="*/ 204716 h 782471"/>
                <a:gd name="connsiteX34" fmla="*/ 373039 w 2984311"/>
                <a:gd name="connsiteY34" fmla="*/ 177421 h 782471"/>
                <a:gd name="connsiteX35" fmla="*/ 350292 w 2984311"/>
                <a:gd name="connsiteY35" fmla="*/ 150125 h 782471"/>
                <a:gd name="connsiteX36" fmla="*/ 322997 w 2984311"/>
                <a:gd name="connsiteY36" fmla="*/ 131928 h 782471"/>
                <a:gd name="connsiteX37" fmla="*/ 295701 w 2984311"/>
                <a:gd name="connsiteY37" fmla="*/ 113731 h 782471"/>
                <a:gd name="connsiteX38" fmla="*/ 286603 w 2984311"/>
                <a:gd name="connsiteY38" fmla="*/ 100084 h 782471"/>
                <a:gd name="connsiteX39" fmla="*/ 272955 w 2984311"/>
                <a:gd name="connsiteY39" fmla="*/ 95534 h 782471"/>
                <a:gd name="connsiteX40" fmla="*/ 259307 w 2984311"/>
                <a:gd name="connsiteY40" fmla="*/ 86436 h 782471"/>
                <a:gd name="connsiteX41" fmla="*/ 232012 w 2984311"/>
                <a:gd name="connsiteY41" fmla="*/ 77337 h 782471"/>
                <a:gd name="connsiteX42" fmla="*/ 218364 w 2984311"/>
                <a:gd name="connsiteY42" fmla="*/ 72788 h 782471"/>
                <a:gd name="connsiteX43" fmla="*/ 204716 w 2984311"/>
                <a:gd name="connsiteY43" fmla="*/ 68239 h 782471"/>
                <a:gd name="connsiteX44" fmla="*/ 191068 w 2984311"/>
                <a:gd name="connsiteY44" fmla="*/ 59140 h 782471"/>
                <a:gd name="connsiteX45" fmla="*/ 163773 w 2984311"/>
                <a:gd name="connsiteY45" fmla="*/ 50042 h 782471"/>
                <a:gd name="connsiteX46" fmla="*/ 136477 w 2984311"/>
                <a:gd name="connsiteY46" fmla="*/ 40943 h 782471"/>
                <a:gd name="connsiteX47" fmla="*/ 122830 w 2984311"/>
                <a:gd name="connsiteY47" fmla="*/ 36394 h 782471"/>
                <a:gd name="connsiteX48" fmla="*/ 0 w 2984311"/>
                <a:gd name="connsiteY48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20369 w 2984311"/>
                <a:gd name="connsiteY5" fmla="*/ 491319 h 782471"/>
                <a:gd name="connsiteX6" fmla="*/ 2370161 w 2984311"/>
                <a:gd name="connsiteY6" fmla="*/ 459475 h 782471"/>
                <a:gd name="connsiteX7" fmla="*/ 2247331 w 2984311"/>
                <a:gd name="connsiteY7" fmla="*/ 413982 h 782471"/>
                <a:gd name="connsiteX8" fmla="*/ 2233683 w 2984311"/>
                <a:gd name="connsiteY8" fmla="*/ 409433 h 782471"/>
                <a:gd name="connsiteX9" fmla="*/ 2197290 w 2984311"/>
                <a:gd name="connsiteY9" fmla="*/ 423081 h 782471"/>
                <a:gd name="connsiteX10" fmla="*/ 2056263 w 2984311"/>
                <a:gd name="connsiteY10" fmla="*/ 477672 h 782471"/>
                <a:gd name="connsiteX11" fmla="*/ 1969827 w 2984311"/>
                <a:gd name="connsiteY11" fmla="*/ 468573 h 782471"/>
                <a:gd name="connsiteX12" fmla="*/ 1883391 w 2984311"/>
                <a:gd name="connsiteY12" fmla="*/ 477672 h 782471"/>
                <a:gd name="connsiteX13" fmla="*/ 1796955 w 2984311"/>
                <a:gd name="connsiteY13" fmla="*/ 527713 h 782471"/>
                <a:gd name="connsiteX14" fmla="*/ 1733266 w 2984311"/>
                <a:gd name="connsiteY14" fmla="*/ 509516 h 782471"/>
                <a:gd name="connsiteX15" fmla="*/ 1728716 w 2984311"/>
                <a:gd name="connsiteY15" fmla="*/ 495869 h 782471"/>
                <a:gd name="connsiteX16" fmla="*/ 1724167 w 2984311"/>
                <a:gd name="connsiteY16" fmla="*/ 450376 h 782471"/>
                <a:gd name="connsiteX17" fmla="*/ 1699805 w 2984311"/>
                <a:gd name="connsiteY17" fmla="*/ 429247 h 782471"/>
                <a:gd name="connsiteX18" fmla="*/ 1665027 w 2984311"/>
                <a:gd name="connsiteY18" fmla="*/ 376271 h 782471"/>
                <a:gd name="connsiteX19" fmla="*/ 1610360 w 2984311"/>
                <a:gd name="connsiteY19" fmla="*/ 330703 h 782471"/>
                <a:gd name="connsiteX20" fmla="*/ 1534939 w 2984311"/>
                <a:gd name="connsiteY20" fmla="*/ 297317 h 782471"/>
                <a:gd name="connsiteX21" fmla="*/ 1418199 w 2984311"/>
                <a:gd name="connsiteY21" fmla="*/ 277355 h 782471"/>
                <a:gd name="connsiteX22" fmla="*/ 1260293 w 2984311"/>
                <a:gd name="connsiteY22" fmla="*/ 230471 h 782471"/>
                <a:gd name="connsiteX23" fmla="*/ 1219200 w 2984311"/>
                <a:gd name="connsiteY23" fmla="*/ 254758 h 782471"/>
                <a:gd name="connsiteX24" fmla="*/ 1073624 w 2984311"/>
                <a:gd name="connsiteY24" fmla="*/ 304800 h 782471"/>
                <a:gd name="connsiteX25" fmla="*/ 950345 w 2984311"/>
                <a:gd name="connsiteY25" fmla="*/ 306341 h 782471"/>
                <a:gd name="connsiteX26" fmla="*/ 832813 w 2984311"/>
                <a:gd name="connsiteY26" fmla="*/ 316981 h 782471"/>
                <a:gd name="connsiteX27" fmla="*/ 641445 w 2984311"/>
                <a:gd name="connsiteY27" fmla="*/ 291152 h 782471"/>
                <a:gd name="connsiteX28" fmla="*/ 476280 w 2984311"/>
                <a:gd name="connsiteY28" fmla="*/ 286379 h 782471"/>
                <a:gd name="connsiteX29" fmla="*/ 459474 w 2984311"/>
                <a:gd name="connsiteY29" fmla="*/ 254758 h 782471"/>
                <a:gd name="connsiteX30" fmla="*/ 432179 w 2984311"/>
                <a:gd name="connsiteY30" fmla="*/ 236561 h 782471"/>
                <a:gd name="connsiteX31" fmla="*/ 423080 w 2984311"/>
                <a:gd name="connsiteY31" fmla="*/ 222913 h 782471"/>
                <a:gd name="connsiteX32" fmla="*/ 404883 w 2984311"/>
                <a:gd name="connsiteY32" fmla="*/ 213815 h 782471"/>
                <a:gd name="connsiteX33" fmla="*/ 391236 w 2984311"/>
                <a:gd name="connsiteY33" fmla="*/ 204716 h 782471"/>
                <a:gd name="connsiteX34" fmla="*/ 373039 w 2984311"/>
                <a:gd name="connsiteY34" fmla="*/ 177421 h 782471"/>
                <a:gd name="connsiteX35" fmla="*/ 350292 w 2984311"/>
                <a:gd name="connsiteY35" fmla="*/ 150125 h 782471"/>
                <a:gd name="connsiteX36" fmla="*/ 322997 w 2984311"/>
                <a:gd name="connsiteY36" fmla="*/ 131928 h 782471"/>
                <a:gd name="connsiteX37" fmla="*/ 295701 w 2984311"/>
                <a:gd name="connsiteY37" fmla="*/ 113731 h 782471"/>
                <a:gd name="connsiteX38" fmla="*/ 286603 w 2984311"/>
                <a:gd name="connsiteY38" fmla="*/ 100084 h 782471"/>
                <a:gd name="connsiteX39" fmla="*/ 272955 w 2984311"/>
                <a:gd name="connsiteY39" fmla="*/ 95534 h 782471"/>
                <a:gd name="connsiteX40" fmla="*/ 259307 w 2984311"/>
                <a:gd name="connsiteY40" fmla="*/ 86436 h 782471"/>
                <a:gd name="connsiteX41" fmla="*/ 232012 w 2984311"/>
                <a:gd name="connsiteY41" fmla="*/ 77337 h 782471"/>
                <a:gd name="connsiteX42" fmla="*/ 218364 w 2984311"/>
                <a:gd name="connsiteY42" fmla="*/ 72788 h 782471"/>
                <a:gd name="connsiteX43" fmla="*/ 204716 w 2984311"/>
                <a:gd name="connsiteY43" fmla="*/ 68239 h 782471"/>
                <a:gd name="connsiteX44" fmla="*/ 191068 w 2984311"/>
                <a:gd name="connsiteY44" fmla="*/ 59140 h 782471"/>
                <a:gd name="connsiteX45" fmla="*/ 163773 w 2984311"/>
                <a:gd name="connsiteY45" fmla="*/ 50042 h 782471"/>
                <a:gd name="connsiteX46" fmla="*/ 122830 w 2984311"/>
                <a:gd name="connsiteY46" fmla="*/ 36394 h 782471"/>
                <a:gd name="connsiteX47" fmla="*/ 0 w 2984311"/>
                <a:gd name="connsiteY47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20369 w 2984311"/>
                <a:gd name="connsiteY5" fmla="*/ 491319 h 782471"/>
                <a:gd name="connsiteX6" fmla="*/ 2370161 w 2984311"/>
                <a:gd name="connsiteY6" fmla="*/ 459475 h 782471"/>
                <a:gd name="connsiteX7" fmla="*/ 2247331 w 2984311"/>
                <a:gd name="connsiteY7" fmla="*/ 413982 h 782471"/>
                <a:gd name="connsiteX8" fmla="*/ 2233683 w 2984311"/>
                <a:gd name="connsiteY8" fmla="*/ 409433 h 782471"/>
                <a:gd name="connsiteX9" fmla="*/ 2197290 w 2984311"/>
                <a:gd name="connsiteY9" fmla="*/ 423081 h 782471"/>
                <a:gd name="connsiteX10" fmla="*/ 2056263 w 2984311"/>
                <a:gd name="connsiteY10" fmla="*/ 477672 h 782471"/>
                <a:gd name="connsiteX11" fmla="*/ 1969827 w 2984311"/>
                <a:gd name="connsiteY11" fmla="*/ 468573 h 782471"/>
                <a:gd name="connsiteX12" fmla="*/ 1883391 w 2984311"/>
                <a:gd name="connsiteY12" fmla="*/ 477672 h 782471"/>
                <a:gd name="connsiteX13" fmla="*/ 1796955 w 2984311"/>
                <a:gd name="connsiteY13" fmla="*/ 527713 h 782471"/>
                <a:gd name="connsiteX14" fmla="*/ 1733266 w 2984311"/>
                <a:gd name="connsiteY14" fmla="*/ 509516 h 782471"/>
                <a:gd name="connsiteX15" fmla="*/ 1728716 w 2984311"/>
                <a:gd name="connsiteY15" fmla="*/ 495869 h 782471"/>
                <a:gd name="connsiteX16" fmla="*/ 1724167 w 2984311"/>
                <a:gd name="connsiteY16" fmla="*/ 450376 h 782471"/>
                <a:gd name="connsiteX17" fmla="*/ 1699805 w 2984311"/>
                <a:gd name="connsiteY17" fmla="*/ 429247 h 782471"/>
                <a:gd name="connsiteX18" fmla="*/ 1665027 w 2984311"/>
                <a:gd name="connsiteY18" fmla="*/ 376271 h 782471"/>
                <a:gd name="connsiteX19" fmla="*/ 1610360 w 2984311"/>
                <a:gd name="connsiteY19" fmla="*/ 330703 h 782471"/>
                <a:gd name="connsiteX20" fmla="*/ 1534939 w 2984311"/>
                <a:gd name="connsiteY20" fmla="*/ 297317 h 782471"/>
                <a:gd name="connsiteX21" fmla="*/ 1418199 w 2984311"/>
                <a:gd name="connsiteY21" fmla="*/ 277355 h 782471"/>
                <a:gd name="connsiteX22" fmla="*/ 1260293 w 2984311"/>
                <a:gd name="connsiteY22" fmla="*/ 230471 h 782471"/>
                <a:gd name="connsiteX23" fmla="*/ 1219200 w 2984311"/>
                <a:gd name="connsiteY23" fmla="*/ 254758 h 782471"/>
                <a:gd name="connsiteX24" fmla="*/ 1073624 w 2984311"/>
                <a:gd name="connsiteY24" fmla="*/ 304800 h 782471"/>
                <a:gd name="connsiteX25" fmla="*/ 950345 w 2984311"/>
                <a:gd name="connsiteY25" fmla="*/ 306341 h 782471"/>
                <a:gd name="connsiteX26" fmla="*/ 832813 w 2984311"/>
                <a:gd name="connsiteY26" fmla="*/ 316981 h 782471"/>
                <a:gd name="connsiteX27" fmla="*/ 641445 w 2984311"/>
                <a:gd name="connsiteY27" fmla="*/ 291152 h 782471"/>
                <a:gd name="connsiteX28" fmla="*/ 476280 w 2984311"/>
                <a:gd name="connsiteY28" fmla="*/ 286379 h 782471"/>
                <a:gd name="connsiteX29" fmla="*/ 459474 w 2984311"/>
                <a:gd name="connsiteY29" fmla="*/ 254758 h 782471"/>
                <a:gd name="connsiteX30" fmla="*/ 432179 w 2984311"/>
                <a:gd name="connsiteY30" fmla="*/ 236561 h 782471"/>
                <a:gd name="connsiteX31" fmla="*/ 423080 w 2984311"/>
                <a:gd name="connsiteY31" fmla="*/ 222913 h 782471"/>
                <a:gd name="connsiteX32" fmla="*/ 404883 w 2984311"/>
                <a:gd name="connsiteY32" fmla="*/ 213815 h 782471"/>
                <a:gd name="connsiteX33" fmla="*/ 391236 w 2984311"/>
                <a:gd name="connsiteY33" fmla="*/ 204716 h 782471"/>
                <a:gd name="connsiteX34" fmla="*/ 373039 w 2984311"/>
                <a:gd name="connsiteY34" fmla="*/ 177421 h 782471"/>
                <a:gd name="connsiteX35" fmla="*/ 350292 w 2984311"/>
                <a:gd name="connsiteY35" fmla="*/ 150125 h 782471"/>
                <a:gd name="connsiteX36" fmla="*/ 322997 w 2984311"/>
                <a:gd name="connsiteY36" fmla="*/ 131928 h 782471"/>
                <a:gd name="connsiteX37" fmla="*/ 295701 w 2984311"/>
                <a:gd name="connsiteY37" fmla="*/ 113731 h 782471"/>
                <a:gd name="connsiteX38" fmla="*/ 286603 w 2984311"/>
                <a:gd name="connsiteY38" fmla="*/ 100084 h 782471"/>
                <a:gd name="connsiteX39" fmla="*/ 272955 w 2984311"/>
                <a:gd name="connsiteY39" fmla="*/ 95534 h 782471"/>
                <a:gd name="connsiteX40" fmla="*/ 259307 w 2984311"/>
                <a:gd name="connsiteY40" fmla="*/ 86436 h 782471"/>
                <a:gd name="connsiteX41" fmla="*/ 232012 w 2984311"/>
                <a:gd name="connsiteY41" fmla="*/ 77337 h 782471"/>
                <a:gd name="connsiteX42" fmla="*/ 218364 w 2984311"/>
                <a:gd name="connsiteY42" fmla="*/ 72788 h 782471"/>
                <a:gd name="connsiteX43" fmla="*/ 204716 w 2984311"/>
                <a:gd name="connsiteY43" fmla="*/ 68239 h 782471"/>
                <a:gd name="connsiteX44" fmla="*/ 191068 w 2984311"/>
                <a:gd name="connsiteY44" fmla="*/ 59140 h 782471"/>
                <a:gd name="connsiteX45" fmla="*/ 163773 w 2984311"/>
                <a:gd name="connsiteY45" fmla="*/ 50042 h 782471"/>
                <a:gd name="connsiteX46" fmla="*/ 0 w 2984311"/>
                <a:gd name="connsiteY46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20369 w 2984311"/>
                <a:gd name="connsiteY5" fmla="*/ 491319 h 782471"/>
                <a:gd name="connsiteX6" fmla="*/ 2370161 w 2984311"/>
                <a:gd name="connsiteY6" fmla="*/ 459475 h 782471"/>
                <a:gd name="connsiteX7" fmla="*/ 2247331 w 2984311"/>
                <a:gd name="connsiteY7" fmla="*/ 413982 h 782471"/>
                <a:gd name="connsiteX8" fmla="*/ 2233683 w 2984311"/>
                <a:gd name="connsiteY8" fmla="*/ 409433 h 782471"/>
                <a:gd name="connsiteX9" fmla="*/ 2197290 w 2984311"/>
                <a:gd name="connsiteY9" fmla="*/ 423081 h 782471"/>
                <a:gd name="connsiteX10" fmla="*/ 2056263 w 2984311"/>
                <a:gd name="connsiteY10" fmla="*/ 477672 h 782471"/>
                <a:gd name="connsiteX11" fmla="*/ 1969827 w 2984311"/>
                <a:gd name="connsiteY11" fmla="*/ 468573 h 782471"/>
                <a:gd name="connsiteX12" fmla="*/ 1883391 w 2984311"/>
                <a:gd name="connsiteY12" fmla="*/ 477672 h 782471"/>
                <a:gd name="connsiteX13" fmla="*/ 1796955 w 2984311"/>
                <a:gd name="connsiteY13" fmla="*/ 527713 h 782471"/>
                <a:gd name="connsiteX14" fmla="*/ 1733266 w 2984311"/>
                <a:gd name="connsiteY14" fmla="*/ 509516 h 782471"/>
                <a:gd name="connsiteX15" fmla="*/ 1728716 w 2984311"/>
                <a:gd name="connsiteY15" fmla="*/ 495869 h 782471"/>
                <a:gd name="connsiteX16" fmla="*/ 1724167 w 2984311"/>
                <a:gd name="connsiteY16" fmla="*/ 450376 h 782471"/>
                <a:gd name="connsiteX17" fmla="*/ 1699805 w 2984311"/>
                <a:gd name="connsiteY17" fmla="*/ 429247 h 782471"/>
                <a:gd name="connsiteX18" fmla="*/ 1665027 w 2984311"/>
                <a:gd name="connsiteY18" fmla="*/ 376271 h 782471"/>
                <a:gd name="connsiteX19" fmla="*/ 1610360 w 2984311"/>
                <a:gd name="connsiteY19" fmla="*/ 330703 h 782471"/>
                <a:gd name="connsiteX20" fmla="*/ 1534939 w 2984311"/>
                <a:gd name="connsiteY20" fmla="*/ 297317 h 782471"/>
                <a:gd name="connsiteX21" fmla="*/ 1418199 w 2984311"/>
                <a:gd name="connsiteY21" fmla="*/ 277355 h 782471"/>
                <a:gd name="connsiteX22" fmla="*/ 1260293 w 2984311"/>
                <a:gd name="connsiteY22" fmla="*/ 230471 h 782471"/>
                <a:gd name="connsiteX23" fmla="*/ 1219200 w 2984311"/>
                <a:gd name="connsiteY23" fmla="*/ 254758 h 782471"/>
                <a:gd name="connsiteX24" fmla="*/ 1073624 w 2984311"/>
                <a:gd name="connsiteY24" fmla="*/ 304800 h 782471"/>
                <a:gd name="connsiteX25" fmla="*/ 950345 w 2984311"/>
                <a:gd name="connsiteY25" fmla="*/ 306341 h 782471"/>
                <a:gd name="connsiteX26" fmla="*/ 832813 w 2984311"/>
                <a:gd name="connsiteY26" fmla="*/ 316981 h 782471"/>
                <a:gd name="connsiteX27" fmla="*/ 641445 w 2984311"/>
                <a:gd name="connsiteY27" fmla="*/ 291152 h 782471"/>
                <a:gd name="connsiteX28" fmla="*/ 476280 w 2984311"/>
                <a:gd name="connsiteY28" fmla="*/ 286379 h 782471"/>
                <a:gd name="connsiteX29" fmla="*/ 459474 w 2984311"/>
                <a:gd name="connsiteY29" fmla="*/ 254758 h 782471"/>
                <a:gd name="connsiteX30" fmla="*/ 432179 w 2984311"/>
                <a:gd name="connsiteY30" fmla="*/ 236561 h 782471"/>
                <a:gd name="connsiteX31" fmla="*/ 423080 w 2984311"/>
                <a:gd name="connsiteY31" fmla="*/ 222913 h 782471"/>
                <a:gd name="connsiteX32" fmla="*/ 404883 w 2984311"/>
                <a:gd name="connsiteY32" fmla="*/ 213815 h 782471"/>
                <a:gd name="connsiteX33" fmla="*/ 391236 w 2984311"/>
                <a:gd name="connsiteY33" fmla="*/ 204716 h 782471"/>
                <a:gd name="connsiteX34" fmla="*/ 373039 w 2984311"/>
                <a:gd name="connsiteY34" fmla="*/ 177421 h 782471"/>
                <a:gd name="connsiteX35" fmla="*/ 350292 w 2984311"/>
                <a:gd name="connsiteY35" fmla="*/ 150125 h 782471"/>
                <a:gd name="connsiteX36" fmla="*/ 322997 w 2984311"/>
                <a:gd name="connsiteY36" fmla="*/ 131928 h 782471"/>
                <a:gd name="connsiteX37" fmla="*/ 295701 w 2984311"/>
                <a:gd name="connsiteY37" fmla="*/ 113731 h 782471"/>
                <a:gd name="connsiteX38" fmla="*/ 286603 w 2984311"/>
                <a:gd name="connsiteY38" fmla="*/ 100084 h 782471"/>
                <a:gd name="connsiteX39" fmla="*/ 272955 w 2984311"/>
                <a:gd name="connsiteY39" fmla="*/ 95534 h 782471"/>
                <a:gd name="connsiteX40" fmla="*/ 259307 w 2984311"/>
                <a:gd name="connsiteY40" fmla="*/ 86436 h 782471"/>
                <a:gd name="connsiteX41" fmla="*/ 232012 w 2984311"/>
                <a:gd name="connsiteY41" fmla="*/ 77337 h 782471"/>
                <a:gd name="connsiteX42" fmla="*/ 218364 w 2984311"/>
                <a:gd name="connsiteY42" fmla="*/ 72788 h 782471"/>
                <a:gd name="connsiteX43" fmla="*/ 204716 w 2984311"/>
                <a:gd name="connsiteY43" fmla="*/ 68239 h 782471"/>
                <a:gd name="connsiteX44" fmla="*/ 191068 w 2984311"/>
                <a:gd name="connsiteY44" fmla="*/ 59140 h 782471"/>
                <a:gd name="connsiteX45" fmla="*/ 142718 w 2984311"/>
                <a:gd name="connsiteY45" fmla="*/ 25979 h 782471"/>
                <a:gd name="connsiteX46" fmla="*/ 0 w 2984311"/>
                <a:gd name="connsiteY46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20369 w 2984311"/>
                <a:gd name="connsiteY5" fmla="*/ 491319 h 782471"/>
                <a:gd name="connsiteX6" fmla="*/ 2370161 w 2984311"/>
                <a:gd name="connsiteY6" fmla="*/ 459475 h 782471"/>
                <a:gd name="connsiteX7" fmla="*/ 2247331 w 2984311"/>
                <a:gd name="connsiteY7" fmla="*/ 413982 h 782471"/>
                <a:gd name="connsiteX8" fmla="*/ 2233683 w 2984311"/>
                <a:gd name="connsiteY8" fmla="*/ 409433 h 782471"/>
                <a:gd name="connsiteX9" fmla="*/ 2197290 w 2984311"/>
                <a:gd name="connsiteY9" fmla="*/ 423081 h 782471"/>
                <a:gd name="connsiteX10" fmla="*/ 2056263 w 2984311"/>
                <a:gd name="connsiteY10" fmla="*/ 477672 h 782471"/>
                <a:gd name="connsiteX11" fmla="*/ 1969827 w 2984311"/>
                <a:gd name="connsiteY11" fmla="*/ 468573 h 782471"/>
                <a:gd name="connsiteX12" fmla="*/ 1883391 w 2984311"/>
                <a:gd name="connsiteY12" fmla="*/ 477672 h 782471"/>
                <a:gd name="connsiteX13" fmla="*/ 1796955 w 2984311"/>
                <a:gd name="connsiteY13" fmla="*/ 527713 h 782471"/>
                <a:gd name="connsiteX14" fmla="*/ 1733266 w 2984311"/>
                <a:gd name="connsiteY14" fmla="*/ 509516 h 782471"/>
                <a:gd name="connsiteX15" fmla="*/ 1728716 w 2984311"/>
                <a:gd name="connsiteY15" fmla="*/ 495869 h 782471"/>
                <a:gd name="connsiteX16" fmla="*/ 1724167 w 2984311"/>
                <a:gd name="connsiteY16" fmla="*/ 450376 h 782471"/>
                <a:gd name="connsiteX17" fmla="*/ 1699805 w 2984311"/>
                <a:gd name="connsiteY17" fmla="*/ 429247 h 782471"/>
                <a:gd name="connsiteX18" fmla="*/ 1665027 w 2984311"/>
                <a:gd name="connsiteY18" fmla="*/ 376271 h 782471"/>
                <a:gd name="connsiteX19" fmla="*/ 1610360 w 2984311"/>
                <a:gd name="connsiteY19" fmla="*/ 330703 h 782471"/>
                <a:gd name="connsiteX20" fmla="*/ 1534939 w 2984311"/>
                <a:gd name="connsiteY20" fmla="*/ 297317 h 782471"/>
                <a:gd name="connsiteX21" fmla="*/ 1418199 w 2984311"/>
                <a:gd name="connsiteY21" fmla="*/ 277355 h 782471"/>
                <a:gd name="connsiteX22" fmla="*/ 1260293 w 2984311"/>
                <a:gd name="connsiteY22" fmla="*/ 230471 h 782471"/>
                <a:gd name="connsiteX23" fmla="*/ 1219200 w 2984311"/>
                <a:gd name="connsiteY23" fmla="*/ 254758 h 782471"/>
                <a:gd name="connsiteX24" fmla="*/ 1073624 w 2984311"/>
                <a:gd name="connsiteY24" fmla="*/ 304800 h 782471"/>
                <a:gd name="connsiteX25" fmla="*/ 950345 w 2984311"/>
                <a:gd name="connsiteY25" fmla="*/ 306341 h 782471"/>
                <a:gd name="connsiteX26" fmla="*/ 832813 w 2984311"/>
                <a:gd name="connsiteY26" fmla="*/ 316981 h 782471"/>
                <a:gd name="connsiteX27" fmla="*/ 641445 w 2984311"/>
                <a:gd name="connsiteY27" fmla="*/ 291152 h 782471"/>
                <a:gd name="connsiteX28" fmla="*/ 476280 w 2984311"/>
                <a:gd name="connsiteY28" fmla="*/ 286379 h 782471"/>
                <a:gd name="connsiteX29" fmla="*/ 459474 w 2984311"/>
                <a:gd name="connsiteY29" fmla="*/ 254758 h 782471"/>
                <a:gd name="connsiteX30" fmla="*/ 432179 w 2984311"/>
                <a:gd name="connsiteY30" fmla="*/ 236561 h 782471"/>
                <a:gd name="connsiteX31" fmla="*/ 423080 w 2984311"/>
                <a:gd name="connsiteY31" fmla="*/ 222913 h 782471"/>
                <a:gd name="connsiteX32" fmla="*/ 404883 w 2984311"/>
                <a:gd name="connsiteY32" fmla="*/ 213815 h 782471"/>
                <a:gd name="connsiteX33" fmla="*/ 391236 w 2984311"/>
                <a:gd name="connsiteY33" fmla="*/ 204716 h 782471"/>
                <a:gd name="connsiteX34" fmla="*/ 373039 w 2984311"/>
                <a:gd name="connsiteY34" fmla="*/ 177421 h 782471"/>
                <a:gd name="connsiteX35" fmla="*/ 350292 w 2984311"/>
                <a:gd name="connsiteY35" fmla="*/ 150125 h 782471"/>
                <a:gd name="connsiteX36" fmla="*/ 322997 w 2984311"/>
                <a:gd name="connsiteY36" fmla="*/ 131928 h 782471"/>
                <a:gd name="connsiteX37" fmla="*/ 295701 w 2984311"/>
                <a:gd name="connsiteY37" fmla="*/ 113731 h 782471"/>
                <a:gd name="connsiteX38" fmla="*/ 286603 w 2984311"/>
                <a:gd name="connsiteY38" fmla="*/ 100084 h 782471"/>
                <a:gd name="connsiteX39" fmla="*/ 272955 w 2984311"/>
                <a:gd name="connsiteY39" fmla="*/ 95534 h 782471"/>
                <a:gd name="connsiteX40" fmla="*/ 259307 w 2984311"/>
                <a:gd name="connsiteY40" fmla="*/ 86436 h 782471"/>
                <a:gd name="connsiteX41" fmla="*/ 232012 w 2984311"/>
                <a:gd name="connsiteY41" fmla="*/ 77337 h 782471"/>
                <a:gd name="connsiteX42" fmla="*/ 218364 w 2984311"/>
                <a:gd name="connsiteY42" fmla="*/ 72788 h 782471"/>
                <a:gd name="connsiteX43" fmla="*/ 204716 w 2984311"/>
                <a:gd name="connsiteY43" fmla="*/ 68239 h 782471"/>
                <a:gd name="connsiteX44" fmla="*/ 142718 w 2984311"/>
                <a:gd name="connsiteY44" fmla="*/ 25979 h 782471"/>
                <a:gd name="connsiteX45" fmla="*/ 0 w 2984311"/>
                <a:gd name="connsiteY45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20369 w 2984311"/>
                <a:gd name="connsiteY5" fmla="*/ 491319 h 782471"/>
                <a:gd name="connsiteX6" fmla="*/ 2370161 w 2984311"/>
                <a:gd name="connsiteY6" fmla="*/ 459475 h 782471"/>
                <a:gd name="connsiteX7" fmla="*/ 2247331 w 2984311"/>
                <a:gd name="connsiteY7" fmla="*/ 413982 h 782471"/>
                <a:gd name="connsiteX8" fmla="*/ 2233683 w 2984311"/>
                <a:gd name="connsiteY8" fmla="*/ 409433 h 782471"/>
                <a:gd name="connsiteX9" fmla="*/ 2197290 w 2984311"/>
                <a:gd name="connsiteY9" fmla="*/ 423081 h 782471"/>
                <a:gd name="connsiteX10" fmla="*/ 2056263 w 2984311"/>
                <a:gd name="connsiteY10" fmla="*/ 477672 h 782471"/>
                <a:gd name="connsiteX11" fmla="*/ 1969827 w 2984311"/>
                <a:gd name="connsiteY11" fmla="*/ 468573 h 782471"/>
                <a:gd name="connsiteX12" fmla="*/ 1883391 w 2984311"/>
                <a:gd name="connsiteY12" fmla="*/ 477672 h 782471"/>
                <a:gd name="connsiteX13" fmla="*/ 1796955 w 2984311"/>
                <a:gd name="connsiteY13" fmla="*/ 527713 h 782471"/>
                <a:gd name="connsiteX14" fmla="*/ 1733266 w 2984311"/>
                <a:gd name="connsiteY14" fmla="*/ 509516 h 782471"/>
                <a:gd name="connsiteX15" fmla="*/ 1728716 w 2984311"/>
                <a:gd name="connsiteY15" fmla="*/ 495869 h 782471"/>
                <a:gd name="connsiteX16" fmla="*/ 1724167 w 2984311"/>
                <a:gd name="connsiteY16" fmla="*/ 450376 h 782471"/>
                <a:gd name="connsiteX17" fmla="*/ 1699805 w 2984311"/>
                <a:gd name="connsiteY17" fmla="*/ 429247 h 782471"/>
                <a:gd name="connsiteX18" fmla="*/ 1665027 w 2984311"/>
                <a:gd name="connsiteY18" fmla="*/ 376271 h 782471"/>
                <a:gd name="connsiteX19" fmla="*/ 1610360 w 2984311"/>
                <a:gd name="connsiteY19" fmla="*/ 330703 h 782471"/>
                <a:gd name="connsiteX20" fmla="*/ 1534939 w 2984311"/>
                <a:gd name="connsiteY20" fmla="*/ 297317 h 782471"/>
                <a:gd name="connsiteX21" fmla="*/ 1418199 w 2984311"/>
                <a:gd name="connsiteY21" fmla="*/ 277355 h 782471"/>
                <a:gd name="connsiteX22" fmla="*/ 1260293 w 2984311"/>
                <a:gd name="connsiteY22" fmla="*/ 230471 h 782471"/>
                <a:gd name="connsiteX23" fmla="*/ 1219200 w 2984311"/>
                <a:gd name="connsiteY23" fmla="*/ 254758 h 782471"/>
                <a:gd name="connsiteX24" fmla="*/ 1073624 w 2984311"/>
                <a:gd name="connsiteY24" fmla="*/ 304800 h 782471"/>
                <a:gd name="connsiteX25" fmla="*/ 950345 w 2984311"/>
                <a:gd name="connsiteY25" fmla="*/ 306341 h 782471"/>
                <a:gd name="connsiteX26" fmla="*/ 832813 w 2984311"/>
                <a:gd name="connsiteY26" fmla="*/ 316981 h 782471"/>
                <a:gd name="connsiteX27" fmla="*/ 641445 w 2984311"/>
                <a:gd name="connsiteY27" fmla="*/ 291152 h 782471"/>
                <a:gd name="connsiteX28" fmla="*/ 476280 w 2984311"/>
                <a:gd name="connsiteY28" fmla="*/ 286379 h 782471"/>
                <a:gd name="connsiteX29" fmla="*/ 459474 w 2984311"/>
                <a:gd name="connsiteY29" fmla="*/ 254758 h 782471"/>
                <a:gd name="connsiteX30" fmla="*/ 432179 w 2984311"/>
                <a:gd name="connsiteY30" fmla="*/ 236561 h 782471"/>
                <a:gd name="connsiteX31" fmla="*/ 423080 w 2984311"/>
                <a:gd name="connsiteY31" fmla="*/ 222913 h 782471"/>
                <a:gd name="connsiteX32" fmla="*/ 404883 w 2984311"/>
                <a:gd name="connsiteY32" fmla="*/ 213815 h 782471"/>
                <a:gd name="connsiteX33" fmla="*/ 391236 w 2984311"/>
                <a:gd name="connsiteY33" fmla="*/ 204716 h 782471"/>
                <a:gd name="connsiteX34" fmla="*/ 373039 w 2984311"/>
                <a:gd name="connsiteY34" fmla="*/ 177421 h 782471"/>
                <a:gd name="connsiteX35" fmla="*/ 350292 w 2984311"/>
                <a:gd name="connsiteY35" fmla="*/ 150125 h 782471"/>
                <a:gd name="connsiteX36" fmla="*/ 322997 w 2984311"/>
                <a:gd name="connsiteY36" fmla="*/ 131928 h 782471"/>
                <a:gd name="connsiteX37" fmla="*/ 295701 w 2984311"/>
                <a:gd name="connsiteY37" fmla="*/ 113731 h 782471"/>
                <a:gd name="connsiteX38" fmla="*/ 286603 w 2984311"/>
                <a:gd name="connsiteY38" fmla="*/ 100084 h 782471"/>
                <a:gd name="connsiteX39" fmla="*/ 272955 w 2984311"/>
                <a:gd name="connsiteY39" fmla="*/ 95534 h 782471"/>
                <a:gd name="connsiteX40" fmla="*/ 259307 w 2984311"/>
                <a:gd name="connsiteY40" fmla="*/ 86436 h 782471"/>
                <a:gd name="connsiteX41" fmla="*/ 232012 w 2984311"/>
                <a:gd name="connsiteY41" fmla="*/ 77337 h 782471"/>
                <a:gd name="connsiteX42" fmla="*/ 218364 w 2984311"/>
                <a:gd name="connsiteY42" fmla="*/ 72788 h 782471"/>
                <a:gd name="connsiteX43" fmla="*/ 142718 w 2984311"/>
                <a:gd name="connsiteY43" fmla="*/ 25979 h 782471"/>
                <a:gd name="connsiteX44" fmla="*/ 0 w 2984311"/>
                <a:gd name="connsiteY44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20369 w 2984311"/>
                <a:gd name="connsiteY5" fmla="*/ 491319 h 782471"/>
                <a:gd name="connsiteX6" fmla="*/ 2370161 w 2984311"/>
                <a:gd name="connsiteY6" fmla="*/ 459475 h 782471"/>
                <a:gd name="connsiteX7" fmla="*/ 2247331 w 2984311"/>
                <a:gd name="connsiteY7" fmla="*/ 413982 h 782471"/>
                <a:gd name="connsiteX8" fmla="*/ 2233683 w 2984311"/>
                <a:gd name="connsiteY8" fmla="*/ 409433 h 782471"/>
                <a:gd name="connsiteX9" fmla="*/ 2197290 w 2984311"/>
                <a:gd name="connsiteY9" fmla="*/ 423081 h 782471"/>
                <a:gd name="connsiteX10" fmla="*/ 2056263 w 2984311"/>
                <a:gd name="connsiteY10" fmla="*/ 477672 h 782471"/>
                <a:gd name="connsiteX11" fmla="*/ 1969827 w 2984311"/>
                <a:gd name="connsiteY11" fmla="*/ 468573 h 782471"/>
                <a:gd name="connsiteX12" fmla="*/ 1883391 w 2984311"/>
                <a:gd name="connsiteY12" fmla="*/ 477672 h 782471"/>
                <a:gd name="connsiteX13" fmla="*/ 1796955 w 2984311"/>
                <a:gd name="connsiteY13" fmla="*/ 527713 h 782471"/>
                <a:gd name="connsiteX14" fmla="*/ 1733266 w 2984311"/>
                <a:gd name="connsiteY14" fmla="*/ 509516 h 782471"/>
                <a:gd name="connsiteX15" fmla="*/ 1728716 w 2984311"/>
                <a:gd name="connsiteY15" fmla="*/ 495869 h 782471"/>
                <a:gd name="connsiteX16" fmla="*/ 1724167 w 2984311"/>
                <a:gd name="connsiteY16" fmla="*/ 450376 h 782471"/>
                <a:gd name="connsiteX17" fmla="*/ 1699805 w 2984311"/>
                <a:gd name="connsiteY17" fmla="*/ 429247 h 782471"/>
                <a:gd name="connsiteX18" fmla="*/ 1665027 w 2984311"/>
                <a:gd name="connsiteY18" fmla="*/ 376271 h 782471"/>
                <a:gd name="connsiteX19" fmla="*/ 1610360 w 2984311"/>
                <a:gd name="connsiteY19" fmla="*/ 330703 h 782471"/>
                <a:gd name="connsiteX20" fmla="*/ 1534939 w 2984311"/>
                <a:gd name="connsiteY20" fmla="*/ 297317 h 782471"/>
                <a:gd name="connsiteX21" fmla="*/ 1418199 w 2984311"/>
                <a:gd name="connsiteY21" fmla="*/ 277355 h 782471"/>
                <a:gd name="connsiteX22" fmla="*/ 1260293 w 2984311"/>
                <a:gd name="connsiteY22" fmla="*/ 230471 h 782471"/>
                <a:gd name="connsiteX23" fmla="*/ 1219200 w 2984311"/>
                <a:gd name="connsiteY23" fmla="*/ 254758 h 782471"/>
                <a:gd name="connsiteX24" fmla="*/ 1073624 w 2984311"/>
                <a:gd name="connsiteY24" fmla="*/ 304800 h 782471"/>
                <a:gd name="connsiteX25" fmla="*/ 950345 w 2984311"/>
                <a:gd name="connsiteY25" fmla="*/ 306341 h 782471"/>
                <a:gd name="connsiteX26" fmla="*/ 832813 w 2984311"/>
                <a:gd name="connsiteY26" fmla="*/ 316981 h 782471"/>
                <a:gd name="connsiteX27" fmla="*/ 641445 w 2984311"/>
                <a:gd name="connsiteY27" fmla="*/ 291152 h 782471"/>
                <a:gd name="connsiteX28" fmla="*/ 476280 w 2984311"/>
                <a:gd name="connsiteY28" fmla="*/ 286379 h 782471"/>
                <a:gd name="connsiteX29" fmla="*/ 459474 w 2984311"/>
                <a:gd name="connsiteY29" fmla="*/ 254758 h 782471"/>
                <a:gd name="connsiteX30" fmla="*/ 432179 w 2984311"/>
                <a:gd name="connsiteY30" fmla="*/ 236561 h 782471"/>
                <a:gd name="connsiteX31" fmla="*/ 423080 w 2984311"/>
                <a:gd name="connsiteY31" fmla="*/ 222913 h 782471"/>
                <a:gd name="connsiteX32" fmla="*/ 404883 w 2984311"/>
                <a:gd name="connsiteY32" fmla="*/ 213815 h 782471"/>
                <a:gd name="connsiteX33" fmla="*/ 391236 w 2984311"/>
                <a:gd name="connsiteY33" fmla="*/ 204716 h 782471"/>
                <a:gd name="connsiteX34" fmla="*/ 373039 w 2984311"/>
                <a:gd name="connsiteY34" fmla="*/ 177421 h 782471"/>
                <a:gd name="connsiteX35" fmla="*/ 350292 w 2984311"/>
                <a:gd name="connsiteY35" fmla="*/ 150125 h 782471"/>
                <a:gd name="connsiteX36" fmla="*/ 322997 w 2984311"/>
                <a:gd name="connsiteY36" fmla="*/ 131928 h 782471"/>
                <a:gd name="connsiteX37" fmla="*/ 295701 w 2984311"/>
                <a:gd name="connsiteY37" fmla="*/ 113731 h 782471"/>
                <a:gd name="connsiteX38" fmla="*/ 286603 w 2984311"/>
                <a:gd name="connsiteY38" fmla="*/ 100084 h 782471"/>
                <a:gd name="connsiteX39" fmla="*/ 272955 w 2984311"/>
                <a:gd name="connsiteY39" fmla="*/ 95534 h 782471"/>
                <a:gd name="connsiteX40" fmla="*/ 259307 w 2984311"/>
                <a:gd name="connsiteY40" fmla="*/ 86436 h 782471"/>
                <a:gd name="connsiteX41" fmla="*/ 232012 w 2984311"/>
                <a:gd name="connsiteY41" fmla="*/ 77337 h 782471"/>
                <a:gd name="connsiteX42" fmla="*/ 218364 w 2984311"/>
                <a:gd name="connsiteY42" fmla="*/ 54741 h 782471"/>
                <a:gd name="connsiteX43" fmla="*/ 142718 w 2984311"/>
                <a:gd name="connsiteY43" fmla="*/ 25979 h 782471"/>
                <a:gd name="connsiteX44" fmla="*/ 0 w 2984311"/>
                <a:gd name="connsiteY44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20369 w 2984311"/>
                <a:gd name="connsiteY5" fmla="*/ 491319 h 782471"/>
                <a:gd name="connsiteX6" fmla="*/ 2370161 w 2984311"/>
                <a:gd name="connsiteY6" fmla="*/ 459475 h 782471"/>
                <a:gd name="connsiteX7" fmla="*/ 2247331 w 2984311"/>
                <a:gd name="connsiteY7" fmla="*/ 413982 h 782471"/>
                <a:gd name="connsiteX8" fmla="*/ 2233683 w 2984311"/>
                <a:gd name="connsiteY8" fmla="*/ 409433 h 782471"/>
                <a:gd name="connsiteX9" fmla="*/ 2197290 w 2984311"/>
                <a:gd name="connsiteY9" fmla="*/ 423081 h 782471"/>
                <a:gd name="connsiteX10" fmla="*/ 2056263 w 2984311"/>
                <a:gd name="connsiteY10" fmla="*/ 477672 h 782471"/>
                <a:gd name="connsiteX11" fmla="*/ 1969827 w 2984311"/>
                <a:gd name="connsiteY11" fmla="*/ 468573 h 782471"/>
                <a:gd name="connsiteX12" fmla="*/ 1883391 w 2984311"/>
                <a:gd name="connsiteY12" fmla="*/ 477672 h 782471"/>
                <a:gd name="connsiteX13" fmla="*/ 1796955 w 2984311"/>
                <a:gd name="connsiteY13" fmla="*/ 527713 h 782471"/>
                <a:gd name="connsiteX14" fmla="*/ 1733266 w 2984311"/>
                <a:gd name="connsiteY14" fmla="*/ 509516 h 782471"/>
                <a:gd name="connsiteX15" fmla="*/ 1728716 w 2984311"/>
                <a:gd name="connsiteY15" fmla="*/ 495869 h 782471"/>
                <a:gd name="connsiteX16" fmla="*/ 1724167 w 2984311"/>
                <a:gd name="connsiteY16" fmla="*/ 450376 h 782471"/>
                <a:gd name="connsiteX17" fmla="*/ 1699805 w 2984311"/>
                <a:gd name="connsiteY17" fmla="*/ 429247 h 782471"/>
                <a:gd name="connsiteX18" fmla="*/ 1665027 w 2984311"/>
                <a:gd name="connsiteY18" fmla="*/ 376271 h 782471"/>
                <a:gd name="connsiteX19" fmla="*/ 1610360 w 2984311"/>
                <a:gd name="connsiteY19" fmla="*/ 330703 h 782471"/>
                <a:gd name="connsiteX20" fmla="*/ 1534939 w 2984311"/>
                <a:gd name="connsiteY20" fmla="*/ 297317 h 782471"/>
                <a:gd name="connsiteX21" fmla="*/ 1418199 w 2984311"/>
                <a:gd name="connsiteY21" fmla="*/ 277355 h 782471"/>
                <a:gd name="connsiteX22" fmla="*/ 1260293 w 2984311"/>
                <a:gd name="connsiteY22" fmla="*/ 230471 h 782471"/>
                <a:gd name="connsiteX23" fmla="*/ 1219200 w 2984311"/>
                <a:gd name="connsiteY23" fmla="*/ 254758 h 782471"/>
                <a:gd name="connsiteX24" fmla="*/ 1073624 w 2984311"/>
                <a:gd name="connsiteY24" fmla="*/ 304800 h 782471"/>
                <a:gd name="connsiteX25" fmla="*/ 950345 w 2984311"/>
                <a:gd name="connsiteY25" fmla="*/ 306341 h 782471"/>
                <a:gd name="connsiteX26" fmla="*/ 832813 w 2984311"/>
                <a:gd name="connsiteY26" fmla="*/ 316981 h 782471"/>
                <a:gd name="connsiteX27" fmla="*/ 641445 w 2984311"/>
                <a:gd name="connsiteY27" fmla="*/ 291152 h 782471"/>
                <a:gd name="connsiteX28" fmla="*/ 476280 w 2984311"/>
                <a:gd name="connsiteY28" fmla="*/ 286379 h 782471"/>
                <a:gd name="connsiteX29" fmla="*/ 459474 w 2984311"/>
                <a:gd name="connsiteY29" fmla="*/ 254758 h 782471"/>
                <a:gd name="connsiteX30" fmla="*/ 432179 w 2984311"/>
                <a:gd name="connsiteY30" fmla="*/ 236561 h 782471"/>
                <a:gd name="connsiteX31" fmla="*/ 423080 w 2984311"/>
                <a:gd name="connsiteY31" fmla="*/ 222913 h 782471"/>
                <a:gd name="connsiteX32" fmla="*/ 404883 w 2984311"/>
                <a:gd name="connsiteY32" fmla="*/ 213815 h 782471"/>
                <a:gd name="connsiteX33" fmla="*/ 391236 w 2984311"/>
                <a:gd name="connsiteY33" fmla="*/ 204716 h 782471"/>
                <a:gd name="connsiteX34" fmla="*/ 373039 w 2984311"/>
                <a:gd name="connsiteY34" fmla="*/ 177421 h 782471"/>
                <a:gd name="connsiteX35" fmla="*/ 350292 w 2984311"/>
                <a:gd name="connsiteY35" fmla="*/ 150125 h 782471"/>
                <a:gd name="connsiteX36" fmla="*/ 322997 w 2984311"/>
                <a:gd name="connsiteY36" fmla="*/ 131928 h 782471"/>
                <a:gd name="connsiteX37" fmla="*/ 295701 w 2984311"/>
                <a:gd name="connsiteY37" fmla="*/ 113731 h 782471"/>
                <a:gd name="connsiteX38" fmla="*/ 286603 w 2984311"/>
                <a:gd name="connsiteY38" fmla="*/ 100084 h 782471"/>
                <a:gd name="connsiteX39" fmla="*/ 272955 w 2984311"/>
                <a:gd name="connsiteY39" fmla="*/ 95534 h 782471"/>
                <a:gd name="connsiteX40" fmla="*/ 259307 w 2984311"/>
                <a:gd name="connsiteY40" fmla="*/ 86436 h 782471"/>
                <a:gd name="connsiteX41" fmla="*/ 218364 w 2984311"/>
                <a:gd name="connsiteY41" fmla="*/ 54741 h 782471"/>
                <a:gd name="connsiteX42" fmla="*/ 142718 w 2984311"/>
                <a:gd name="connsiteY42" fmla="*/ 25979 h 782471"/>
                <a:gd name="connsiteX43" fmla="*/ 0 w 2984311"/>
                <a:gd name="connsiteY43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20369 w 2984311"/>
                <a:gd name="connsiteY5" fmla="*/ 491319 h 782471"/>
                <a:gd name="connsiteX6" fmla="*/ 2370161 w 2984311"/>
                <a:gd name="connsiteY6" fmla="*/ 459475 h 782471"/>
                <a:gd name="connsiteX7" fmla="*/ 2247331 w 2984311"/>
                <a:gd name="connsiteY7" fmla="*/ 413982 h 782471"/>
                <a:gd name="connsiteX8" fmla="*/ 2233683 w 2984311"/>
                <a:gd name="connsiteY8" fmla="*/ 409433 h 782471"/>
                <a:gd name="connsiteX9" fmla="*/ 2197290 w 2984311"/>
                <a:gd name="connsiteY9" fmla="*/ 423081 h 782471"/>
                <a:gd name="connsiteX10" fmla="*/ 2056263 w 2984311"/>
                <a:gd name="connsiteY10" fmla="*/ 477672 h 782471"/>
                <a:gd name="connsiteX11" fmla="*/ 1969827 w 2984311"/>
                <a:gd name="connsiteY11" fmla="*/ 468573 h 782471"/>
                <a:gd name="connsiteX12" fmla="*/ 1883391 w 2984311"/>
                <a:gd name="connsiteY12" fmla="*/ 477672 h 782471"/>
                <a:gd name="connsiteX13" fmla="*/ 1796955 w 2984311"/>
                <a:gd name="connsiteY13" fmla="*/ 527713 h 782471"/>
                <a:gd name="connsiteX14" fmla="*/ 1733266 w 2984311"/>
                <a:gd name="connsiteY14" fmla="*/ 509516 h 782471"/>
                <a:gd name="connsiteX15" fmla="*/ 1728716 w 2984311"/>
                <a:gd name="connsiteY15" fmla="*/ 495869 h 782471"/>
                <a:gd name="connsiteX16" fmla="*/ 1724167 w 2984311"/>
                <a:gd name="connsiteY16" fmla="*/ 450376 h 782471"/>
                <a:gd name="connsiteX17" fmla="*/ 1699805 w 2984311"/>
                <a:gd name="connsiteY17" fmla="*/ 429247 h 782471"/>
                <a:gd name="connsiteX18" fmla="*/ 1665027 w 2984311"/>
                <a:gd name="connsiteY18" fmla="*/ 376271 h 782471"/>
                <a:gd name="connsiteX19" fmla="*/ 1610360 w 2984311"/>
                <a:gd name="connsiteY19" fmla="*/ 330703 h 782471"/>
                <a:gd name="connsiteX20" fmla="*/ 1534939 w 2984311"/>
                <a:gd name="connsiteY20" fmla="*/ 297317 h 782471"/>
                <a:gd name="connsiteX21" fmla="*/ 1418199 w 2984311"/>
                <a:gd name="connsiteY21" fmla="*/ 277355 h 782471"/>
                <a:gd name="connsiteX22" fmla="*/ 1260293 w 2984311"/>
                <a:gd name="connsiteY22" fmla="*/ 230471 h 782471"/>
                <a:gd name="connsiteX23" fmla="*/ 1219200 w 2984311"/>
                <a:gd name="connsiteY23" fmla="*/ 254758 h 782471"/>
                <a:gd name="connsiteX24" fmla="*/ 1073624 w 2984311"/>
                <a:gd name="connsiteY24" fmla="*/ 304800 h 782471"/>
                <a:gd name="connsiteX25" fmla="*/ 950345 w 2984311"/>
                <a:gd name="connsiteY25" fmla="*/ 306341 h 782471"/>
                <a:gd name="connsiteX26" fmla="*/ 832813 w 2984311"/>
                <a:gd name="connsiteY26" fmla="*/ 316981 h 782471"/>
                <a:gd name="connsiteX27" fmla="*/ 641445 w 2984311"/>
                <a:gd name="connsiteY27" fmla="*/ 291152 h 782471"/>
                <a:gd name="connsiteX28" fmla="*/ 476280 w 2984311"/>
                <a:gd name="connsiteY28" fmla="*/ 286379 h 782471"/>
                <a:gd name="connsiteX29" fmla="*/ 459474 w 2984311"/>
                <a:gd name="connsiteY29" fmla="*/ 254758 h 782471"/>
                <a:gd name="connsiteX30" fmla="*/ 432179 w 2984311"/>
                <a:gd name="connsiteY30" fmla="*/ 236561 h 782471"/>
                <a:gd name="connsiteX31" fmla="*/ 423080 w 2984311"/>
                <a:gd name="connsiteY31" fmla="*/ 222913 h 782471"/>
                <a:gd name="connsiteX32" fmla="*/ 404883 w 2984311"/>
                <a:gd name="connsiteY32" fmla="*/ 213815 h 782471"/>
                <a:gd name="connsiteX33" fmla="*/ 391236 w 2984311"/>
                <a:gd name="connsiteY33" fmla="*/ 204716 h 782471"/>
                <a:gd name="connsiteX34" fmla="*/ 373039 w 2984311"/>
                <a:gd name="connsiteY34" fmla="*/ 177421 h 782471"/>
                <a:gd name="connsiteX35" fmla="*/ 350292 w 2984311"/>
                <a:gd name="connsiteY35" fmla="*/ 150125 h 782471"/>
                <a:gd name="connsiteX36" fmla="*/ 322997 w 2984311"/>
                <a:gd name="connsiteY36" fmla="*/ 131928 h 782471"/>
                <a:gd name="connsiteX37" fmla="*/ 295701 w 2984311"/>
                <a:gd name="connsiteY37" fmla="*/ 113731 h 782471"/>
                <a:gd name="connsiteX38" fmla="*/ 286603 w 2984311"/>
                <a:gd name="connsiteY38" fmla="*/ 100084 h 782471"/>
                <a:gd name="connsiteX39" fmla="*/ 272955 w 2984311"/>
                <a:gd name="connsiteY39" fmla="*/ 95534 h 782471"/>
                <a:gd name="connsiteX40" fmla="*/ 218364 w 2984311"/>
                <a:gd name="connsiteY40" fmla="*/ 54741 h 782471"/>
                <a:gd name="connsiteX41" fmla="*/ 142718 w 2984311"/>
                <a:gd name="connsiteY41" fmla="*/ 25979 h 782471"/>
                <a:gd name="connsiteX42" fmla="*/ 0 w 2984311"/>
                <a:gd name="connsiteY42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20369 w 2984311"/>
                <a:gd name="connsiteY5" fmla="*/ 491319 h 782471"/>
                <a:gd name="connsiteX6" fmla="*/ 2370161 w 2984311"/>
                <a:gd name="connsiteY6" fmla="*/ 459475 h 782471"/>
                <a:gd name="connsiteX7" fmla="*/ 2247331 w 2984311"/>
                <a:gd name="connsiteY7" fmla="*/ 413982 h 782471"/>
                <a:gd name="connsiteX8" fmla="*/ 2233683 w 2984311"/>
                <a:gd name="connsiteY8" fmla="*/ 409433 h 782471"/>
                <a:gd name="connsiteX9" fmla="*/ 2197290 w 2984311"/>
                <a:gd name="connsiteY9" fmla="*/ 423081 h 782471"/>
                <a:gd name="connsiteX10" fmla="*/ 2056263 w 2984311"/>
                <a:gd name="connsiteY10" fmla="*/ 477672 h 782471"/>
                <a:gd name="connsiteX11" fmla="*/ 1969827 w 2984311"/>
                <a:gd name="connsiteY11" fmla="*/ 468573 h 782471"/>
                <a:gd name="connsiteX12" fmla="*/ 1883391 w 2984311"/>
                <a:gd name="connsiteY12" fmla="*/ 477672 h 782471"/>
                <a:gd name="connsiteX13" fmla="*/ 1796955 w 2984311"/>
                <a:gd name="connsiteY13" fmla="*/ 527713 h 782471"/>
                <a:gd name="connsiteX14" fmla="*/ 1733266 w 2984311"/>
                <a:gd name="connsiteY14" fmla="*/ 509516 h 782471"/>
                <a:gd name="connsiteX15" fmla="*/ 1728716 w 2984311"/>
                <a:gd name="connsiteY15" fmla="*/ 495869 h 782471"/>
                <a:gd name="connsiteX16" fmla="*/ 1724167 w 2984311"/>
                <a:gd name="connsiteY16" fmla="*/ 450376 h 782471"/>
                <a:gd name="connsiteX17" fmla="*/ 1699805 w 2984311"/>
                <a:gd name="connsiteY17" fmla="*/ 429247 h 782471"/>
                <a:gd name="connsiteX18" fmla="*/ 1665027 w 2984311"/>
                <a:gd name="connsiteY18" fmla="*/ 376271 h 782471"/>
                <a:gd name="connsiteX19" fmla="*/ 1610360 w 2984311"/>
                <a:gd name="connsiteY19" fmla="*/ 330703 h 782471"/>
                <a:gd name="connsiteX20" fmla="*/ 1534939 w 2984311"/>
                <a:gd name="connsiteY20" fmla="*/ 297317 h 782471"/>
                <a:gd name="connsiteX21" fmla="*/ 1418199 w 2984311"/>
                <a:gd name="connsiteY21" fmla="*/ 277355 h 782471"/>
                <a:gd name="connsiteX22" fmla="*/ 1260293 w 2984311"/>
                <a:gd name="connsiteY22" fmla="*/ 230471 h 782471"/>
                <a:gd name="connsiteX23" fmla="*/ 1219200 w 2984311"/>
                <a:gd name="connsiteY23" fmla="*/ 254758 h 782471"/>
                <a:gd name="connsiteX24" fmla="*/ 1073624 w 2984311"/>
                <a:gd name="connsiteY24" fmla="*/ 304800 h 782471"/>
                <a:gd name="connsiteX25" fmla="*/ 950345 w 2984311"/>
                <a:gd name="connsiteY25" fmla="*/ 306341 h 782471"/>
                <a:gd name="connsiteX26" fmla="*/ 832813 w 2984311"/>
                <a:gd name="connsiteY26" fmla="*/ 316981 h 782471"/>
                <a:gd name="connsiteX27" fmla="*/ 641445 w 2984311"/>
                <a:gd name="connsiteY27" fmla="*/ 291152 h 782471"/>
                <a:gd name="connsiteX28" fmla="*/ 476280 w 2984311"/>
                <a:gd name="connsiteY28" fmla="*/ 286379 h 782471"/>
                <a:gd name="connsiteX29" fmla="*/ 459474 w 2984311"/>
                <a:gd name="connsiteY29" fmla="*/ 254758 h 782471"/>
                <a:gd name="connsiteX30" fmla="*/ 432179 w 2984311"/>
                <a:gd name="connsiteY30" fmla="*/ 236561 h 782471"/>
                <a:gd name="connsiteX31" fmla="*/ 423080 w 2984311"/>
                <a:gd name="connsiteY31" fmla="*/ 222913 h 782471"/>
                <a:gd name="connsiteX32" fmla="*/ 404883 w 2984311"/>
                <a:gd name="connsiteY32" fmla="*/ 213815 h 782471"/>
                <a:gd name="connsiteX33" fmla="*/ 391236 w 2984311"/>
                <a:gd name="connsiteY33" fmla="*/ 204716 h 782471"/>
                <a:gd name="connsiteX34" fmla="*/ 373039 w 2984311"/>
                <a:gd name="connsiteY34" fmla="*/ 177421 h 782471"/>
                <a:gd name="connsiteX35" fmla="*/ 350292 w 2984311"/>
                <a:gd name="connsiteY35" fmla="*/ 150125 h 782471"/>
                <a:gd name="connsiteX36" fmla="*/ 322997 w 2984311"/>
                <a:gd name="connsiteY36" fmla="*/ 131928 h 782471"/>
                <a:gd name="connsiteX37" fmla="*/ 295701 w 2984311"/>
                <a:gd name="connsiteY37" fmla="*/ 113731 h 782471"/>
                <a:gd name="connsiteX38" fmla="*/ 286603 w 2984311"/>
                <a:gd name="connsiteY38" fmla="*/ 100084 h 782471"/>
                <a:gd name="connsiteX39" fmla="*/ 218364 w 2984311"/>
                <a:gd name="connsiteY39" fmla="*/ 54741 h 782471"/>
                <a:gd name="connsiteX40" fmla="*/ 142718 w 2984311"/>
                <a:gd name="connsiteY40" fmla="*/ 25979 h 782471"/>
                <a:gd name="connsiteX41" fmla="*/ 0 w 2984311"/>
                <a:gd name="connsiteY41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20369 w 2984311"/>
                <a:gd name="connsiteY5" fmla="*/ 491319 h 782471"/>
                <a:gd name="connsiteX6" fmla="*/ 2370161 w 2984311"/>
                <a:gd name="connsiteY6" fmla="*/ 459475 h 782471"/>
                <a:gd name="connsiteX7" fmla="*/ 2247331 w 2984311"/>
                <a:gd name="connsiteY7" fmla="*/ 413982 h 782471"/>
                <a:gd name="connsiteX8" fmla="*/ 2233683 w 2984311"/>
                <a:gd name="connsiteY8" fmla="*/ 409433 h 782471"/>
                <a:gd name="connsiteX9" fmla="*/ 2197290 w 2984311"/>
                <a:gd name="connsiteY9" fmla="*/ 423081 h 782471"/>
                <a:gd name="connsiteX10" fmla="*/ 2056263 w 2984311"/>
                <a:gd name="connsiteY10" fmla="*/ 477672 h 782471"/>
                <a:gd name="connsiteX11" fmla="*/ 1969827 w 2984311"/>
                <a:gd name="connsiteY11" fmla="*/ 468573 h 782471"/>
                <a:gd name="connsiteX12" fmla="*/ 1883391 w 2984311"/>
                <a:gd name="connsiteY12" fmla="*/ 477672 h 782471"/>
                <a:gd name="connsiteX13" fmla="*/ 1796955 w 2984311"/>
                <a:gd name="connsiteY13" fmla="*/ 527713 h 782471"/>
                <a:gd name="connsiteX14" fmla="*/ 1733266 w 2984311"/>
                <a:gd name="connsiteY14" fmla="*/ 509516 h 782471"/>
                <a:gd name="connsiteX15" fmla="*/ 1728716 w 2984311"/>
                <a:gd name="connsiteY15" fmla="*/ 495869 h 782471"/>
                <a:gd name="connsiteX16" fmla="*/ 1724167 w 2984311"/>
                <a:gd name="connsiteY16" fmla="*/ 450376 h 782471"/>
                <a:gd name="connsiteX17" fmla="*/ 1699805 w 2984311"/>
                <a:gd name="connsiteY17" fmla="*/ 429247 h 782471"/>
                <a:gd name="connsiteX18" fmla="*/ 1665027 w 2984311"/>
                <a:gd name="connsiteY18" fmla="*/ 376271 h 782471"/>
                <a:gd name="connsiteX19" fmla="*/ 1610360 w 2984311"/>
                <a:gd name="connsiteY19" fmla="*/ 330703 h 782471"/>
                <a:gd name="connsiteX20" fmla="*/ 1534939 w 2984311"/>
                <a:gd name="connsiteY20" fmla="*/ 297317 h 782471"/>
                <a:gd name="connsiteX21" fmla="*/ 1418199 w 2984311"/>
                <a:gd name="connsiteY21" fmla="*/ 277355 h 782471"/>
                <a:gd name="connsiteX22" fmla="*/ 1260293 w 2984311"/>
                <a:gd name="connsiteY22" fmla="*/ 230471 h 782471"/>
                <a:gd name="connsiteX23" fmla="*/ 1219200 w 2984311"/>
                <a:gd name="connsiteY23" fmla="*/ 254758 h 782471"/>
                <a:gd name="connsiteX24" fmla="*/ 1073624 w 2984311"/>
                <a:gd name="connsiteY24" fmla="*/ 304800 h 782471"/>
                <a:gd name="connsiteX25" fmla="*/ 950345 w 2984311"/>
                <a:gd name="connsiteY25" fmla="*/ 306341 h 782471"/>
                <a:gd name="connsiteX26" fmla="*/ 832813 w 2984311"/>
                <a:gd name="connsiteY26" fmla="*/ 316981 h 782471"/>
                <a:gd name="connsiteX27" fmla="*/ 641445 w 2984311"/>
                <a:gd name="connsiteY27" fmla="*/ 291152 h 782471"/>
                <a:gd name="connsiteX28" fmla="*/ 476280 w 2984311"/>
                <a:gd name="connsiteY28" fmla="*/ 286379 h 782471"/>
                <a:gd name="connsiteX29" fmla="*/ 459474 w 2984311"/>
                <a:gd name="connsiteY29" fmla="*/ 254758 h 782471"/>
                <a:gd name="connsiteX30" fmla="*/ 432179 w 2984311"/>
                <a:gd name="connsiteY30" fmla="*/ 236561 h 782471"/>
                <a:gd name="connsiteX31" fmla="*/ 423080 w 2984311"/>
                <a:gd name="connsiteY31" fmla="*/ 222913 h 782471"/>
                <a:gd name="connsiteX32" fmla="*/ 404883 w 2984311"/>
                <a:gd name="connsiteY32" fmla="*/ 213815 h 782471"/>
                <a:gd name="connsiteX33" fmla="*/ 391236 w 2984311"/>
                <a:gd name="connsiteY33" fmla="*/ 204716 h 782471"/>
                <a:gd name="connsiteX34" fmla="*/ 373039 w 2984311"/>
                <a:gd name="connsiteY34" fmla="*/ 177421 h 782471"/>
                <a:gd name="connsiteX35" fmla="*/ 350292 w 2984311"/>
                <a:gd name="connsiteY35" fmla="*/ 150125 h 782471"/>
                <a:gd name="connsiteX36" fmla="*/ 322997 w 2984311"/>
                <a:gd name="connsiteY36" fmla="*/ 131928 h 782471"/>
                <a:gd name="connsiteX37" fmla="*/ 295701 w 2984311"/>
                <a:gd name="connsiteY37" fmla="*/ 113731 h 782471"/>
                <a:gd name="connsiteX38" fmla="*/ 280587 w 2984311"/>
                <a:gd name="connsiteY38" fmla="*/ 79029 h 782471"/>
                <a:gd name="connsiteX39" fmla="*/ 218364 w 2984311"/>
                <a:gd name="connsiteY39" fmla="*/ 54741 h 782471"/>
                <a:gd name="connsiteX40" fmla="*/ 142718 w 2984311"/>
                <a:gd name="connsiteY40" fmla="*/ 25979 h 782471"/>
                <a:gd name="connsiteX41" fmla="*/ 0 w 2984311"/>
                <a:gd name="connsiteY41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20369 w 2984311"/>
                <a:gd name="connsiteY5" fmla="*/ 491319 h 782471"/>
                <a:gd name="connsiteX6" fmla="*/ 2370161 w 2984311"/>
                <a:gd name="connsiteY6" fmla="*/ 459475 h 782471"/>
                <a:gd name="connsiteX7" fmla="*/ 2247331 w 2984311"/>
                <a:gd name="connsiteY7" fmla="*/ 413982 h 782471"/>
                <a:gd name="connsiteX8" fmla="*/ 2233683 w 2984311"/>
                <a:gd name="connsiteY8" fmla="*/ 409433 h 782471"/>
                <a:gd name="connsiteX9" fmla="*/ 2197290 w 2984311"/>
                <a:gd name="connsiteY9" fmla="*/ 423081 h 782471"/>
                <a:gd name="connsiteX10" fmla="*/ 2056263 w 2984311"/>
                <a:gd name="connsiteY10" fmla="*/ 477672 h 782471"/>
                <a:gd name="connsiteX11" fmla="*/ 1969827 w 2984311"/>
                <a:gd name="connsiteY11" fmla="*/ 468573 h 782471"/>
                <a:gd name="connsiteX12" fmla="*/ 1883391 w 2984311"/>
                <a:gd name="connsiteY12" fmla="*/ 477672 h 782471"/>
                <a:gd name="connsiteX13" fmla="*/ 1796955 w 2984311"/>
                <a:gd name="connsiteY13" fmla="*/ 527713 h 782471"/>
                <a:gd name="connsiteX14" fmla="*/ 1733266 w 2984311"/>
                <a:gd name="connsiteY14" fmla="*/ 509516 h 782471"/>
                <a:gd name="connsiteX15" fmla="*/ 1728716 w 2984311"/>
                <a:gd name="connsiteY15" fmla="*/ 495869 h 782471"/>
                <a:gd name="connsiteX16" fmla="*/ 1724167 w 2984311"/>
                <a:gd name="connsiteY16" fmla="*/ 450376 h 782471"/>
                <a:gd name="connsiteX17" fmla="*/ 1699805 w 2984311"/>
                <a:gd name="connsiteY17" fmla="*/ 429247 h 782471"/>
                <a:gd name="connsiteX18" fmla="*/ 1665027 w 2984311"/>
                <a:gd name="connsiteY18" fmla="*/ 376271 h 782471"/>
                <a:gd name="connsiteX19" fmla="*/ 1610360 w 2984311"/>
                <a:gd name="connsiteY19" fmla="*/ 330703 h 782471"/>
                <a:gd name="connsiteX20" fmla="*/ 1534939 w 2984311"/>
                <a:gd name="connsiteY20" fmla="*/ 297317 h 782471"/>
                <a:gd name="connsiteX21" fmla="*/ 1418199 w 2984311"/>
                <a:gd name="connsiteY21" fmla="*/ 277355 h 782471"/>
                <a:gd name="connsiteX22" fmla="*/ 1260293 w 2984311"/>
                <a:gd name="connsiteY22" fmla="*/ 230471 h 782471"/>
                <a:gd name="connsiteX23" fmla="*/ 1219200 w 2984311"/>
                <a:gd name="connsiteY23" fmla="*/ 254758 h 782471"/>
                <a:gd name="connsiteX24" fmla="*/ 1073624 w 2984311"/>
                <a:gd name="connsiteY24" fmla="*/ 304800 h 782471"/>
                <a:gd name="connsiteX25" fmla="*/ 950345 w 2984311"/>
                <a:gd name="connsiteY25" fmla="*/ 306341 h 782471"/>
                <a:gd name="connsiteX26" fmla="*/ 832813 w 2984311"/>
                <a:gd name="connsiteY26" fmla="*/ 316981 h 782471"/>
                <a:gd name="connsiteX27" fmla="*/ 641445 w 2984311"/>
                <a:gd name="connsiteY27" fmla="*/ 291152 h 782471"/>
                <a:gd name="connsiteX28" fmla="*/ 476280 w 2984311"/>
                <a:gd name="connsiteY28" fmla="*/ 286379 h 782471"/>
                <a:gd name="connsiteX29" fmla="*/ 459474 w 2984311"/>
                <a:gd name="connsiteY29" fmla="*/ 254758 h 782471"/>
                <a:gd name="connsiteX30" fmla="*/ 432179 w 2984311"/>
                <a:gd name="connsiteY30" fmla="*/ 236561 h 782471"/>
                <a:gd name="connsiteX31" fmla="*/ 423080 w 2984311"/>
                <a:gd name="connsiteY31" fmla="*/ 222913 h 782471"/>
                <a:gd name="connsiteX32" fmla="*/ 404883 w 2984311"/>
                <a:gd name="connsiteY32" fmla="*/ 213815 h 782471"/>
                <a:gd name="connsiteX33" fmla="*/ 391236 w 2984311"/>
                <a:gd name="connsiteY33" fmla="*/ 204716 h 782471"/>
                <a:gd name="connsiteX34" fmla="*/ 373039 w 2984311"/>
                <a:gd name="connsiteY34" fmla="*/ 177421 h 782471"/>
                <a:gd name="connsiteX35" fmla="*/ 350292 w 2984311"/>
                <a:gd name="connsiteY35" fmla="*/ 150125 h 782471"/>
                <a:gd name="connsiteX36" fmla="*/ 322997 w 2984311"/>
                <a:gd name="connsiteY36" fmla="*/ 131928 h 782471"/>
                <a:gd name="connsiteX37" fmla="*/ 295701 w 2984311"/>
                <a:gd name="connsiteY37" fmla="*/ 113731 h 782471"/>
                <a:gd name="connsiteX38" fmla="*/ 218364 w 2984311"/>
                <a:gd name="connsiteY38" fmla="*/ 54741 h 782471"/>
                <a:gd name="connsiteX39" fmla="*/ 142718 w 2984311"/>
                <a:gd name="connsiteY39" fmla="*/ 25979 h 782471"/>
                <a:gd name="connsiteX40" fmla="*/ 0 w 2984311"/>
                <a:gd name="connsiteY40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20369 w 2984311"/>
                <a:gd name="connsiteY5" fmla="*/ 491319 h 782471"/>
                <a:gd name="connsiteX6" fmla="*/ 2370161 w 2984311"/>
                <a:gd name="connsiteY6" fmla="*/ 459475 h 782471"/>
                <a:gd name="connsiteX7" fmla="*/ 2247331 w 2984311"/>
                <a:gd name="connsiteY7" fmla="*/ 413982 h 782471"/>
                <a:gd name="connsiteX8" fmla="*/ 2233683 w 2984311"/>
                <a:gd name="connsiteY8" fmla="*/ 409433 h 782471"/>
                <a:gd name="connsiteX9" fmla="*/ 2197290 w 2984311"/>
                <a:gd name="connsiteY9" fmla="*/ 423081 h 782471"/>
                <a:gd name="connsiteX10" fmla="*/ 2056263 w 2984311"/>
                <a:gd name="connsiteY10" fmla="*/ 477672 h 782471"/>
                <a:gd name="connsiteX11" fmla="*/ 1969827 w 2984311"/>
                <a:gd name="connsiteY11" fmla="*/ 468573 h 782471"/>
                <a:gd name="connsiteX12" fmla="*/ 1883391 w 2984311"/>
                <a:gd name="connsiteY12" fmla="*/ 477672 h 782471"/>
                <a:gd name="connsiteX13" fmla="*/ 1796955 w 2984311"/>
                <a:gd name="connsiteY13" fmla="*/ 527713 h 782471"/>
                <a:gd name="connsiteX14" fmla="*/ 1733266 w 2984311"/>
                <a:gd name="connsiteY14" fmla="*/ 509516 h 782471"/>
                <a:gd name="connsiteX15" fmla="*/ 1728716 w 2984311"/>
                <a:gd name="connsiteY15" fmla="*/ 495869 h 782471"/>
                <a:gd name="connsiteX16" fmla="*/ 1724167 w 2984311"/>
                <a:gd name="connsiteY16" fmla="*/ 450376 h 782471"/>
                <a:gd name="connsiteX17" fmla="*/ 1699805 w 2984311"/>
                <a:gd name="connsiteY17" fmla="*/ 429247 h 782471"/>
                <a:gd name="connsiteX18" fmla="*/ 1665027 w 2984311"/>
                <a:gd name="connsiteY18" fmla="*/ 376271 h 782471"/>
                <a:gd name="connsiteX19" fmla="*/ 1610360 w 2984311"/>
                <a:gd name="connsiteY19" fmla="*/ 330703 h 782471"/>
                <a:gd name="connsiteX20" fmla="*/ 1534939 w 2984311"/>
                <a:gd name="connsiteY20" fmla="*/ 297317 h 782471"/>
                <a:gd name="connsiteX21" fmla="*/ 1418199 w 2984311"/>
                <a:gd name="connsiteY21" fmla="*/ 277355 h 782471"/>
                <a:gd name="connsiteX22" fmla="*/ 1260293 w 2984311"/>
                <a:gd name="connsiteY22" fmla="*/ 230471 h 782471"/>
                <a:gd name="connsiteX23" fmla="*/ 1219200 w 2984311"/>
                <a:gd name="connsiteY23" fmla="*/ 254758 h 782471"/>
                <a:gd name="connsiteX24" fmla="*/ 1073624 w 2984311"/>
                <a:gd name="connsiteY24" fmla="*/ 304800 h 782471"/>
                <a:gd name="connsiteX25" fmla="*/ 950345 w 2984311"/>
                <a:gd name="connsiteY25" fmla="*/ 306341 h 782471"/>
                <a:gd name="connsiteX26" fmla="*/ 832813 w 2984311"/>
                <a:gd name="connsiteY26" fmla="*/ 316981 h 782471"/>
                <a:gd name="connsiteX27" fmla="*/ 641445 w 2984311"/>
                <a:gd name="connsiteY27" fmla="*/ 291152 h 782471"/>
                <a:gd name="connsiteX28" fmla="*/ 476280 w 2984311"/>
                <a:gd name="connsiteY28" fmla="*/ 286379 h 782471"/>
                <a:gd name="connsiteX29" fmla="*/ 459474 w 2984311"/>
                <a:gd name="connsiteY29" fmla="*/ 254758 h 782471"/>
                <a:gd name="connsiteX30" fmla="*/ 432179 w 2984311"/>
                <a:gd name="connsiteY30" fmla="*/ 236561 h 782471"/>
                <a:gd name="connsiteX31" fmla="*/ 423080 w 2984311"/>
                <a:gd name="connsiteY31" fmla="*/ 222913 h 782471"/>
                <a:gd name="connsiteX32" fmla="*/ 404883 w 2984311"/>
                <a:gd name="connsiteY32" fmla="*/ 213815 h 782471"/>
                <a:gd name="connsiteX33" fmla="*/ 391236 w 2984311"/>
                <a:gd name="connsiteY33" fmla="*/ 204716 h 782471"/>
                <a:gd name="connsiteX34" fmla="*/ 373039 w 2984311"/>
                <a:gd name="connsiteY34" fmla="*/ 177421 h 782471"/>
                <a:gd name="connsiteX35" fmla="*/ 350292 w 2984311"/>
                <a:gd name="connsiteY35" fmla="*/ 150125 h 782471"/>
                <a:gd name="connsiteX36" fmla="*/ 322997 w 2984311"/>
                <a:gd name="connsiteY36" fmla="*/ 131928 h 782471"/>
                <a:gd name="connsiteX37" fmla="*/ 289686 w 2984311"/>
                <a:gd name="connsiteY37" fmla="*/ 86660 h 782471"/>
                <a:gd name="connsiteX38" fmla="*/ 218364 w 2984311"/>
                <a:gd name="connsiteY38" fmla="*/ 54741 h 782471"/>
                <a:gd name="connsiteX39" fmla="*/ 142718 w 2984311"/>
                <a:gd name="connsiteY39" fmla="*/ 25979 h 782471"/>
                <a:gd name="connsiteX40" fmla="*/ 0 w 2984311"/>
                <a:gd name="connsiteY40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20369 w 2984311"/>
                <a:gd name="connsiteY5" fmla="*/ 491319 h 782471"/>
                <a:gd name="connsiteX6" fmla="*/ 2370161 w 2984311"/>
                <a:gd name="connsiteY6" fmla="*/ 459475 h 782471"/>
                <a:gd name="connsiteX7" fmla="*/ 2247331 w 2984311"/>
                <a:gd name="connsiteY7" fmla="*/ 413982 h 782471"/>
                <a:gd name="connsiteX8" fmla="*/ 2233683 w 2984311"/>
                <a:gd name="connsiteY8" fmla="*/ 409433 h 782471"/>
                <a:gd name="connsiteX9" fmla="*/ 2197290 w 2984311"/>
                <a:gd name="connsiteY9" fmla="*/ 423081 h 782471"/>
                <a:gd name="connsiteX10" fmla="*/ 2056263 w 2984311"/>
                <a:gd name="connsiteY10" fmla="*/ 477672 h 782471"/>
                <a:gd name="connsiteX11" fmla="*/ 1969827 w 2984311"/>
                <a:gd name="connsiteY11" fmla="*/ 468573 h 782471"/>
                <a:gd name="connsiteX12" fmla="*/ 1883391 w 2984311"/>
                <a:gd name="connsiteY12" fmla="*/ 477672 h 782471"/>
                <a:gd name="connsiteX13" fmla="*/ 1796955 w 2984311"/>
                <a:gd name="connsiteY13" fmla="*/ 527713 h 782471"/>
                <a:gd name="connsiteX14" fmla="*/ 1733266 w 2984311"/>
                <a:gd name="connsiteY14" fmla="*/ 509516 h 782471"/>
                <a:gd name="connsiteX15" fmla="*/ 1728716 w 2984311"/>
                <a:gd name="connsiteY15" fmla="*/ 495869 h 782471"/>
                <a:gd name="connsiteX16" fmla="*/ 1724167 w 2984311"/>
                <a:gd name="connsiteY16" fmla="*/ 450376 h 782471"/>
                <a:gd name="connsiteX17" fmla="*/ 1699805 w 2984311"/>
                <a:gd name="connsiteY17" fmla="*/ 429247 h 782471"/>
                <a:gd name="connsiteX18" fmla="*/ 1665027 w 2984311"/>
                <a:gd name="connsiteY18" fmla="*/ 376271 h 782471"/>
                <a:gd name="connsiteX19" fmla="*/ 1610360 w 2984311"/>
                <a:gd name="connsiteY19" fmla="*/ 330703 h 782471"/>
                <a:gd name="connsiteX20" fmla="*/ 1534939 w 2984311"/>
                <a:gd name="connsiteY20" fmla="*/ 297317 h 782471"/>
                <a:gd name="connsiteX21" fmla="*/ 1418199 w 2984311"/>
                <a:gd name="connsiteY21" fmla="*/ 277355 h 782471"/>
                <a:gd name="connsiteX22" fmla="*/ 1260293 w 2984311"/>
                <a:gd name="connsiteY22" fmla="*/ 230471 h 782471"/>
                <a:gd name="connsiteX23" fmla="*/ 1219200 w 2984311"/>
                <a:gd name="connsiteY23" fmla="*/ 254758 h 782471"/>
                <a:gd name="connsiteX24" fmla="*/ 1073624 w 2984311"/>
                <a:gd name="connsiteY24" fmla="*/ 304800 h 782471"/>
                <a:gd name="connsiteX25" fmla="*/ 950345 w 2984311"/>
                <a:gd name="connsiteY25" fmla="*/ 306341 h 782471"/>
                <a:gd name="connsiteX26" fmla="*/ 832813 w 2984311"/>
                <a:gd name="connsiteY26" fmla="*/ 316981 h 782471"/>
                <a:gd name="connsiteX27" fmla="*/ 641445 w 2984311"/>
                <a:gd name="connsiteY27" fmla="*/ 291152 h 782471"/>
                <a:gd name="connsiteX28" fmla="*/ 476280 w 2984311"/>
                <a:gd name="connsiteY28" fmla="*/ 286379 h 782471"/>
                <a:gd name="connsiteX29" fmla="*/ 459474 w 2984311"/>
                <a:gd name="connsiteY29" fmla="*/ 254758 h 782471"/>
                <a:gd name="connsiteX30" fmla="*/ 432179 w 2984311"/>
                <a:gd name="connsiteY30" fmla="*/ 236561 h 782471"/>
                <a:gd name="connsiteX31" fmla="*/ 423080 w 2984311"/>
                <a:gd name="connsiteY31" fmla="*/ 222913 h 782471"/>
                <a:gd name="connsiteX32" fmla="*/ 404883 w 2984311"/>
                <a:gd name="connsiteY32" fmla="*/ 213815 h 782471"/>
                <a:gd name="connsiteX33" fmla="*/ 391236 w 2984311"/>
                <a:gd name="connsiteY33" fmla="*/ 204716 h 782471"/>
                <a:gd name="connsiteX34" fmla="*/ 373039 w 2984311"/>
                <a:gd name="connsiteY34" fmla="*/ 177421 h 782471"/>
                <a:gd name="connsiteX35" fmla="*/ 350292 w 2984311"/>
                <a:gd name="connsiteY35" fmla="*/ 150125 h 782471"/>
                <a:gd name="connsiteX36" fmla="*/ 322997 w 2984311"/>
                <a:gd name="connsiteY36" fmla="*/ 131928 h 782471"/>
                <a:gd name="connsiteX37" fmla="*/ 218364 w 2984311"/>
                <a:gd name="connsiteY37" fmla="*/ 54741 h 782471"/>
                <a:gd name="connsiteX38" fmla="*/ 142718 w 2984311"/>
                <a:gd name="connsiteY38" fmla="*/ 25979 h 782471"/>
                <a:gd name="connsiteX39" fmla="*/ 0 w 2984311"/>
                <a:gd name="connsiteY39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20369 w 2984311"/>
                <a:gd name="connsiteY5" fmla="*/ 491319 h 782471"/>
                <a:gd name="connsiteX6" fmla="*/ 2370161 w 2984311"/>
                <a:gd name="connsiteY6" fmla="*/ 459475 h 782471"/>
                <a:gd name="connsiteX7" fmla="*/ 2247331 w 2984311"/>
                <a:gd name="connsiteY7" fmla="*/ 413982 h 782471"/>
                <a:gd name="connsiteX8" fmla="*/ 2233683 w 2984311"/>
                <a:gd name="connsiteY8" fmla="*/ 409433 h 782471"/>
                <a:gd name="connsiteX9" fmla="*/ 2197290 w 2984311"/>
                <a:gd name="connsiteY9" fmla="*/ 423081 h 782471"/>
                <a:gd name="connsiteX10" fmla="*/ 2056263 w 2984311"/>
                <a:gd name="connsiteY10" fmla="*/ 477672 h 782471"/>
                <a:gd name="connsiteX11" fmla="*/ 1969827 w 2984311"/>
                <a:gd name="connsiteY11" fmla="*/ 468573 h 782471"/>
                <a:gd name="connsiteX12" fmla="*/ 1883391 w 2984311"/>
                <a:gd name="connsiteY12" fmla="*/ 477672 h 782471"/>
                <a:gd name="connsiteX13" fmla="*/ 1796955 w 2984311"/>
                <a:gd name="connsiteY13" fmla="*/ 527713 h 782471"/>
                <a:gd name="connsiteX14" fmla="*/ 1733266 w 2984311"/>
                <a:gd name="connsiteY14" fmla="*/ 509516 h 782471"/>
                <a:gd name="connsiteX15" fmla="*/ 1728716 w 2984311"/>
                <a:gd name="connsiteY15" fmla="*/ 495869 h 782471"/>
                <a:gd name="connsiteX16" fmla="*/ 1724167 w 2984311"/>
                <a:gd name="connsiteY16" fmla="*/ 450376 h 782471"/>
                <a:gd name="connsiteX17" fmla="*/ 1699805 w 2984311"/>
                <a:gd name="connsiteY17" fmla="*/ 429247 h 782471"/>
                <a:gd name="connsiteX18" fmla="*/ 1665027 w 2984311"/>
                <a:gd name="connsiteY18" fmla="*/ 376271 h 782471"/>
                <a:gd name="connsiteX19" fmla="*/ 1610360 w 2984311"/>
                <a:gd name="connsiteY19" fmla="*/ 330703 h 782471"/>
                <a:gd name="connsiteX20" fmla="*/ 1534939 w 2984311"/>
                <a:gd name="connsiteY20" fmla="*/ 297317 h 782471"/>
                <a:gd name="connsiteX21" fmla="*/ 1418199 w 2984311"/>
                <a:gd name="connsiteY21" fmla="*/ 277355 h 782471"/>
                <a:gd name="connsiteX22" fmla="*/ 1260293 w 2984311"/>
                <a:gd name="connsiteY22" fmla="*/ 230471 h 782471"/>
                <a:gd name="connsiteX23" fmla="*/ 1219200 w 2984311"/>
                <a:gd name="connsiteY23" fmla="*/ 254758 h 782471"/>
                <a:gd name="connsiteX24" fmla="*/ 1073624 w 2984311"/>
                <a:gd name="connsiteY24" fmla="*/ 304800 h 782471"/>
                <a:gd name="connsiteX25" fmla="*/ 950345 w 2984311"/>
                <a:gd name="connsiteY25" fmla="*/ 306341 h 782471"/>
                <a:gd name="connsiteX26" fmla="*/ 832813 w 2984311"/>
                <a:gd name="connsiteY26" fmla="*/ 316981 h 782471"/>
                <a:gd name="connsiteX27" fmla="*/ 641445 w 2984311"/>
                <a:gd name="connsiteY27" fmla="*/ 291152 h 782471"/>
                <a:gd name="connsiteX28" fmla="*/ 476280 w 2984311"/>
                <a:gd name="connsiteY28" fmla="*/ 286379 h 782471"/>
                <a:gd name="connsiteX29" fmla="*/ 459474 w 2984311"/>
                <a:gd name="connsiteY29" fmla="*/ 254758 h 782471"/>
                <a:gd name="connsiteX30" fmla="*/ 432179 w 2984311"/>
                <a:gd name="connsiteY30" fmla="*/ 236561 h 782471"/>
                <a:gd name="connsiteX31" fmla="*/ 423080 w 2984311"/>
                <a:gd name="connsiteY31" fmla="*/ 222913 h 782471"/>
                <a:gd name="connsiteX32" fmla="*/ 404883 w 2984311"/>
                <a:gd name="connsiteY32" fmla="*/ 213815 h 782471"/>
                <a:gd name="connsiteX33" fmla="*/ 391236 w 2984311"/>
                <a:gd name="connsiteY33" fmla="*/ 204716 h 782471"/>
                <a:gd name="connsiteX34" fmla="*/ 373039 w 2984311"/>
                <a:gd name="connsiteY34" fmla="*/ 177421 h 782471"/>
                <a:gd name="connsiteX35" fmla="*/ 350292 w 2984311"/>
                <a:gd name="connsiteY35" fmla="*/ 150125 h 782471"/>
                <a:gd name="connsiteX36" fmla="*/ 304950 w 2984311"/>
                <a:gd name="connsiteY36" fmla="*/ 107865 h 782471"/>
                <a:gd name="connsiteX37" fmla="*/ 218364 w 2984311"/>
                <a:gd name="connsiteY37" fmla="*/ 54741 h 782471"/>
                <a:gd name="connsiteX38" fmla="*/ 142718 w 2984311"/>
                <a:gd name="connsiteY38" fmla="*/ 25979 h 782471"/>
                <a:gd name="connsiteX39" fmla="*/ 0 w 2984311"/>
                <a:gd name="connsiteY39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20369 w 2984311"/>
                <a:gd name="connsiteY5" fmla="*/ 491319 h 782471"/>
                <a:gd name="connsiteX6" fmla="*/ 2370161 w 2984311"/>
                <a:gd name="connsiteY6" fmla="*/ 459475 h 782471"/>
                <a:gd name="connsiteX7" fmla="*/ 2247331 w 2984311"/>
                <a:gd name="connsiteY7" fmla="*/ 413982 h 782471"/>
                <a:gd name="connsiteX8" fmla="*/ 2233683 w 2984311"/>
                <a:gd name="connsiteY8" fmla="*/ 409433 h 782471"/>
                <a:gd name="connsiteX9" fmla="*/ 2197290 w 2984311"/>
                <a:gd name="connsiteY9" fmla="*/ 423081 h 782471"/>
                <a:gd name="connsiteX10" fmla="*/ 2056263 w 2984311"/>
                <a:gd name="connsiteY10" fmla="*/ 477672 h 782471"/>
                <a:gd name="connsiteX11" fmla="*/ 1969827 w 2984311"/>
                <a:gd name="connsiteY11" fmla="*/ 468573 h 782471"/>
                <a:gd name="connsiteX12" fmla="*/ 1883391 w 2984311"/>
                <a:gd name="connsiteY12" fmla="*/ 477672 h 782471"/>
                <a:gd name="connsiteX13" fmla="*/ 1796955 w 2984311"/>
                <a:gd name="connsiteY13" fmla="*/ 527713 h 782471"/>
                <a:gd name="connsiteX14" fmla="*/ 1733266 w 2984311"/>
                <a:gd name="connsiteY14" fmla="*/ 509516 h 782471"/>
                <a:gd name="connsiteX15" fmla="*/ 1728716 w 2984311"/>
                <a:gd name="connsiteY15" fmla="*/ 495869 h 782471"/>
                <a:gd name="connsiteX16" fmla="*/ 1724167 w 2984311"/>
                <a:gd name="connsiteY16" fmla="*/ 450376 h 782471"/>
                <a:gd name="connsiteX17" fmla="*/ 1699805 w 2984311"/>
                <a:gd name="connsiteY17" fmla="*/ 429247 h 782471"/>
                <a:gd name="connsiteX18" fmla="*/ 1665027 w 2984311"/>
                <a:gd name="connsiteY18" fmla="*/ 376271 h 782471"/>
                <a:gd name="connsiteX19" fmla="*/ 1610360 w 2984311"/>
                <a:gd name="connsiteY19" fmla="*/ 330703 h 782471"/>
                <a:gd name="connsiteX20" fmla="*/ 1534939 w 2984311"/>
                <a:gd name="connsiteY20" fmla="*/ 297317 h 782471"/>
                <a:gd name="connsiteX21" fmla="*/ 1418199 w 2984311"/>
                <a:gd name="connsiteY21" fmla="*/ 277355 h 782471"/>
                <a:gd name="connsiteX22" fmla="*/ 1260293 w 2984311"/>
                <a:gd name="connsiteY22" fmla="*/ 230471 h 782471"/>
                <a:gd name="connsiteX23" fmla="*/ 1219200 w 2984311"/>
                <a:gd name="connsiteY23" fmla="*/ 254758 h 782471"/>
                <a:gd name="connsiteX24" fmla="*/ 1073624 w 2984311"/>
                <a:gd name="connsiteY24" fmla="*/ 304800 h 782471"/>
                <a:gd name="connsiteX25" fmla="*/ 950345 w 2984311"/>
                <a:gd name="connsiteY25" fmla="*/ 306341 h 782471"/>
                <a:gd name="connsiteX26" fmla="*/ 832813 w 2984311"/>
                <a:gd name="connsiteY26" fmla="*/ 316981 h 782471"/>
                <a:gd name="connsiteX27" fmla="*/ 641445 w 2984311"/>
                <a:gd name="connsiteY27" fmla="*/ 291152 h 782471"/>
                <a:gd name="connsiteX28" fmla="*/ 476280 w 2984311"/>
                <a:gd name="connsiteY28" fmla="*/ 286379 h 782471"/>
                <a:gd name="connsiteX29" fmla="*/ 459474 w 2984311"/>
                <a:gd name="connsiteY29" fmla="*/ 254758 h 782471"/>
                <a:gd name="connsiteX30" fmla="*/ 432179 w 2984311"/>
                <a:gd name="connsiteY30" fmla="*/ 236561 h 782471"/>
                <a:gd name="connsiteX31" fmla="*/ 423080 w 2984311"/>
                <a:gd name="connsiteY31" fmla="*/ 222913 h 782471"/>
                <a:gd name="connsiteX32" fmla="*/ 404883 w 2984311"/>
                <a:gd name="connsiteY32" fmla="*/ 213815 h 782471"/>
                <a:gd name="connsiteX33" fmla="*/ 391236 w 2984311"/>
                <a:gd name="connsiteY33" fmla="*/ 204716 h 782471"/>
                <a:gd name="connsiteX34" fmla="*/ 373039 w 2984311"/>
                <a:gd name="connsiteY34" fmla="*/ 177421 h 782471"/>
                <a:gd name="connsiteX35" fmla="*/ 304950 w 2984311"/>
                <a:gd name="connsiteY35" fmla="*/ 107865 h 782471"/>
                <a:gd name="connsiteX36" fmla="*/ 218364 w 2984311"/>
                <a:gd name="connsiteY36" fmla="*/ 54741 h 782471"/>
                <a:gd name="connsiteX37" fmla="*/ 142718 w 2984311"/>
                <a:gd name="connsiteY37" fmla="*/ 25979 h 782471"/>
                <a:gd name="connsiteX38" fmla="*/ 0 w 2984311"/>
                <a:gd name="connsiteY38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20369 w 2984311"/>
                <a:gd name="connsiteY5" fmla="*/ 491319 h 782471"/>
                <a:gd name="connsiteX6" fmla="*/ 2370161 w 2984311"/>
                <a:gd name="connsiteY6" fmla="*/ 459475 h 782471"/>
                <a:gd name="connsiteX7" fmla="*/ 2247331 w 2984311"/>
                <a:gd name="connsiteY7" fmla="*/ 413982 h 782471"/>
                <a:gd name="connsiteX8" fmla="*/ 2233683 w 2984311"/>
                <a:gd name="connsiteY8" fmla="*/ 409433 h 782471"/>
                <a:gd name="connsiteX9" fmla="*/ 2197290 w 2984311"/>
                <a:gd name="connsiteY9" fmla="*/ 423081 h 782471"/>
                <a:gd name="connsiteX10" fmla="*/ 2056263 w 2984311"/>
                <a:gd name="connsiteY10" fmla="*/ 477672 h 782471"/>
                <a:gd name="connsiteX11" fmla="*/ 1969827 w 2984311"/>
                <a:gd name="connsiteY11" fmla="*/ 468573 h 782471"/>
                <a:gd name="connsiteX12" fmla="*/ 1883391 w 2984311"/>
                <a:gd name="connsiteY12" fmla="*/ 477672 h 782471"/>
                <a:gd name="connsiteX13" fmla="*/ 1796955 w 2984311"/>
                <a:gd name="connsiteY13" fmla="*/ 527713 h 782471"/>
                <a:gd name="connsiteX14" fmla="*/ 1733266 w 2984311"/>
                <a:gd name="connsiteY14" fmla="*/ 509516 h 782471"/>
                <a:gd name="connsiteX15" fmla="*/ 1728716 w 2984311"/>
                <a:gd name="connsiteY15" fmla="*/ 495869 h 782471"/>
                <a:gd name="connsiteX16" fmla="*/ 1724167 w 2984311"/>
                <a:gd name="connsiteY16" fmla="*/ 450376 h 782471"/>
                <a:gd name="connsiteX17" fmla="*/ 1699805 w 2984311"/>
                <a:gd name="connsiteY17" fmla="*/ 429247 h 782471"/>
                <a:gd name="connsiteX18" fmla="*/ 1665027 w 2984311"/>
                <a:gd name="connsiteY18" fmla="*/ 376271 h 782471"/>
                <a:gd name="connsiteX19" fmla="*/ 1610360 w 2984311"/>
                <a:gd name="connsiteY19" fmla="*/ 330703 h 782471"/>
                <a:gd name="connsiteX20" fmla="*/ 1534939 w 2984311"/>
                <a:gd name="connsiteY20" fmla="*/ 297317 h 782471"/>
                <a:gd name="connsiteX21" fmla="*/ 1418199 w 2984311"/>
                <a:gd name="connsiteY21" fmla="*/ 277355 h 782471"/>
                <a:gd name="connsiteX22" fmla="*/ 1260293 w 2984311"/>
                <a:gd name="connsiteY22" fmla="*/ 230471 h 782471"/>
                <a:gd name="connsiteX23" fmla="*/ 1219200 w 2984311"/>
                <a:gd name="connsiteY23" fmla="*/ 254758 h 782471"/>
                <a:gd name="connsiteX24" fmla="*/ 1073624 w 2984311"/>
                <a:gd name="connsiteY24" fmla="*/ 304800 h 782471"/>
                <a:gd name="connsiteX25" fmla="*/ 950345 w 2984311"/>
                <a:gd name="connsiteY25" fmla="*/ 306341 h 782471"/>
                <a:gd name="connsiteX26" fmla="*/ 832813 w 2984311"/>
                <a:gd name="connsiteY26" fmla="*/ 316981 h 782471"/>
                <a:gd name="connsiteX27" fmla="*/ 641445 w 2984311"/>
                <a:gd name="connsiteY27" fmla="*/ 291152 h 782471"/>
                <a:gd name="connsiteX28" fmla="*/ 476280 w 2984311"/>
                <a:gd name="connsiteY28" fmla="*/ 286379 h 782471"/>
                <a:gd name="connsiteX29" fmla="*/ 459474 w 2984311"/>
                <a:gd name="connsiteY29" fmla="*/ 254758 h 782471"/>
                <a:gd name="connsiteX30" fmla="*/ 432179 w 2984311"/>
                <a:gd name="connsiteY30" fmla="*/ 236561 h 782471"/>
                <a:gd name="connsiteX31" fmla="*/ 423080 w 2984311"/>
                <a:gd name="connsiteY31" fmla="*/ 222913 h 782471"/>
                <a:gd name="connsiteX32" fmla="*/ 404883 w 2984311"/>
                <a:gd name="connsiteY32" fmla="*/ 213815 h 782471"/>
                <a:gd name="connsiteX33" fmla="*/ 391236 w 2984311"/>
                <a:gd name="connsiteY33" fmla="*/ 204716 h 782471"/>
                <a:gd name="connsiteX34" fmla="*/ 348976 w 2984311"/>
                <a:gd name="connsiteY34" fmla="*/ 150350 h 782471"/>
                <a:gd name="connsiteX35" fmla="*/ 304950 w 2984311"/>
                <a:gd name="connsiteY35" fmla="*/ 107865 h 782471"/>
                <a:gd name="connsiteX36" fmla="*/ 218364 w 2984311"/>
                <a:gd name="connsiteY36" fmla="*/ 54741 h 782471"/>
                <a:gd name="connsiteX37" fmla="*/ 142718 w 2984311"/>
                <a:gd name="connsiteY37" fmla="*/ 25979 h 782471"/>
                <a:gd name="connsiteX38" fmla="*/ 0 w 2984311"/>
                <a:gd name="connsiteY38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20369 w 2984311"/>
                <a:gd name="connsiteY5" fmla="*/ 491319 h 782471"/>
                <a:gd name="connsiteX6" fmla="*/ 2370161 w 2984311"/>
                <a:gd name="connsiteY6" fmla="*/ 459475 h 782471"/>
                <a:gd name="connsiteX7" fmla="*/ 2247331 w 2984311"/>
                <a:gd name="connsiteY7" fmla="*/ 413982 h 782471"/>
                <a:gd name="connsiteX8" fmla="*/ 2233683 w 2984311"/>
                <a:gd name="connsiteY8" fmla="*/ 409433 h 782471"/>
                <a:gd name="connsiteX9" fmla="*/ 2197290 w 2984311"/>
                <a:gd name="connsiteY9" fmla="*/ 423081 h 782471"/>
                <a:gd name="connsiteX10" fmla="*/ 2056263 w 2984311"/>
                <a:gd name="connsiteY10" fmla="*/ 477672 h 782471"/>
                <a:gd name="connsiteX11" fmla="*/ 1969827 w 2984311"/>
                <a:gd name="connsiteY11" fmla="*/ 468573 h 782471"/>
                <a:gd name="connsiteX12" fmla="*/ 1883391 w 2984311"/>
                <a:gd name="connsiteY12" fmla="*/ 477672 h 782471"/>
                <a:gd name="connsiteX13" fmla="*/ 1796955 w 2984311"/>
                <a:gd name="connsiteY13" fmla="*/ 527713 h 782471"/>
                <a:gd name="connsiteX14" fmla="*/ 1733266 w 2984311"/>
                <a:gd name="connsiteY14" fmla="*/ 509516 h 782471"/>
                <a:gd name="connsiteX15" fmla="*/ 1728716 w 2984311"/>
                <a:gd name="connsiteY15" fmla="*/ 495869 h 782471"/>
                <a:gd name="connsiteX16" fmla="*/ 1724167 w 2984311"/>
                <a:gd name="connsiteY16" fmla="*/ 450376 h 782471"/>
                <a:gd name="connsiteX17" fmla="*/ 1699805 w 2984311"/>
                <a:gd name="connsiteY17" fmla="*/ 429247 h 782471"/>
                <a:gd name="connsiteX18" fmla="*/ 1665027 w 2984311"/>
                <a:gd name="connsiteY18" fmla="*/ 376271 h 782471"/>
                <a:gd name="connsiteX19" fmla="*/ 1610360 w 2984311"/>
                <a:gd name="connsiteY19" fmla="*/ 330703 h 782471"/>
                <a:gd name="connsiteX20" fmla="*/ 1534939 w 2984311"/>
                <a:gd name="connsiteY20" fmla="*/ 297317 h 782471"/>
                <a:gd name="connsiteX21" fmla="*/ 1418199 w 2984311"/>
                <a:gd name="connsiteY21" fmla="*/ 277355 h 782471"/>
                <a:gd name="connsiteX22" fmla="*/ 1260293 w 2984311"/>
                <a:gd name="connsiteY22" fmla="*/ 230471 h 782471"/>
                <a:gd name="connsiteX23" fmla="*/ 1219200 w 2984311"/>
                <a:gd name="connsiteY23" fmla="*/ 254758 h 782471"/>
                <a:gd name="connsiteX24" fmla="*/ 1073624 w 2984311"/>
                <a:gd name="connsiteY24" fmla="*/ 304800 h 782471"/>
                <a:gd name="connsiteX25" fmla="*/ 950345 w 2984311"/>
                <a:gd name="connsiteY25" fmla="*/ 306341 h 782471"/>
                <a:gd name="connsiteX26" fmla="*/ 832813 w 2984311"/>
                <a:gd name="connsiteY26" fmla="*/ 316981 h 782471"/>
                <a:gd name="connsiteX27" fmla="*/ 641445 w 2984311"/>
                <a:gd name="connsiteY27" fmla="*/ 291152 h 782471"/>
                <a:gd name="connsiteX28" fmla="*/ 476280 w 2984311"/>
                <a:gd name="connsiteY28" fmla="*/ 286379 h 782471"/>
                <a:gd name="connsiteX29" fmla="*/ 459474 w 2984311"/>
                <a:gd name="connsiteY29" fmla="*/ 254758 h 782471"/>
                <a:gd name="connsiteX30" fmla="*/ 432179 w 2984311"/>
                <a:gd name="connsiteY30" fmla="*/ 236561 h 782471"/>
                <a:gd name="connsiteX31" fmla="*/ 423080 w 2984311"/>
                <a:gd name="connsiteY31" fmla="*/ 222913 h 782471"/>
                <a:gd name="connsiteX32" fmla="*/ 404883 w 2984311"/>
                <a:gd name="connsiteY32" fmla="*/ 213815 h 782471"/>
                <a:gd name="connsiteX33" fmla="*/ 391236 w 2984311"/>
                <a:gd name="connsiteY33" fmla="*/ 204716 h 782471"/>
                <a:gd name="connsiteX34" fmla="*/ 348976 w 2984311"/>
                <a:gd name="connsiteY34" fmla="*/ 150350 h 782471"/>
                <a:gd name="connsiteX35" fmla="*/ 304950 w 2984311"/>
                <a:gd name="connsiteY35" fmla="*/ 107865 h 782471"/>
                <a:gd name="connsiteX36" fmla="*/ 218364 w 2984311"/>
                <a:gd name="connsiteY36" fmla="*/ 54741 h 782471"/>
                <a:gd name="connsiteX37" fmla="*/ 142718 w 2984311"/>
                <a:gd name="connsiteY37" fmla="*/ 25979 h 782471"/>
                <a:gd name="connsiteX38" fmla="*/ 0 w 2984311"/>
                <a:gd name="connsiteY38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20369 w 2984311"/>
                <a:gd name="connsiteY5" fmla="*/ 491319 h 782471"/>
                <a:gd name="connsiteX6" fmla="*/ 2370161 w 2984311"/>
                <a:gd name="connsiteY6" fmla="*/ 459475 h 782471"/>
                <a:gd name="connsiteX7" fmla="*/ 2247331 w 2984311"/>
                <a:gd name="connsiteY7" fmla="*/ 413982 h 782471"/>
                <a:gd name="connsiteX8" fmla="*/ 2233683 w 2984311"/>
                <a:gd name="connsiteY8" fmla="*/ 409433 h 782471"/>
                <a:gd name="connsiteX9" fmla="*/ 2197290 w 2984311"/>
                <a:gd name="connsiteY9" fmla="*/ 423081 h 782471"/>
                <a:gd name="connsiteX10" fmla="*/ 2056263 w 2984311"/>
                <a:gd name="connsiteY10" fmla="*/ 477672 h 782471"/>
                <a:gd name="connsiteX11" fmla="*/ 1969827 w 2984311"/>
                <a:gd name="connsiteY11" fmla="*/ 468573 h 782471"/>
                <a:gd name="connsiteX12" fmla="*/ 1883391 w 2984311"/>
                <a:gd name="connsiteY12" fmla="*/ 477672 h 782471"/>
                <a:gd name="connsiteX13" fmla="*/ 1796955 w 2984311"/>
                <a:gd name="connsiteY13" fmla="*/ 527713 h 782471"/>
                <a:gd name="connsiteX14" fmla="*/ 1733266 w 2984311"/>
                <a:gd name="connsiteY14" fmla="*/ 509516 h 782471"/>
                <a:gd name="connsiteX15" fmla="*/ 1728716 w 2984311"/>
                <a:gd name="connsiteY15" fmla="*/ 495869 h 782471"/>
                <a:gd name="connsiteX16" fmla="*/ 1724167 w 2984311"/>
                <a:gd name="connsiteY16" fmla="*/ 450376 h 782471"/>
                <a:gd name="connsiteX17" fmla="*/ 1699805 w 2984311"/>
                <a:gd name="connsiteY17" fmla="*/ 429247 h 782471"/>
                <a:gd name="connsiteX18" fmla="*/ 1665027 w 2984311"/>
                <a:gd name="connsiteY18" fmla="*/ 376271 h 782471"/>
                <a:gd name="connsiteX19" fmla="*/ 1610360 w 2984311"/>
                <a:gd name="connsiteY19" fmla="*/ 330703 h 782471"/>
                <a:gd name="connsiteX20" fmla="*/ 1534939 w 2984311"/>
                <a:gd name="connsiteY20" fmla="*/ 297317 h 782471"/>
                <a:gd name="connsiteX21" fmla="*/ 1418199 w 2984311"/>
                <a:gd name="connsiteY21" fmla="*/ 277355 h 782471"/>
                <a:gd name="connsiteX22" fmla="*/ 1260293 w 2984311"/>
                <a:gd name="connsiteY22" fmla="*/ 230471 h 782471"/>
                <a:gd name="connsiteX23" fmla="*/ 1219200 w 2984311"/>
                <a:gd name="connsiteY23" fmla="*/ 254758 h 782471"/>
                <a:gd name="connsiteX24" fmla="*/ 1073624 w 2984311"/>
                <a:gd name="connsiteY24" fmla="*/ 304800 h 782471"/>
                <a:gd name="connsiteX25" fmla="*/ 950345 w 2984311"/>
                <a:gd name="connsiteY25" fmla="*/ 306341 h 782471"/>
                <a:gd name="connsiteX26" fmla="*/ 832813 w 2984311"/>
                <a:gd name="connsiteY26" fmla="*/ 316981 h 782471"/>
                <a:gd name="connsiteX27" fmla="*/ 641445 w 2984311"/>
                <a:gd name="connsiteY27" fmla="*/ 291152 h 782471"/>
                <a:gd name="connsiteX28" fmla="*/ 476280 w 2984311"/>
                <a:gd name="connsiteY28" fmla="*/ 286379 h 782471"/>
                <a:gd name="connsiteX29" fmla="*/ 459474 w 2984311"/>
                <a:gd name="connsiteY29" fmla="*/ 254758 h 782471"/>
                <a:gd name="connsiteX30" fmla="*/ 432179 w 2984311"/>
                <a:gd name="connsiteY30" fmla="*/ 236561 h 782471"/>
                <a:gd name="connsiteX31" fmla="*/ 423080 w 2984311"/>
                <a:gd name="connsiteY31" fmla="*/ 222913 h 782471"/>
                <a:gd name="connsiteX32" fmla="*/ 404883 w 2984311"/>
                <a:gd name="connsiteY32" fmla="*/ 213815 h 782471"/>
                <a:gd name="connsiteX33" fmla="*/ 391236 w 2984311"/>
                <a:gd name="connsiteY33" fmla="*/ 204716 h 782471"/>
                <a:gd name="connsiteX34" fmla="*/ 304950 w 2984311"/>
                <a:gd name="connsiteY34" fmla="*/ 107865 h 782471"/>
                <a:gd name="connsiteX35" fmla="*/ 218364 w 2984311"/>
                <a:gd name="connsiteY35" fmla="*/ 54741 h 782471"/>
                <a:gd name="connsiteX36" fmla="*/ 142718 w 2984311"/>
                <a:gd name="connsiteY36" fmla="*/ 25979 h 782471"/>
                <a:gd name="connsiteX37" fmla="*/ 0 w 2984311"/>
                <a:gd name="connsiteY37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20369 w 2984311"/>
                <a:gd name="connsiteY5" fmla="*/ 491319 h 782471"/>
                <a:gd name="connsiteX6" fmla="*/ 2370161 w 2984311"/>
                <a:gd name="connsiteY6" fmla="*/ 459475 h 782471"/>
                <a:gd name="connsiteX7" fmla="*/ 2247331 w 2984311"/>
                <a:gd name="connsiteY7" fmla="*/ 413982 h 782471"/>
                <a:gd name="connsiteX8" fmla="*/ 2233683 w 2984311"/>
                <a:gd name="connsiteY8" fmla="*/ 409433 h 782471"/>
                <a:gd name="connsiteX9" fmla="*/ 2197290 w 2984311"/>
                <a:gd name="connsiteY9" fmla="*/ 423081 h 782471"/>
                <a:gd name="connsiteX10" fmla="*/ 2056263 w 2984311"/>
                <a:gd name="connsiteY10" fmla="*/ 477672 h 782471"/>
                <a:gd name="connsiteX11" fmla="*/ 1969827 w 2984311"/>
                <a:gd name="connsiteY11" fmla="*/ 468573 h 782471"/>
                <a:gd name="connsiteX12" fmla="*/ 1883391 w 2984311"/>
                <a:gd name="connsiteY12" fmla="*/ 477672 h 782471"/>
                <a:gd name="connsiteX13" fmla="*/ 1796955 w 2984311"/>
                <a:gd name="connsiteY13" fmla="*/ 527713 h 782471"/>
                <a:gd name="connsiteX14" fmla="*/ 1733266 w 2984311"/>
                <a:gd name="connsiteY14" fmla="*/ 509516 h 782471"/>
                <a:gd name="connsiteX15" fmla="*/ 1728716 w 2984311"/>
                <a:gd name="connsiteY15" fmla="*/ 495869 h 782471"/>
                <a:gd name="connsiteX16" fmla="*/ 1724167 w 2984311"/>
                <a:gd name="connsiteY16" fmla="*/ 450376 h 782471"/>
                <a:gd name="connsiteX17" fmla="*/ 1699805 w 2984311"/>
                <a:gd name="connsiteY17" fmla="*/ 429247 h 782471"/>
                <a:gd name="connsiteX18" fmla="*/ 1665027 w 2984311"/>
                <a:gd name="connsiteY18" fmla="*/ 376271 h 782471"/>
                <a:gd name="connsiteX19" fmla="*/ 1610360 w 2984311"/>
                <a:gd name="connsiteY19" fmla="*/ 330703 h 782471"/>
                <a:gd name="connsiteX20" fmla="*/ 1534939 w 2984311"/>
                <a:gd name="connsiteY20" fmla="*/ 297317 h 782471"/>
                <a:gd name="connsiteX21" fmla="*/ 1418199 w 2984311"/>
                <a:gd name="connsiteY21" fmla="*/ 277355 h 782471"/>
                <a:gd name="connsiteX22" fmla="*/ 1260293 w 2984311"/>
                <a:gd name="connsiteY22" fmla="*/ 230471 h 782471"/>
                <a:gd name="connsiteX23" fmla="*/ 1219200 w 2984311"/>
                <a:gd name="connsiteY23" fmla="*/ 254758 h 782471"/>
                <a:gd name="connsiteX24" fmla="*/ 1073624 w 2984311"/>
                <a:gd name="connsiteY24" fmla="*/ 304800 h 782471"/>
                <a:gd name="connsiteX25" fmla="*/ 950345 w 2984311"/>
                <a:gd name="connsiteY25" fmla="*/ 306341 h 782471"/>
                <a:gd name="connsiteX26" fmla="*/ 832813 w 2984311"/>
                <a:gd name="connsiteY26" fmla="*/ 316981 h 782471"/>
                <a:gd name="connsiteX27" fmla="*/ 641445 w 2984311"/>
                <a:gd name="connsiteY27" fmla="*/ 291152 h 782471"/>
                <a:gd name="connsiteX28" fmla="*/ 476280 w 2984311"/>
                <a:gd name="connsiteY28" fmla="*/ 286379 h 782471"/>
                <a:gd name="connsiteX29" fmla="*/ 459474 w 2984311"/>
                <a:gd name="connsiteY29" fmla="*/ 254758 h 782471"/>
                <a:gd name="connsiteX30" fmla="*/ 432179 w 2984311"/>
                <a:gd name="connsiteY30" fmla="*/ 236561 h 782471"/>
                <a:gd name="connsiteX31" fmla="*/ 423080 w 2984311"/>
                <a:gd name="connsiteY31" fmla="*/ 222913 h 782471"/>
                <a:gd name="connsiteX32" fmla="*/ 404883 w 2984311"/>
                <a:gd name="connsiteY32" fmla="*/ 213815 h 782471"/>
                <a:gd name="connsiteX33" fmla="*/ 373189 w 2984311"/>
                <a:gd name="connsiteY33" fmla="*/ 171629 h 782471"/>
                <a:gd name="connsiteX34" fmla="*/ 304950 w 2984311"/>
                <a:gd name="connsiteY34" fmla="*/ 107865 h 782471"/>
                <a:gd name="connsiteX35" fmla="*/ 218364 w 2984311"/>
                <a:gd name="connsiteY35" fmla="*/ 54741 h 782471"/>
                <a:gd name="connsiteX36" fmla="*/ 142718 w 2984311"/>
                <a:gd name="connsiteY36" fmla="*/ 25979 h 782471"/>
                <a:gd name="connsiteX37" fmla="*/ 0 w 2984311"/>
                <a:gd name="connsiteY37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20369 w 2984311"/>
                <a:gd name="connsiteY5" fmla="*/ 491319 h 782471"/>
                <a:gd name="connsiteX6" fmla="*/ 2370161 w 2984311"/>
                <a:gd name="connsiteY6" fmla="*/ 459475 h 782471"/>
                <a:gd name="connsiteX7" fmla="*/ 2247331 w 2984311"/>
                <a:gd name="connsiteY7" fmla="*/ 413982 h 782471"/>
                <a:gd name="connsiteX8" fmla="*/ 2233683 w 2984311"/>
                <a:gd name="connsiteY8" fmla="*/ 409433 h 782471"/>
                <a:gd name="connsiteX9" fmla="*/ 2197290 w 2984311"/>
                <a:gd name="connsiteY9" fmla="*/ 423081 h 782471"/>
                <a:gd name="connsiteX10" fmla="*/ 2056263 w 2984311"/>
                <a:gd name="connsiteY10" fmla="*/ 477672 h 782471"/>
                <a:gd name="connsiteX11" fmla="*/ 1969827 w 2984311"/>
                <a:gd name="connsiteY11" fmla="*/ 468573 h 782471"/>
                <a:gd name="connsiteX12" fmla="*/ 1883391 w 2984311"/>
                <a:gd name="connsiteY12" fmla="*/ 477672 h 782471"/>
                <a:gd name="connsiteX13" fmla="*/ 1796955 w 2984311"/>
                <a:gd name="connsiteY13" fmla="*/ 527713 h 782471"/>
                <a:gd name="connsiteX14" fmla="*/ 1733266 w 2984311"/>
                <a:gd name="connsiteY14" fmla="*/ 509516 h 782471"/>
                <a:gd name="connsiteX15" fmla="*/ 1728716 w 2984311"/>
                <a:gd name="connsiteY15" fmla="*/ 495869 h 782471"/>
                <a:gd name="connsiteX16" fmla="*/ 1724167 w 2984311"/>
                <a:gd name="connsiteY16" fmla="*/ 450376 h 782471"/>
                <a:gd name="connsiteX17" fmla="*/ 1699805 w 2984311"/>
                <a:gd name="connsiteY17" fmla="*/ 429247 h 782471"/>
                <a:gd name="connsiteX18" fmla="*/ 1665027 w 2984311"/>
                <a:gd name="connsiteY18" fmla="*/ 376271 h 782471"/>
                <a:gd name="connsiteX19" fmla="*/ 1610360 w 2984311"/>
                <a:gd name="connsiteY19" fmla="*/ 330703 h 782471"/>
                <a:gd name="connsiteX20" fmla="*/ 1534939 w 2984311"/>
                <a:gd name="connsiteY20" fmla="*/ 297317 h 782471"/>
                <a:gd name="connsiteX21" fmla="*/ 1418199 w 2984311"/>
                <a:gd name="connsiteY21" fmla="*/ 277355 h 782471"/>
                <a:gd name="connsiteX22" fmla="*/ 1260293 w 2984311"/>
                <a:gd name="connsiteY22" fmla="*/ 230471 h 782471"/>
                <a:gd name="connsiteX23" fmla="*/ 1219200 w 2984311"/>
                <a:gd name="connsiteY23" fmla="*/ 254758 h 782471"/>
                <a:gd name="connsiteX24" fmla="*/ 1073624 w 2984311"/>
                <a:gd name="connsiteY24" fmla="*/ 304800 h 782471"/>
                <a:gd name="connsiteX25" fmla="*/ 950345 w 2984311"/>
                <a:gd name="connsiteY25" fmla="*/ 306341 h 782471"/>
                <a:gd name="connsiteX26" fmla="*/ 832813 w 2984311"/>
                <a:gd name="connsiteY26" fmla="*/ 316981 h 782471"/>
                <a:gd name="connsiteX27" fmla="*/ 641445 w 2984311"/>
                <a:gd name="connsiteY27" fmla="*/ 291152 h 782471"/>
                <a:gd name="connsiteX28" fmla="*/ 476280 w 2984311"/>
                <a:gd name="connsiteY28" fmla="*/ 286379 h 782471"/>
                <a:gd name="connsiteX29" fmla="*/ 459474 w 2984311"/>
                <a:gd name="connsiteY29" fmla="*/ 254758 h 782471"/>
                <a:gd name="connsiteX30" fmla="*/ 432179 w 2984311"/>
                <a:gd name="connsiteY30" fmla="*/ 236561 h 782471"/>
                <a:gd name="connsiteX31" fmla="*/ 423080 w 2984311"/>
                <a:gd name="connsiteY31" fmla="*/ 222913 h 782471"/>
                <a:gd name="connsiteX32" fmla="*/ 373189 w 2984311"/>
                <a:gd name="connsiteY32" fmla="*/ 171629 h 782471"/>
                <a:gd name="connsiteX33" fmla="*/ 304950 w 2984311"/>
                <a:gd name="connsiteY33" fmla="*/ 107865 h 782471"/>
                <a:gd name="connsiteX34" fmla="*/ 218364 w 2984311"/>
                <a:gd name="connsiteY34" fmla="*/ 54741 h 782471"/>
                <a:gd name="connsiteX35" fmla="*/ 142718 w 2984311"/>
                <a:gd name="connsiteY35" fmla="*/ 25979 h 782471"/>
                <a:gd name="connsiteX36" fmla="*/ 0 w 2984311"/>
                <a:gd name="connsiteY36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20369 w 2984311"/>
                <a:gd name="connsiteY5" fmla="*/ 491319 h 782471"/>
                <a:gd name="connsiteX6" fmla="*/ 2370161 w 2984311"/>
                <a:gd name="connsiteY6" fmla="*/ 459475 h 782471"/>
                <a:gd name="connsiteX7" fmla="*/ 2247331 w 2984311"/>
                <a:gd name="connsiteY7" fmla="*/ 413982 h 782471"/>
                <a:gd name="connsiteX8" fmla="*/ 2233683 w 2984311"/>
                <a:gd name="connsiteY8" fmla="*/ 409433 h 782471"/>
                <a:gd name="connsiteX9" fmla="*/ 2197290 w 2984311"/>
                <a:gd name="connsiteY9" fmla="*/ 423081 h 782471"/>
                <a:gd name="connsiteX10" fmla="*/ 2056263 w 2984311"/>
                <a:gd name="connsiteY10" fmla="*/ 477672 h 782471"/>
                <a:gd name="connsiteX11" fmla="*/ 1969827 w 2984311"/>
                <a:gd name="connsiteY11" fmla="*/ 468573 h 782471"/>
                <a:gd name="connsiteX12" fmla="*/ 1883391 w 2984311"/>
                <a:gd name="connsiteY12" fmla="*/ 477672 h 782471"/>
                <a:gd name="connsiteX13" fmla="*/ 1796955 w 2984311"/>
                <a:gd name="connsiteY13" fmla="*/ 527713 h 782471"/>
                <a:gd name="connsiteX14" fmla="*/ 1733266 w 2984311"/>
                <a:gd name="connsiteY14" fmla="*/ 509516 h 782471"/>
                <a:gd name="connsiteX15" fmla="*/ 1728716 w 2984311"/>
                <a:gd name="connsiteY15" fmla="*/ 495869 h 782471"/>
                <a:gd name="connsiteX16" fmla="*/ 1724167 w 2984311"/>
                <a:gd name="connsiteY16" fmla="*/ 450376 h 782471"/>
                <a:gd name="connsiteX17" fmla="*/ 1699805 w 2984311"/>
                <a:gd name="connsiteY17" fmla="*/ 429247 h 782471"/>
                <a:gd name="connsiteX18" fmla="*/ 1665027 w 2984311"/>
                <a:gd name="connsiteY18" fmla="*/ 376271 h 782471"/>
                <a:gd name="connsiteX19" fmla="*/ 1610360 w 2984311"/>
                <a:gd name="connsiteY19" fmla="*/ 330703 h 782471"/>
                <a:gd name="connsiteX20" fmla="*/ 1534939 w 2984311"/>
                <a:gd name="connsiteY20" fmla="*/ 297317 h 782471"/>
                <a:gd name="connsiteX21" fmla="*/ 1418199 w 2984311"/>
                <a:gd name="connsiteY21" fmla="*/ 277355 h 782471"/>
                <a:gd name="connsiteX22" fmla="*/ 1260293 w 2984311"/>
                <a:gd name="connsiteY22" fmla="*/ 230471 h 782471"/>
                <a:gd name="connsiteX23" fmla="*/ 1219200 w 2984311"/>
                <a:gd name="connsiteY23" fmla="*/ 254758 h 782471"/>
                <a:gd name="connsiteX24" fmla="*/ 1073624 w 2984311"/>
                <a:gd name="connsiteY24" fmla="*/ 304800 h 782471"/>
                <a:gd name="connsiteX25" fmla="*/ 950345 w 2984311"/>
                <a:gd name="connsiteY25" fmla="*/ 306341 h 782471"/>
                <a:gd name="connsiteX26" fmla="*/ 832813 w 2984311"/>
                <a:gd name="connsiteY26" fmla="*/ 316981 h 782471"/>
                <a:gd name="connsiteX27" fmla="*/ 641445 w 2984311"/>
                <a:gd name="connsiteY27" fmla="*/ 291152 h 782471"/>
                <a:gd name="connsiteX28" fmla="*/ 476280 w 2984311"/>
                <a:gd name="connsiteY28" fmla="*/ 286379 h 782471"/>
                <a:gd name="connsiteX29" fmla="*/ 459474 w 2984311"/>
                <a:gd name="connsiteY29" fmla="*/ 254758 h 782471"/>
                <a:gd name="connsiteX30" fmla="*/ 432179 w 2984311"/>
                <a:gd name="connsiteY30" fmla="*/ 236561 h 782471"/>
                <a:gd name="connsiteX31" fmla="*/ 408040 w 2984311"/>
                <a:gd name="connsiteY31" fmla="*/ 204866 h 782471"/>
                <a:gd name="connsiteX32" fmla="*/ 373189 w 2984311"/>
                <a:gd name="connsiteY32" fmla="*/ 171629 h 782471"/>
                <a:gd name="connsiteX33" fmla="*/ 304950 w 2984311"/>
                <a:gd name="connsiteY33" fmla="*/ 107865 h 782471"/>
                <a:gd name="connsiteX34" fmla="*/ 218364 w 2984311"/>
                <a:gd name="connsiteY34" fmla="*/ 54741 h 782471"/>
                <a:gd name="connsiteX35" fmla="*/ 142718 w 2984311"/>
                <a:gd name="connsiteY35" fmla="*/ 25979 h 782471"/>
                <a:gd name="connsiteX36" fmla="*/ 0 w 2984311"/>
                <a:gd name="connsiteY36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20369 w 2984311"/>
                <a:gd name="connsiteY5" fmla="*/ 491319 h 782471"/>
                <a:gd name="connsiteX6" fmla="*/ 2370161 w 2984311"/>
                <a:gd name="connsiteY6" fmla="*/ 459475 h 782471"/>
                <a:gd name="connsiteX7" fmla="*/ 2247331 w 2984311"/>
                <a:gd name="connsiteY7" fmla="*/ 413982 h 782471"/>
                <a:gd name="connsiteX8" fmla="*/ 2233683 w 2984311"/>
                <a:gd name="connsiteY8" fmla="*/ 409433 h 782471"/>
                <a:gd name="connsiteX9" fmla="*/ 2197290 w 2984311"/>
                <a:gd name="connsiteY9" fmla="*/ 423081 h 782471"/>
                <a:gd name="connsiteX10" fmla="*/ 2056263 w 2984311"/>
                <a:gd name="connsiteY10" fmla="*/ 477672 h 782471"/>
                <a:gd name="connsiteX11" fmla="*/ 1969827 w 2984311"/>
                <a:gd name="connsiteY11" fmla="*/ 468573 h 782471"/>
                <a:gd name="connsiteX12" fmla="*/ 1883391 w 2984311"/>
                <a:gd name="connsiteY12" fmla="*/ 477672 h 782471"/>
                <a:gd name="connsiteX13" fmla="*/ 1796955 w 2984311"/>
                <a:gd name="connsiteY13" fmla="*/ 527713 h 782471"/>
                <a:gd name="connsiteX14" fmla="*/ 1733266 w 2984311"/>
                <a:gd name="connsiteY14" fmla="*/ 509516 h 782471"/>
                <a:gd name="connsiteX15" fmla="*/ 1728716 w 2984311"/>
                <a:gd name="connsiteY15" fmla="*/ 495869 h 782471"/>
                <a:gd name="connsiteX16" fmla="*/ 1724167 w 2984311"/>
                <a:gd name="connsiteY16" fmla="*/ 450376 h 782471"/>
                <a:gd name="connsiteX17" fmla="*/ 1699805 w 2984311"/>
                <a:gd name="connsiteY17" fmla="*/ 429247 h 782471"/>
                <a:gd name="connsiteX18" fmla="*/ 1665027 w 2984311"/>
                <a:gd name="connsiteY18" fmla="*/ 376271 h 782471"/>
                <a:gd name="connsiteX19" fmla="*/ 1610360 w 2984311"/>
                <a:gd name="connsiteY19" fmla="*/ 330703 h 782471"/>
                <a:gd name="connsiteX20" fmla="*/ 1534939 w 2984311"/>
                <a:gd name="connsiteY20" fmla="*/ 297317 h 782471"/>
                <a:gd name="connsiteX21" fmla="*/ 1418199 w 2984311"/>
                <a:gd name="connsiteY21" fmla="*/ 277355 h 782471"/>
                <a:gd name="connsiteX22" fmla="*/ 1260293 w 2984311"/>
                <a:gd name="connsiteY22" fmla="*/ 230471 h 782471"/>
                <a:gd name="connsiteX23" fmla="*/ 1219200 w 2984311"/>
                <a:gd name="connsiteY23" fmla="*/ 254758 h 782471"/>
                <a:gd name="connsiteX24" fmla="*/ 1073624 w 2984311"/>
                <a:gd name="connsiteY24" fmla="*/ 304800 h 782471"/>
                <a:gd name="connsiteX25" fmla="*/ 950345 w 2984311"/>
                <a:gd name="connsiteY25" fmla="*/ 306341 h 782471"/>
                <a:gd name="connsiteX26" fmla="*/ 832813 w 2984311"/>
                <a:gd name="connsiteY26" fmla="*/ 316981 h 782471"/>
                <a:gd name="connsiteX27" fmla="*/ 641445 w 2984311"/>
                <a:gd name="connsiteY27" fmla="*/ 291152 h 782471"/>
                <a:gd name="connsiteX28" fmla="*/ 476280 w 2984311"/>
                <a:gd name="connsiteY28" fmla="*/ 286379 h 782471"/>
                <a:gd name="connsiteX29" fmla="*/ 459474 w 2984311"/>
                <a:gd name="connsiteY29" fmla="*/ 254758 h 782471"/>
                <a:gd name="connsiteX30" fmla="*/ 432179 w 2984311"/>
                <a:gd name="connsiteY30" fmla="*/ 236561 h 782471"/>
                <a:gd name="connsiteX31" fmla="*/ 373189 w 2984311"/>
                <a:gd name="connsiteY31" fmla="*/ 171629 h 782471"/>
                <a:gd name="connsiteX32" fmla="*/ 304950 w 2984311"/>
                <a:gd name="connsiteY32" fmla="*/ 107865 h 782471"/>
                <a:gd name="connsiteX33" fmla="*/ 218364 w 2984311"/>
                <a:gd name="connsiteY33" fmla="*/ 54741 h 782471"/>
                <a:gd name="connsiteX34" fmla="*/ 142718 w 2984311"/>
                <a:gd name="connsiteY34" fmla="*/ 25979 h 782471"/>
                <a:gd name="connsiteX35" fmla="*/ 0 w 2984311"/>
                <a:gd name="connsiteY35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20369 w 2984311"/>
                <a:gd name="connsiteY5" fmla="*/ 491319 h 782471"/>
                <a:gd name="connsiteX6" fmla="*/ 2370161 w 2984311"/>
                <a:gd name="connsiteY6" fmla="*/ 459475 h 782471"/>
                <a:gd name="connsiteX7" fmla="*/ 2247331 w 2984311"/>
                <a:gd name="connsiteY7" fmla="*/ 413982 h 782471"/>
                <a:gd name="connsiteX8" fmla="*/ 2233683 w 2984311"/>
                <a:gd name="connsiteY8" fmla="*/ 409433 h 782471"/>
                <a:gd name="connsiteX9" fmla="*/ 2197290 w 2984311"/>
                <a:gd name="connsiteY9" fmla="*/ 423081 h 782471"/>
                <a:gd name="connsiteX10" fmla="*/ 2056263 w 2984311"/>
                <a:gd name="connsiteY10" fmla="*/ 477672 h 782471"/>
                <a:gd name="connsiteX11" fmla="*/ 1969827 w 2984311"/>
                <a:gd name="connsiteY11" fmla="*/ 468573 h 782471"/>
                <a:gd name="connsiteX12" fmla="*/ 1883391 w 2984311"/>
                <a:gd name="connsiteY12" fmla="*/ 477672 h 782471"/>
                <a:gd name="connsiteX13" fmla="*/ 1796955 w 2984311"/>
                <a:gd name="connsiteY13" fmla="*/ 527713 h 782471"/>
                <a:gd name="connsiteX14" fmla="*/ 1733266 w 2984311"/>
                <a:gd name="connsiteY14" fmla="*/ 509516 h 782471"/>
                <a:gd name="connsiteX15" fmla="*/ 1728716 w 2984311"/>
                <a:gd name="connsiteY15" fmla="*/ 495869 h 782471"/>
                <a:gd name="connsiteX16" fmla="*/ 1724167 w 2984311"/>
                <a:gd name="connsiteY16" fmla="*/ 450376 h 782471"/>
                <a:gd name="connsiteX17" fmla="*/ 1699805 w 2984311"/>
                <a:gd name="connsiteY17" fmla="*/ 429247 h 782471"/>
                <a:gd name="connsiteX18" fmla="*/ 1665027 w 2984311"/>
                <a:gd name="connsiteY18" fmla="*/ 376271 h 782471"/>
                <a:gd name="connsiteX19" fmla="*/ 1610360 w 2984311"/>
                <a:gd name="connsiteY19" fmla="*/ 330703 h 782471"/>
                <a:gd name="connsiteX20" fmla="*/ 1534939 w 2984311"/>
                <a:gd name="connsiteY20" fmla="*/ 297317 h 782471"/>
                <a:gd name="connsiteX21" fmla="*/ 1418199 w 2984311"/>
                <a:gd name="connsiteY21" fmla="*/ 277355 h 782471"/>
                <a:gd name="connsiteX22" fmla="*/ 1260293 w 2984311"/>
                <a:gd name="connsiteY22" fmla="*/ 230471 h 782471"/>
                <a:gd name="connsiteX23" fmla="*/ 1219200 w 2984311"/>
                <a:gd name="connsiteY23" fmla="*/ 254758 h 782471"/>
                <a:gd name="connsiteX24" fmla="*/ 1073624 w 2984311"/>
                <a:gd name="connsiteY24" fmla="*/ 304800 h 782471"/>
                <a:gd name="connsiteX25" fmla="*/ 950345 w 2984311"/>
                <a:gd name="connsiteY25" fmla="*/ 306341 h 782471"/>
                <a:gd name="connsiteX26" fmla="*/ 832813 w 2984311"/>
                <a:gd name="connsiteY26" fmla="*/ 316981 h 782471"/>
                <a:gd name="connsiteX27" fmla="*/ 641445 w 2984311"/>
                <a:gd name="connsiteY27" fmla="*/ 291152 h 782471"/>
                <a:gd name="connsiteX28" fmla="*/ 476280 w 2984311"/>
                <a:gd name="connsiteY28" fmla="*/ 286379 h 782471"/>
                <a:gd name="connsiteX29" fmla="*/ 459474 w 2984311"/>
                <a:gd name="connsiteY29" fmla="*/ 254758 h 782471"/>
                <a:gd name="connsiteX30" fmla="*/ 417139 w 2984311"/>
                <a:gd name="connsiteY30" fmla="*/ 218513 h 782471"/>
                <a:gd name="connsiteX31" fmla="*/ 373189 w 2984311"/>
                <a:gd name="connsiteY31" fmla="*/ 171629 h 782471"/>
                <a:gd name="connsiteX32" fmla="*/ 304950 w 2984311"/>
                <a:gd name="connsiteY32" fmla="*/ 107865 h 782471"/>
                <a:gd name="connsiteX33" fmla="*/ 218364 w 2984311"/>
                <a:gd name="connsiteY33" fmla="*/ 54741 h 782471"/>
                <a:gd name="connsiteX34" fmla="*/ 142718 w 2984311"/>
                <a:gd name="connsiteY34" fmla="*/ 25979 h 782471"/>
                <a:gd name="connsiteX35" fmla="*/ 0 w 2984311"/>
                <a:gd name="connsiteY35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20369 w 2984311"/>
                <a:gd name="connsiteY5" fmla="*/ 491319 h 782471"/>
                <a:gd name="connsiteX6" fmla="*/ 2370161 w 2984311"/>
                <a:gd name="connsiteY6" fmla="*/ 459475 h 782471"/>
                <a:gd name="connsiteX7" fmla="*/ 2247331 w 2984311"/>
                <a:gd name="connsiteY7" fmla="*/ 413982 h 782471"/>
                <a:gd name="connsiteX8" fmla="*/ 2233683 w 2984311"/>
                <a:gd name="connsiteY8" fmla="*/ 409433 h 782471"/>
                <a:gd name="connsiteX9" fmla="*/ 2197290 w 2984311"/>
                <a:gd name="connsiteY9" fmla="*/ 423081 h 782471"/>
                <a:gd name="connsiteX10" fmla="*/ 2056263 w 2984311"/>
                <a:gd name="connsiteY10" fmla="*/ 477672 h 782471"/>
                <a:gd name="connsiteX11" fmla="*/ 1969827 w 2984311"/>
                <a:gd name="connsiteY11" fmla="*/ 468573 h 782471"/>
                <a:gd name="connsiteX12" fmla="*/ 1883391 w 2984311"/>
                <a:gd name="connsiteY12" fmla="*/ 477672 h 782471"/>
                <a:gd name="connsiteX13" fmla="*/ 1796955 w 2984311"/>
                <a:gd name="connsiteY13" fmla="*/ 527713 h 782471"/>
                <a:gd name="connsiteX14" fmla="*/ 1733266 w 2984311"/>
                <a:gd name="connsiteY14" fmla="*/ 509516 h 782471"/>
                <a:gd name="connsiteX15" fmla="*/ 1728716 w 2984311"/>
                <a:gd name="connsiteY15" fmla="*/ 495869 h 782471"/>
                <a:gd name="connsiteX16" fmla="*/ 1724167 w 2984311"/>
                <a:gd name="connsiteY16" fmla="*/ 450376 h 782471"/>
                <a:gd name="connsiteX17" fmla="*/ 1699805 w 2984311"/>
                <a:gd name="connsiteY17" fmla="*/ 429247 h 782471"/>
                <a:gd name="connsiteX18" fmla="*/ 1665027 w 2984311"/>
                <a:gd name="connsiteY18" fmla="*/ 376271 h 782471"/>
                <a:gd name="connsiteX19" fmla="*/ 1610360 w 2984311"/>
                <a:gd name="connsiteY19" fmla="*/ 330703 h 782471"/>
                <a:gd name="connsiteX20" fmla="*/ 1534939 w 2984311"/>
                <a:gd name="connsiteY20" fmla="*/ 297317 h 782471"/>
                <a:gd name="connsiteX21" fmla="*/ 1418199 w 2984311"/>
                <a:gd name="connsiteY21" fmla="*/ 277355 h 782471"/>
                <a:gd name="connsiteX22" fmla="*/ 1260293 w 2984311"/>
                <a:gd name="connsiteY22" fmla="*/ 230471 h 782471"/>
                <a:gd name="connsiteX23" fmla="*/ 1219200 w 2984311"/>
                <a:gd name="connsiteY23" fmla="*/ 254758 h 782471"/>
                <a:gd name="connsiteX24" fmla="*/ 1073624 w 2984311"/>
                <a:gd name="connsiteY24" fmla="*/ 304800 h 782471"/>
                <a:gd name="connsiteX25" fmla="*/ 950345 w 2984311"/>
                <a:gd name="connsiteY25" fmla="*/ 306341 h 782471"/>
                <a:gd name="connsiteX26" fmla="*/ 832813 w 2984311"/>
                <a:gd name="connsiteY26" fmla="*/ 316981 h 782471"/>
                <a:gd name="connsiteX27" fmla="*/ 641445 w 2984311"/>
                <a:gd name="connsiteY27" fmla="*/ 291152 h 782471"/>
                <a:gd name="connsiteX28" fmla="*/ 476280 w 2984311"/>
                <a:gd name="connsiteY28" fmla="*/ 286379 h 782471"/>
                <a:gd name="connsiteX29" fmla="*/ 459474 w 2984311"/>
                <a:gd name="connsiteY29" fmla="*/ 254758 h 782471"/>
                <a:gd name="connsiteX30" fmla="*/ 373189 w 2984311"/>
                <a:gd name="connsiteY30" fmla="*/ 171629 h 782471"/>
                <a:gd name="connsiteX31" fmla="*/ 304950 w 2984311"/>
                <a:gd name="connsiteY31" fmla="*/ 107865 h 782471"/>
                <a:gd name="connsiteX32" fmla="*/ 218364 w 2984311"/>
                <a:gd name="connsiteY32" fmla="*/ 54741 h 782471"/>
                <a:gd name="connsiteX33" fmla="*/ 142718 w 2984311"/>
                <a:gd name="connsiteY33" fmla="*/ 25979 h 782471"/>
                <a:gd name="connsiteX34" fmla="*/ 0 w 2984311"/>
                <a:gd name="connsiteY34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20369 w 2984311"/>
                <a:gd name="connsiteY5" fmla="*/ 491319 h 782471"/>
                <a:gd name="connsiteX6" fmla="*/ 2370161 w 2984311"/>
                <a:gd name="connsiteY6" fmla="*/ 459475 h 782471"/>
                <a:gd name="connsiteX7" fmla="*/ 2247331 w 2984311"/>
                <a:gd name="connsiteY7" fmla="*/ 413982 h 782471"/>
                <a:gd name="connsiteX8" fmla="*/ 2233683 w 2984311"/>
                <a:gd name="connsiteY8" fmla="*/ 409433 h 782471"/>
                <a:gd name="connsiteX9" fmla="*/ 2197290 w 2984311"/>
                <a:gd name="connsiteY9" fmla="*/ 423081 h 782471"/>
                <a:gd name="connsiteX10" fmla="*/ 2056263 w 2984311"/>
                <a:gd name="connsiteY10" fmla="*/ 477672 h 782471"/>
                <a:gd name="connsiteX11" fmla="*/ 1969827 w 2984311"/>
                <a:gd name="connsiteY11" fmla="*/ 468573 h 782471"/>
                <a:gd name="connsiteX12" fmla="*/ 1883391 w 2984311"/>
                <a:gd name="connsiteY12" fmla="*/ 477672 h 782471"/>
                <a:gd name="connsiteX13" fmla="*/ 1796955 w 2984311"/>
                <a:gd name="connsiteY13" fmla="*/ 527713 h 782471"/>
                <a:gd name="connsiteX14" fmla="*/ 1733266 w 2984311"/>
                <a:gd name="connsiteY14" fmla="*/ 509516 h 782471"/>
                <a:gd name="connsiteX15" fmla="*/ 1728716 w 2984311"/>
                <a:gd name="connsiteY15" fmla="*/ 495869 h 782471"/>
                <a:gd name="connsiteX16" fmla="*/ 1724167 w 2984311"/>
                <a:gd name="connsiteY16" fmla="*/ 450376 h 782471"/>
                <a:gd name="connsiteX17" fmla="*/ 1699805 w 2984311"/>
                <a:gd name="connsiteY17" fmla="*/ 429247 h 782471"/>
                <a:gd name="connsiteX18" fmla="*/ 1665027 w 2984311"/>
                <a:gd name="connsiteY18" fmla="*/ 376271 h 782471"/>
                <a:gd name="connsiteX19" fmla="*/ 1610360 w 2984311"/>
                <a:gd name="connsiteY19" fmla="*/ 330703 h 782471"/>
                <a:gd name="connsiteX20" fmla="*/ 1534939 w 2984311"/>
                <a:gd name="connsiteY20" fmla="*/ 297317 h 782471"/>
                <a:gd name="connsiteX21" fmla="*/ 1418199 w 2984311"/>
                <a:gd name="connsiteY21" fmla="*/ 277355 h 782471"/>
                <a:gd name="connsiteX22" fmla="*/ 1260293 w 2984311"/>
                <a:gd name="connsiteY22" fmla="*/ 230471 h 782471"/>
                <a:gd name="connsiteX23" fmla="*/ 1219200 w 2984311"/>
                <a:gd name="connsiteY23" fmla="*/ 254758 h 782471"/>
                <a:gd name="connsiteX24" fmla="*/ 1073624 w 2984311"/>
                <a:gd name="connsiteY24" fmla="*/ 304800 h 782471"/>
                <a:gd name="connsiteX25" fmla="*/ 950345 w 2984311"/>
                <a:gd name="connsiteY25" fmla="*/ 306341 h 782471"/>
                <a:gd name="connsiteX26" fmla="*/ 832813 w 2984311"/>
                <a:gd name="connsiteY26" fmla="*/ 316981 h 782471"/>
                <a:gd name="connsiteX27" fmla="*/ 641445 w 2984311"/>
                <a:gd name="connsiteY27" fmla="*/ 291152 h 782471"/>
                <a:gd name="connsiteX28" fmla="*/ 476280 w 2984311"/>
                <a:gd name="connsiteY28" fmla="*/ 286379 h 782471"/>
                <a:gd name="connsiteX29" fmla="*/ 459474 w 2984311"/>
                <a:gd name="connsiteY29" fmla="*/ 254758 h 782471"/>
                <a:gd name="connsiteX30" fmla="*/ 373189 w 2984311"/>
                <a:gd name="connsiteY30" fmla="*/ 171629 h 782471"/>
                <a:gd name="connsiteX31" fmla="*/ 298934 w 2984311"/>
                <a:gd name="connsiteY31" fmla="*/ 98841 h 782471"/>
                <a:gd name="connsiteX32" fmla="*/ 218364 w 2984311"/>
                <a:gd name="connsiteY32" fmla="*/ 54741 h 782471"/>
                <a:gd name="connsiteX33" fmla="*/ 142718 w 2984311"/>
                <a:gd name="connsiteY33" fmla="*/ 25979 h 782471"/>
                <a:gd name="connsiteX34" fmla="*/ 0 w 2984311"/>
                <a:gd name="connsiteY34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20369 w 2984311"/>
                <a:gd name="connsiteY5" fmla="*/ 491319 h 782471"/>
                <a:gd name="connsiteX6" fmla="*/ 2370161 w 2984311"/>
                <a:gd name="connsiteY6" fmla="*/ 459475 h 782471"/>
                <a:gd name="connsiteX7" fmla="*/ 2247331 w 2984311"/>
                <a:gd name="connsiteY7" fmla="*/ 413982 h 782471"/>
                <a:gd name="connsiteX8" fmla="*/ 2233683 w 2984311"/>
                <a:gd name="connsiteY8" fmla="*/ 409433 h 782471"/>
                <a:gd name="connsiteX9" fmla="*/ 2197290 w 2984311"/>
                <a:gd name="connsiteY9" fmla="*/ 423081 h 782471"/>
                <a:gd name="connsiteX10" fmla="*/ 2056263 w 2984311"/>
                <a:gd name="connsiteY10" fmla="*/ 477672 h 782471"/>
                <a:gd name="connsiteX11" fmla="*/ 1969827 w 2984311"/>
                <a:gd name="connsiteY11" fmla="*/ 468573 h 782471"/>
                <a:gd name="connsiteX12" fmla="*/ 1883391 w 2984311"/>
                <a:gd name="connsiteY12" fmla="*/ 477672 h 782471"/>
                <a:gd name="connsiteX13" fmla="*/ 1796955 w 2984311"/>
                <a:gd name="connsiteY13" fmla="*/ 527713 h 782471"/>
                <a:gd name="connsiteX14" fmla="*/ 1733266 w 2984311"/>
                <a:gd name="connsiteY14" fmla="*/ 509516 h 782471"/>
                <a:gd name="connsiteX15" fmla="*/ 1728716 w 2984311"/>
                <a:gd name="connsiteY15" fmla="*/ 495869 h 782471"/>
                <a:gd name="connsiteX16" fmla="*/ 1724167 w 2984311"/>
                <a:gd name="connsiteY16" fmla="*/ 450376 h 782471"/>
                <a:gd name="connsiteX17" fmla="*/ 1699805 w 2984311"/>
                <a:gd name="connsiteY17" fmla="*/ 429247 h 782471"/>
                <a:gd name="connsiteX18" fmla="*/ 1665027 w 2984311"/>
                <a:gd name="connsiteY18" fmla="*/ 376271 h 782471"/>
                <a:gd name="connsiteX19" fmla="*/ 1610360 w 2984311"/>
                <a:gd name="connsiteY19" fmla="*/ 330703 h 782471"/>
                <a:gd name="connsiteX20" fmla="*/ 1534939 w 2984311"/>
                <a:gd name="connsiteY20" fmla="*/ 297317 h 782471"/>
                <a:gd name="connsiteX21" fmla="*/ 1418199 w 2984311"/>
                <a:gd name="connsiteY21" fmla="*/ 277355 h 782471"/>
                <a:gd name="connsiteX22" fmla="*/ 1260293 w 2984311"/>
                <a:gd name="connsiteY22" fmla="*/ 230471 h 782471"/>
                <a:gd name="connsiteX23" fmla="*/ 1219200 w 2984311"/>
                <a:gd name="connsiteY23" fmla="*/ 254758 h 782471"/>
                <a:gd name="connsiteX24" fmla="*/ 1073624 w 2984311"/>
                <a:gd name="connsiteY24" fmla="*/ 304800 h 782471"/>
                <a:gd name="connsiteX25" fmla="*/ 950345 w 2984311"/>
                <a:gd name="connsiteY25" fmla="*/ 306341 h 782471"/>
                <a:gd name="connsiteX26" fmla="*/ 832813 w 2984311"/>
                <a:gd name="connsiteY26" fmla="*/ 316981 h 782471"/>
                <a:gd name="connsiteX27" fmla="*/ 641445 w 2984311"/>
                <a:gd name="connsiteY27" fmla="*/ 291152 h 782471"/>
                <a:gd name="connsiteX28" fmla="*/ 476280 w 2984311"/>
                <a:gd name="connsiteY28" fmla="*/ 286379 h 782471"/>
                <a:gd name="connsiteX29" fmla="*/ 459474 w 2984311"/>
                <a:gd name="connsiteY29" fmla="*/ 254758 h 782471"/>
                <a:gd name="connsiteX30" fmla="*/ 373189 w 2984311"/>
                <a:gd name="connsiteY30" fmla="*/ 171629 h 782471"/>
                <a:gd name="connsiteX31" fmla="*/ 298934 w 2984311"/>
                <a:gd name="connsiteY31" fmla="*/ 98841 h 782471"/>
                <a:gd name="connsiteX32" fmla="*/ 227388 w 2984311"/>
                <a:gd name="connsiteY32" fmla="*/ 48725 h 782471"/>
                <a:gd name="connsiteX33" fmla="*/ 142718 w 2984311"/>
                <a:gd name="connsiteY33" fmla="*/ 25979 h 782471"/>
                <a:gd name="connsiteX34" fmla="*/ 0 w 2984311"/>
                <a:gd name="connsiteY34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20369 w 2984311"/>
                <a:gd name="connsiteY5" fmla="*/ 491319 h 782471"/>
                <a:gd name="connsiteX6" fmla="*/ 2370161 w 2984311"/>
                <a:gd name="connsiteY6" fmla="*/ 459475 h 782471"/>
                <a:gd name="connsiteX7" fmla="*/ 2233683 w 2984311"/>
                <a:gd name="connsiteY7" fmla="*/ 409433 h 782471"/>
                <a:gd name="connsiteX8" fmla="*/ 2197290 w 2984311"/>
                <a:gd name="connsiteY8" fmla="*/ 423081 h 782471"/>
                <a:gd name="connsiteX9" fmla="*/ 2056263 w 2984311"/>
                <a:gd name="connsiteY9" fmla="*/ 477672 h 782471"/>
                <a:gd name="connsiteX10" fmla="*/ 1969827 w 2984311"/>
                <a:gd name="connsiteY10" fmla="*/ 468573 h 782471"/>
                <a:gd name="connsiteX11" fmla="*/ 1883391 w 2984311"/>
                <a:gd name="connsiteY11" fmla="*/ 477672 h 782471"/>
                <a:gd name="connsiteX12" fmla="*/ 1796955 w 2984311"/>
                <a:gd name="connsiteY12" fmla="*/ 527713 h 782471"/>
                <a:gd name="connsiteX13" fmla="*/ 1733266 w 2984311"/>
                <a:gd name="connsiteY13" fmla="*/ 509516 h 782471"/>
                <a:gd name="connsiteX14" fmla="*/ 1728716 w 2984311"/>
                <a:gd name="connsiteY14" fmla="*/ 495869 h 782471"/>
                <a:gd name="connsiteX15" fmla="*/ 1724167 w 2984311"/>
                <a:gd name="connsiteY15" fmla="*/ 450376 h 782471"/>
                <a:gd name="connsiteX16" fmla="*/ 1699805 w 2984311"/>
                <a:gd name="connsiteY16" fmla="*/ 429247 h 782471"/>
                <a:gd name="connsiteX17" fmla="*/ 1665027 w 2984311"/>
                <a:gd name="connsiteY17" fmla="*/ 376271 h 782471"/>
                <a:gd name="connsiteX18" fmla="*/ 1610360 w 2984311"/>
                <a:gd name="connsiteY18" fmla="*/ 330703 h 782471"/>
                <a:gd name="connsiteX19" fmla="*/ 1534939 w 2984311"/>
                <a:gd name="connsiteY19" fmla="*/ 297317 h 782471"/>
                <a:gd name="connsiteX20" fmla="*/ 1418199 w 2984311"/>
                <a:gd name="connsiteY20" fmla="*/ 277355 h 782471"/>
                <a:gd name="connsiteX21" fmla="*/ 1260293 w 2984311"/>
                <a:gd name="connsiteY21" fmla="*/ 230471 h 782471"/>
                <a:gd name="connsiteX22" fmla="*/ 1219200 w 2984311"/>
                <a:gd name="connsiteY22" fmla="*/ 254758 h 782471"/>
                <a:gd name="connsiteX23" fmla="*/ 1073624 w 2984311"/>
                <a:gd name="connsiteY23" fmla="*/ 304800 h 782471"/>
                <a:gd name="connsiteX24" fmla="*/ 950345 w 2984311"/>
                <a:gd name="connsiteY24" fmla="*/ 306341 h 782471"/>
                <a:gd name="connsiteX25" fmla="*/ 832813 w 2984311"/>
                <a:gd name="connsiteY25" fmla="*/ 316981 h 782471"/>
                <a:gd name="connsiteX26" fmla="*/ 641445 w 2984311"/>
                <a:gd name="connsiteY26" fmla="*/ 291152 h 782471"/>
                <a:gd name="connsiteX27" fmla="*/ 476280 w 2984311"/>
                <a:gd name="connsiteY27" fmla="*/ 286379 h 782471"/>
                <a:gd name="connsiteX28" fmla="*/ 459474 w 2984311"/>
                <a:gd name="connsiteY28" fmla="*/ 254758 h 782471"/>
                <a:gd name="connsiteX29" fmla="*/ 373189 w 2984311"/>
                <a:gd name="connsiteY29" fmla="*/ 171629 h 782471"/>
                <a:gd name="connsiteX30" fmla="*/ 298934 w 2984311"/>
                <a:gd name="connsiteY30" fmla="*/ 98841 h 782471"/>
                <a:gd name="connsiteX31" fmla="*/ 227388 w 2984311"/>
                <a:gd name="connsiteY31" fmla="*/ 48725 h 782471"/>
                <a:gd name="connsiteX32" fmla="*/ 142718 w 2984311"/>
                <a:gd name="connsiteY32" fmla="*/ 25979 h 782471"/>
                <a:gd name="connsiteX33" fmla="*/ 0 w 2984311"/>
                <a:gd name="connsiteY33" fmla="*/ 0 h 782471"/>
                <a:gd name="connsiteX0" fmla="*/ 2984311 w 2984311"/>
                <a:gd name="connsiteY0" fmla="*/ 782471 h 782471"/>
                <a:gd name="connsiteX1" fmla="*/ 2879678 w 2984311"/>
                <a:gd name="connsiteY1" fmla="*/ 709684 h 782471"/>
                <a:gd name="connsiteX2" fmla="*/ 2929718 w 2984311"/>
                <a:gd name="connsiteY2" fmla="*/ 550460 h 782471"/>
                <a:gd name="connsiteX3" fmla="*/ 2852381 w 2984311"/>
                <a:gd name="connsiteY3" fmla="*/ 518615 h 782471"/>
                <a:gd name="connsiteX4" fmla="*/ 2761397 w 2984311"/>
                <a:gd name="connsiteY4" fmla="*/ 514066 h 782471"/>
                <a:gd name="connsiteX5" fmla="*/ 2620369 w 2984311"/>
                <a:gd name="connsiteY5" fmla="*/ 491319 h 782471"/>
                <a:gd name="connsiteX6" fmla="*/ 2370161 w 2984311"/>
                <a:gd name="connsiteY6" fmla="*/ 459475 h 782471"/>
                <a:gd name="connsiteX7" fmla="*/ 2245715 w 2984311"/>
                <a:gd name="connsiteY7" fmla="*/ 400410 h 782471"/>
                <a:gd name="connsiteX8" fmla="*/ 2197290 w 2984311"/>
                <a:gd name="connsiteY8" fmla="*/ 423081 h 782471"/>
                <a:gd name="connsiteX9" fmla="*/ 2056263 w 2984311"/>
                <a:gd name="connsiteY9" fmla="*/ 477672 h 782471"/>
                <a:gd name="connsiteX10" fmla="*/ 1969827 w 2984311"/>
                <a:gd name="connsiteY10" fmla="*/ 468573 h 782471"/>
                <a:gd name="connsiteX11" fmla="*/ 1883391 w 2984311"/>
                <a:gd name="connsiteY11" fmla="*/ 477672 h 782471"/>
                <a:gd name="connsiteX12" fmla="*/ 1796955 w 2984311"/>
                <a:gd name="connsiteY12" fmla="*/ 527713 h 782471"/>
                <a:gd name="connsiteX13" fmla="*/ 1733266 w 2984311"/>
                <a:gd name="connsiteY13" fmla="*/ 509516 h 782471"/>
                <a:gd name="connsiteX14" fmla="*/ 1728716 w 2984311"/>
                <a:gd name="connsiteY14" fmla="*/ 495869 h 782471"/>
                <a:gd name="connsiteX15" fmla="*/ 1724167 w 2984311"/>
                <a:gd name="connsiteY15" fmla="*/ 450376 h 782471"/>
                <a:gd name="connsiteX16" fmla="*/ 1699805 w 2984311"/>
                <a:gd name="connsiteY16" fmla="*/ 429247 h 782471"/>
                <a:gd name="connsiteX17" fmla="*/ 1665027 w 2984311"/>
                <a:gd name="connsiteY17" fmla="*/ 376271 h 782471"/>
                <a:gd name="connsiteX18" fmla="*/ 1610360 w 2984311"/>
                <a:gd name="connsiteY18" fmla="*/ 330703 h 782471"/>
                <a:gd name="connsiteX19" fmla="*/ 1534939 w 2984311"/>
                <a:gd name="connsiteY19" fmla="*/ 297317 h 782471"/>
                <a:gd name="connsiteX20" fmla="*/ 1418199 w 2984311"/>
                <a:gd name="connsiteY20" fmla="*/ 277355 h 782471"/>
                <a:gd name="connsiteX21" fmla="*/ 1260293 w 2984311"/>
                <a:gd name="connsiteY21" fmla="*/ 230471 h 782471"/>
                <a:gd name="connsiteX22" fmla="*/ 1219200 w 2984311"/>
                <a:gd name="connsiteY22" fmla="*/ 254758 h 782471"/>
                <a:gd name="connsiteX23" fmla="*/ 1073624 w 2984311"/>
                <a:gd name="connsiteY23" fmla="*/ 304800 h 782471"/>
                <a:gd name="connsiteX24" fmla="*/ 950345 w 2984311"/>
                <a:gd name="connsiteY24" fmla="*/ 306341 h 782471"/>
                <a:gd name="connsiteX25" fmla="*/ 832813 w 2984311"/>
                <a:gd name="connsiteY25" fmla="*/ 316981 h 782471"/>
                <a:gd name="connsiteX26" fmla="*/ 641445 w 2984311"/>
                <a:gd name="connsiteY26" fmla="*/ 291152 h 782471"/>
                <a:gd name="connsiteX27" fmla="*/ 476280 w 2984311"/>
                <a:gd name="connsiteY27" fmla="*/ 286379 h 782471"/>
                <a:gd name="connsiteX28" fmla="*/ 459474 w 2984311"/>
                <a:gd name="connsiteY28" fmla="*/ 254758 h 782471"/>
                <a:gd name="connsiteX29" fmla="*/ 373189 w 2984311"/>
                <a:gd name="connsiteY29" fmla="*/ 171629 h 782471"/>
                <a:gd name="connsiteX30" fmla="*/ 298934 w 2984311"/>
                <a:gd name="connsiteY30" fmla="*/ 98841 h 782471"/>
                <a:gd name="connsiteX31" fmla="*/ 227388 w 2984311"/>
                <a:gd name="connsiteY31" fmla="*/ 48725 h 782471"/>
                <a:gd name="connsiteX32" fmla="*/ 142718 w 2984311"/>
                <a:gd name="connsiteY32" fmla="*/ 25979 h 782471"/>
                <a:gd name="connsiteX33" fmla="*/ 0 w 2984311"/>
                <a:gd name="connsiteY33" fmla="*/ 0 h 782471"/>
                <a:gd name="connsiteX0" fmla="*/ 2879678 w 2929725"/>
                <a:gd name="connsiteY0" fmla="*/ 709684 h 709684"/>
                <a:gd name="connsiteX1" fmla="*/ 2929718 w 2929725"/>
                <a:gd name="connsiteY1" fmla="*/ 550460 h 709684"/>
                <a:gd name="connsiteX2" fmla="*/ 2852381 w 2929725"/>
                <a:gd name="connsiteY2" fmla="*/ 518615 h 709684"/>
                <a:gd name="connsiteX3" fmla="*/ 2761397 w 2929725"/>
                <a:gd name="connsiteY3" fmla="*/ 514066 h 709684"/>
                <a:gd name="connsiteX4" fmla="*/ 2620369 w 2929725"/>
                <a:gd name="connsiteY4" fmla="*/ 491319 h 709684"/>
                <a:gd name="connsiteX5" fmla="*/ 2370161 w 2929725"/>
                <a:gd name="connsiteY5" fmla="*/ 459475 h 709684"/>
                <a:gd name="connsiteX6" fmla="*/ 2245715 w 2929725"/>
                <a:gd name="connsiteY6" fmla="*/ 400410 h 709684"/>
                <a:gd name="connsiteX7" fmla="*/ 2197290 w 2929725"/>
                <a:gd name="connsiteY7" fmla="*/ 423081 h 709684"/>
                <a:gd name="connsiteX8" fmla="*/ 2056263 w 2929725"/>
                <a:gd name="connsiteY8" fmla="*/ 477672 h 709684"/>
                <a:gd name="connsiteX9" fmla="*/ 1969827 w 2929725"/>
                <a:gd name="connsiteY9" fmla="*/ 468573 h 709684"/>
                <a:gd name="connsiteX10" fmla="*/ 1883391 w 2929725"/>
                <a:gd name="connsiteY10" fmla="*/ 477672 h 709684"/>
                <a:gd name="connsiteX11" fmla="*/ 1796955 w 2929725"/>
                <a:gd name="connsiteY11" fmla="*/ 527713 h 709684"/>
                <a:gd name="connsiteX12" fmla="*/ 1733266 w 2929725"/>
                <a:gd name="connsiteY12" fmla="*/ 509516 h 709684"/>
                <a:gd name="connsiteX13" fmla="*/ 1728716 w 2929725"/>
                <a:gd name="connsiteY13" fmla="*/ 495869 h 709684"/>
                <a:gd name="connsiteX14" fmla="*/ 1724167 w 2929725"/>
                <a:gd name="connsiteY14" fmla="*/ 450376 h 709684"/>
                <a:gd name="connsiteX15" fmla="*/ 1699805 w 2929725"/>
                <a:gd name="connsiteY15" fmla="*/ 429247 h 709684"/>
                <a:gd name="connsiteX16" fmla="*/ 1665027 w 2929725"/>
                <a:gd name="connsiteY16" fmla="*/ 376271 h 709684"/>
                <a:gd name="connsiteX17" fmla="*/ 1610360 w 2929725"/>
                <a:gd name="connsiteY17" fmla="*/ 330703 h 709684"/>
                <a:gd name="connsiteX18" fmla="*/ 1534939 w 2929725"/>
                <a:gd name="connsiteY18" fmla="*/ 297317 h 709684"/>
                <a:gd name="connsiteX19" fmla="*/ 1418199 w 2929725"/>
                <a:gd name="connsiteY19" fmla="*/ 277355 h 709684"/>
                <a:gd name="connsiteX20" fmla="*/ 1260293 w 2929725"/>
                <a:gd name="connsiteY20" fmla="*/ 230471 h 709684"/>
                <a:gd name="connsiteX21" fmla="*/ 1219200 w 2929725"/>
                <a:gd name="connsiteY21" fmla="*/ 254758 h 709684"/>
                <a:gd name="connsiteX22" fmla="*/ 1073624 w 2929725"/>
                <a:gd name="connsiteY22" fmla="*/ 304800 h 709684"/>
                <a:gd name="connsiteX23" fmla="*/ 950345 w 2929725"/>
                <a:gd name="connsiteY23" fmla="*/ 306341 h 709684"/>
                <a:gd name="connsiteX24" fmla="*/ 832813 w 2929725"/>
                <a:gd name="connsiteY24" fmla="*/ 316981 h 709684"/>
                <a:gd name="connsiteX25" fmla="*/ 641445 w 2929725"/>
                <a:gd name="connsiteY25" fmla="*/ 291152 h 709684"/>
                <a:gd name="connsiteX26" fmla="*/ 476280 w 2929725"/>
                <a:gd name="connsiteY26" fmla="*/ 286379 h 709684"/>
                <a:gd name="connsiteX27" fmla="*/ 459474 w 2929725"/>
                <a:gd name="connsiteY27" fmla="*/ 254758 h 709684"/>
                <a:gd name="connsiteX28" fmla="*/ 373189 w 2929725"/>
                <a:gd name="connsiteY28" fmla="*/ 171629 h 709684"/>
                <a:gd name="connsiteX29" fmla="*/ 298934 w 2929725"/>
                <a:gd name="connsiteY29" fmla="*/ 98841 h 709684"/>
                <a:gd name="connsiteX30" fmla="*/ 227388 w 2929725"/>
                <a:gd name="connsiteY30" fmla="*/ 48725 h 709684"/>
                <a:gd name="connsiteX31" fmla="*/ 142718 w 2929725"/>
                <a:gd name="connsiteY31" fmla="*/ 25979 h 709684"/>
                <a:gd name="connsiteX32" fmla="*/ 0 w 2929725"/>
                <a:gd name="connsiteY32" fmla="*/ 0 h 709684"/>
                <a:gd name="connsiteX0" fmla="*/ 2929718 w 2929718"/>
                <a:gd name="connsiteY0" fmla="*/ 550460 h 550460"/>
                <a:gd name="connsiteX1" fmla="*/ 2852381 w 2929718"/>
                <a:gd name="connsiteY1" fmla="*/ 518615 h 550460"/>
                <a:gd name="connsiteX2" fmla="*/ 2761397 w 2929718"/>
                <a:gd name="connsiteY2" fmla="*/ 514066 h 550460"/>
                <a:gd name="connsiteX3" fmla="*/ 2620369 w 2929718"/>
                <a:gd name="connsiteY3" fmla="*/ 491319 h 550460"/>
                <a:gd name="connsiteX4" fmla="*/ 2370161 w 2929718"/>
                <a:gd name="connsiteY4" fmla="*/ 459475 h 550460"/>
                <a:gd name="connsiteX5" fmla="*/ 2245715 w 2929718"/>
                <a:gd name="connsiteY5" fmla="*/ 400410 h 550460"/>
                <a:gd name="connsiteX6" fmla="*/ 2197290 w 2929718"/>
                <a:gd name="connsiteY6" fmla="*/ 423081 h 550460"/>
                <a:gd name="connsiteX7" fmla="*/ 2056263 w 2929718"/>
                <a:gd name="connsiteY7" fmla="*/ 477672 h 550460"/>
                <a:gd name="connsiteX8" fmla="*/ 1969827 w 2929718"/>
                <a:gd name="connsiteY8" fmla="*/ 468573 h 550460"/>
                <a:gd name="connsiteX9" fmla="*/ 1883391 w 2929718"/>
                <a:gd name="connsiteY9" fmla="*/ 477672 h 550460"/>
                <a:gd name="connsiteX10" fmla="*/ 1796955 w 2929718"/>
                <a:gd name="connsiteY10" fmla="*/ 527713 h 550460"/>
                <a:gd name="connsiteX11" fmla="*/ 1733266 w 2929718"/>
                <a:gd name="connsiteY11" fmla="*/ 509516 h 550460"/>
                <a:gd name="connsiteX12" fmla="*/ 1728716 w 2929718"/>
                <a:gd name="connsiteY12" fmla="*/ 495869 h 550460"/>
                <a:gd name="connsiteX13" fmla="*/ 1724167 w 2929718"/>
                <a:gd name="connsiteY13" fmla="*/ 450376 h 550460"/>
                <a:gd name="connsiteX14" fmla="*/ 1699805 w 2929718"/>
                <a:gd name="connsiteY14" fmla="*/ 429247 h 550460"/>
                <a:gd name="connsiteX15" fmla="*/ 1665027 w 2929718"/>
                <a:gd name="connsiteY15" fmla="*/ 376271 h 550460"/>
                <a:gd name="connsiteX16" fmla="*/ 1610360 w 2929718"/>
                <a:gd name="connsiteY16" fmla="*/ 330703 h 550460"/>
                <a:gd name="connsiteX17" fmla="*/ 1534939 w 2929718"/>
                <a:gd name="connsiteY17" fmla="*/ 297317 h 550460"/>
                <a:gd name="connsiteX18" fmla="*/ 1418199 w 2929718"/>
                <a:gd name="connsiteY18" fmla="*/ 277355 h 550460"/>
                <a:gd name="connsiteX19" fmla="*/ 1260293 w 2929718"/>
                <a:gd name="connsiteY19" fmla="*/ 230471 h 550460"/>
                <a:gd name="connsiteX20" fmla="*/ 1219200 w 2929718"/>
                <a:gd name="connsiteY20" fmla="*/ 254758 h 550460"/>
                <a:gd name="connsiteX21" fmla="*/ 1073624 w 2929718"/>
                <a:gd name="connsiteY21" fmla="*/ 304800 h 550460"/>
                <a:gd name="connsiteX22" fmla="*/ 950345 w 2929718"/>
                <a:gd name="connsiteY22" fmla="*/ 306341 h 550460"/>
                <a:gd name="connsiteX23" fmla="*/ 832813 w 2929718"/>
                <a:gd name="connsiteY23" fmla="*/ 316981 h 550460"/>
                <a:gd name="connsiteX24" fmla="*/ 641445 w 2929718"/>
                <a:gd name="connsiteY24" fmla="*/ 291152 h 550460"/>
                <a:gd name="connsiteX25" fmla="*/ 476280 w 2929718"/>
                <a:gd name="connsiteY25" fmla="*/ 286379 h 550460"/>
                <a:gd name="connsiteX26" fmla="*/ 459474 w 2929718"/>
                <a:gd name="connsiteY26" fmla="*/ 254758 h 550460"/>
                <a:gd name="connsiteX27" fmla="*/ 373189 w 2929718"/>
                <a:gd name="connsiteY27" fmla="*/ 171629 h 550460"/>
                <a:gd name="connsiteX28" fmla="*/ 298934 w 2929718"/>
                <a:gd name="connsiteY28" fmla="*/ 98841 h 550460"/>
                <a:gd name="connsiteX29" fmla="*/ 227388 w 2929718"/>
                <a:gd name="connsiteY29" fmla="*/ 48725 h 550460"/>
                <a:gd name="connsiteX30" fmla="*/ 142718 w 2929718"/>
                <a:gd name="connsiteY30" fmla="*/ 25979 h 550460"/>
                <a:gd name="connsiteX31" fmla="*/ 0 w 2929718"/>
                <a:gd name="connsiteY31" fmla="*/ 0 h 550460"/>
                <a:gd name="connsiteX0" fmla="*/ 2852381 w 2852381"/>
                <a:gd name="connsiteY0" fmla="*/ 518615 h 528672"/>
                <a:gd name="connsiteX1" fmla="*/ 2761397 w 2852381"/>
                <a:gd name="connsiteY1" fmla="*/ 514066 h 528672"/>
                <a:gd name="connsiteX2" fmla="*/ 2620369 w 2852381"/>
                <a:gd name="connsiteY2" fmla="*/ 491319 h 528672"/>
                <a:gd name="connsiteX3" fmla="*/ 2370161 w 2852381"/>
                <a:gd name="connsiteY3" fmla="*/ 459475 h 528672"/>
                <a:gd name="connsiteX4" fmla="*/ 2245715 w 2852381"/>
                <a:gd name="connsiteY4" fmla="*/ 400410 h 528672"/>
                <a:gd name="connsiteX5" fmla="*/ 2197290 w 2852381"/>
                <a:gd name="connsiteY5" fmla="*/ 423081 h 528672"/>
                <a:gd name="connsiteX6" fmla="*/ 2056263 w 2852381"/>
                <a:gd name="connsiteY6" fmla="*/ 477672 h 528672"/>
                <a:gd name="connsiteX7" fmla="*/ 1969827 w 2852381"/>
                <a:gd name="connsiteY7" fmla="*/ 468573 h 528672"/>
                <a:gd name="connsiteX8" fmla="*/ 1883391 w 2852381"/>
                <a:gd name="connsiteY8" fmla="*/ 477672 h 528672"/>
                <a:gd name="connsiteX9" fmla="*/ 1796955 w 2852381"/>
                <a:gd name="connsiteY9" fmla="*/ 527713 h 528672"/>
                <a:gd name="connsiteX10" fmla="*/ 1733266 w 2852381"/>
                <a:gd name="connsiteY10" fmla="*/ 509516 h 528672"/>
                <a:gd name="connsiteX11" fmla="*/ 1728716 w 2852381"/>
                <a:gd name="connsiteY11" fmla="*/ 495869 h 528672"/>
                <a:gd name="connsiteX12" fmla="*/ 1724167 w 2852381"/>
                <a:gd name="connsiteY12" fmla="*/ 450376 h 528672"/>
                <a:gd name="connsiteX13" fmla="*/ 1699805 w 2852381"/>
                <a:gd name="connsiteY13" fmla="*/ 429247 h 528672"/>
                <a:gd name="connsiteX14" fmla="*/ 1665027 w 2852381"/>
                <a:gd name="connsiteY14" fmla="*/ 376271 h 528672"/>
                <a:gd name="connsiteX15" fmla="*/ 1610360 w 2852381"/>
                <a:gd name="connsiteY15" fmla="*/ 330703 h 528672"/>
                <a:gd name="connsiteX16" fmla="*/ 1534939 w 2852381"/>
                <a:gd name="connsiteY16" fmla="*/ 297317 h 528672"/>
                <a:gd name="connsiteX17" fmla="*/ 1418199 w 2852381"/>
                <a:gd name="connsiteY17" fmla="*/ 277355 h 528672"/>
                <a:gd name="connsiteX18" fmla="*/ 1260293 w 2852381"/>
                <a:gd name="connsiteY18" fmla="*/ 230471 h 528672"/>
                <a:gd name="connsiteX19" fmla="*/ 1219200 w 2852381"/>
                <a:gd name="connsiteY19" fmla="*/ 254758 h 528672"/>
                <a:gd name="connsiteX20" fmla="*/ 1073624 w 2852381"/>
                <a:gd name="connsiteY20" fmla="*/ 304800 h 528672"/>
                <a:gd name="connsiteX21" fmla="*/ 950345 w 2852381"/>
                <a:gd name="connsiteY21" fmla="*/ 306341 h 528672"/>
                <a:gd name="connsiteX22" fmla="*/ 832813 w 2852381"/>
                <a:gd name="connsiteY22" fmla="*/ 316981 h 528672"/>
                <a:gd name="connsiteX23" fmla="*/ 641445 w 2852381"/>
                <a:gd name="connsiteY23" fmla="*/ 291152 h 528672"/>
                <a:gd name="connsiteX24" fmla="*/ 476280 w 2852381"/>
                <a:gd name="connsiteY24" fmla="*/ 286379 h 528672"/>
                <a:gd name="connsiteX25" fmla="*/ 459474 w 2852381"/>
                <a:gd name="connsiteY25" fmla="*/ 254758 h 528672"/>
                <a:gd name="connsiteX26" fmla="*/ 373189 w 2852381"/>
                <a:gd name="connsiteY26" fmla="*/ 171629 h 528672"/>
                <a:gd name="connsiteX27" fmla="*/ 298934 w 2852381"/>
                <a:gd name="connsiteY27" fmla="*/ 98841 h 528672"/>
                <a:gd name="connsiteX28" fmla="*/ 227388 w 2852381"/>
                <a:gd name="connsiteY28" fmla="*/ 48725 h 528672"/>
                <a:gd name="connsiteX29" fmla="*/ 142718 w 2852381"/>
                <a:gd name="connsiteY29" fmla="*/ 25979 h 528672"/>
                <a:gd name="connsiteX30" fmla="*/ 0 w 2852381"/>
                <a:gd name="connsiteY30" fmla="*/ 0 h 528672"/>
                <a:gd name="connsiteX0" fmla="*/ 2761397 w 2761397"/>
                <a:gd name="connsiteY0" fmla="*/ 514066 h 528672"/>
                <a:gd name="connsiteX1" fmla="*/ 2620369 w 2761397"/>
                <a:gd name="connsiteY1" fmla="*/ 491319 h 528672"/>
                <a:gd name="connsiteX2" fmla="*/ 2370161 w 2761397"/>
                <a:gd name="connsiteY2" fmla="*/ 459475 h 528672"/>
                <a:gd name="connsiteX3" fmla="*/ 2245715 w 2761397"/>
                <a:gd name="connsiteY3" fmla="*/ 400410 h 528672"/>
                <a:gd name="connsiteX4" fmla="*/ 2197290 w 2761397"/>
                <a:gd name="connsiteY4" fmla="*/ 423081 h 528672"/>
                <a:gd name="connsiteX5" fmla="*/ 2056263 w 2761397"/>
                <a:gd name="connsiteY5" fmla="*/ 477672 h 528672"/>
                <a:gd name="connsiteX6" fmla="*/ 1969827 w 2761397"/>
                <a:gd name="connsiteY6" fmla="*/ 468573 h 528672"/>
                <a:gd name="connsiteX7" fmla="*/ 1883391 w 2761397"/>
                <a:gd name="connsiteY7" fmla="*/ 477672 h 528672"/>
                <a:gd name="connsiteX8" fmla="*/ 1796955 w 2761397"/>
                <a:gd name="connsiteY8" fmla="*/ 527713 h 528672"/>
                <a:gd name="connsiteX9" fmla="*/ 1733266 w 2761397"/>
                <a:gd name="connsiteY9" fmla="*/ 509516 h 528672"/>
                <a:gd name="connsiteX10" fmla="*/ 1728716 w 2761397"/>
                <a:gd name="connsiteY10" fmla="*/ 495869 h 528672"/>
                <a:gd name="connsiteX11" fmla="*/ 1724167 w 2761397"/>
                <a:gd name="connsiteY11" fmla="*/ 450376 h 528672"/>
                <a:gd name="connsiteX12" fmla="*/ 1699805 w 2761397"/>
                <a:gd name="connsiteY12" fmla="*/ 429247 h 528672"/>
                <a:gd name="connsiteX13" fmla="*/ 1665027 w 2761397"/>
                <a:gd name="connsiteY13" fmla="*/ 376271 h 528672"/>
                <a:gd name="connsiteX14" fmla="*/ 1610360 w 2761397"/>
                <a:gd name="connsiteY14" fmla="*/ 330703 h 528672"/>
                <a:gd name="connsiteX15" fmla="*/ 1534939 w 2761397"/>
                <a:gd name="connsiteY15" fmla="*/ 297317 h 528672"/>
                <a:gd name="connsiteX16" fmla="*/ 1418199 w 2761397"/>
                <a:gd name="connsiteY16" fmla="*/ 277355 h 528672"/>
                <a:gd name="connsiteX17" fmla="*/ 1260293 w 2761397"/>
                <a:gd name="connsiteY17" fmla="*/ 230471 h 528672"/>
                <a:gd name="connsiteX18" fmla="*/ 1219200 w 2761397"/>
                <a:gd name="connsiteY18" fmla="*/ 254758 h 528672"/>
                <a:gd name="connsiteX19" fmla="*/ 1073624 w 2761397"/>
                <a:gd name="connsiteY19" fmla="*/ 304800 h 528672"/>
                <a:gd name="connsiteX20" fmla="*/ 950345 w 2761397"/>
                <a:gd name="connsiteY20" fmla="*/ 306341 h 528672"/>
                <a:gd name="connsiteX21" fmla="*/ 832813 w 2761397"/>
                <a:gd name="connsiteY21" fmla="*/ 316981 h 528672"/>
                <a:gd name="connsiteX22" fmla="*/ 641445 w 2761397"/>
                <a:gd name="connsiteY22" fmla="*/ 291152 h 528672"/>
                <a:gd name="connsiteX23" fmla="*/ 476280 w 2761397"/>
                <a:gd name="connsiteY23" fmla="*/ 286379 h 528672"/>
                <a:gd name="connsiteX24" fmla="*/ 459474 w 2761397"/>
                <a:gd name="connsiteY24" fmla="*/ 254758 h 528672"/>
                <a:gd name="connsiteX25" fmla="*/ 373189 w 2761397"/>
                <a:gd name="connsiteY25" fmla="*/ 171629 h 528672"/>
                <a:gd name="connsiteX26" fmla="*/ 298934 w 2761397"/>
                <a:gd name="connsiteY26" fmla="*/ 98841 h 528672"/>
                <a:gd name="connsiteX27" fmla="*/ 227388 w 2761397"/>
                <a:gd name="connsiteY27" fmla="*/ 48725 h 528672"/>
                <a:gd name="connsiteX28" fmla="*/ 142718 w 2761397"/>
                <a:gd name="connsiteY28" fmla="*/ 25979 h 528672"/>
                <a:gd name="connsiteX29" fmla="*/ 0 w 2761397"/>
                <a:gd name="connsiteY29" fmla="*/ 0 h 528672"/>
                <a:gd name="connsiteX0" fmla="*/ 2620369 w 2620369"/>
                <a:gd name="connsiteY0" fmla="*/ 491319 h 528672"/>
                <a:gd name="connsiteX1" fmla="*/ 2370161 w 2620369"/>
                <a:gd name="connsiteY1" fmla="*/ 459475 h 528672"/>
                <a:gd name="connsiteX2" fmla="*/ 2245715 w 2620369"/>
                <a:gd name="connsiteY2" fmla="*/ 400410 h 528672"/>
                <a:gd name="connsiteX3" fmla="*/ 2197290 w 2620369"/>
                <a:gd name="connsiteY3" fmla="*/ 423081 h 528672"/>
                <a:gd name="connsiteX4" fmla="*/ 2056263 w 2620369"/>
                <a:gd name="connsiteY4" fmla="*/ 477672 h 528672"/>
                <a:gd name="connsiteX5" fmla="*/ 1969827 w 2620369"/>
                <a:gd name="connsiteY5" fmla="*/ 468573 h 528672"/>
                <a:gd name="connsiteX6" fmla="*/ 1883391 w 2620369"/>
                <a:gd name="connsiteY6" fmla="*/ 477672 h 528672"/>
                <a:gd name="connsiteX7" fmla="*/ 1796955 w 2620369"/>
                <a:gd name="connsiteY7" fmla="*/ 527713 h 528672"/>
                <a:gd name="connsiteX8" fmla="*/ 1733266 w 2620369"/>
                <a:gd name="connsiteY8" fmla="*/ 509516 h 528672"/>
                <a:gd name="connsiteX9" fmla="*/ 1728716 w 2620369"/>
                <a:gd name="connsiteY9" fmla="*/ 495869 h 528672"/>
                <a:gd name="connsiteX10" fmla="*/ 1724167 w 2620369"/>
                <a:gd name="connsiteY10" fmla="*/ 450376 h 528672"/>
                <a:gd name="connsiteX11" fmla="*/ 1699805 w 2620369"/>
                <a:gd name="connsiteY11" fmla="*/ 429247 h 528672"/>
                <a:gd name="connsiteX12" fmla="*/ 1665027 w 2620369"/>
                <a:gd name="connsiteY12" fmla="*/ 376271 h 528672"/>
                <a:gd name="connsiteX13" fmla="*/ 1610360 w 2620369"/>
                <a:gd name="connsiteY13" fmla="*/ 330703 h 528672"/>
                <a:gd name="connsiteX14" fmla="*/ 1534939 w 2620369"/>
                <a:gd name="connsiteY14" fmla="*/ 297317 h 528672"/>
                <a:gd name="connsiteX15" fmla="*/ 1418199 w 2620369"/>
                <a:gd name="connsiteY15" fmla="*/ 277355 h 528672"/>
                <a:gd name="connsiteX16" fmla="*/ 1260293 w 2620369"/>
                <a:gd name="connsiteY16" fmla="*/ 230471 h 528672"/>
                <a:gd name="connsiteX17" fmla="*/ 1219200 w 2620369"/>
                <a:gd name="connsiteY17" fmla="*/ 254758 h 528672"/>
                <a:gd name="connsiteX18" fmla="*/ 1073624 w 2620369"/>
                <a:gd name="connsiteY18" fmla="*/ 304800 h 528672"/>
                <a:gd name="connsiteX19" fmla="*/ 950345 w 2620369"/>
                <a:gd name="connsiteY19" fmla="*/ 306341 h 528672"/>
                <a:gd name="connsiteX20" fmla="*/ 832813 w 2620369"/>
                <a:gd name="connsiteY20" fmla="*/ 316981 h 528672"/>
                <a:gd name="connsiteX21" fmla="*/ 641445 w 2620369"/>
                <a:gd name="connsiteY21" fmla="*/ 291152 h 528672"/>
                <a:gd name="connsiteX22" fmla="*/ 476280 w 2620369"/>
                <a:gd name="connsiteY22" fmla="*/ 286379 h 528672"/>
                <a:gd name="connsiteX23" fmla="*/ 459474 w 2620369"/>
                <a:gd name="connsiteY23" fmla="*/ 254758 h 528672"/>
                <a:gd name="connsiteX24" fmla="*/ 373189 w 2620369"/>
                <a:gd name="connsiteY24" fmla="*/ 171629 h 528672"/>
                <a:gd name="connsiteX25" fmla="*/ 298934 w 2620369"/>
                <a:gd name="connsiteY25" fmla="*/ 98841 h 528672"/>
                <a:gd name="connsiteX26" fmla="*/ 227388 w 2620369"/>
                <a:gd name="connsiteY26" fmla="*/ 48725 h 528672"/>
                <a:gd name="connsiteX27" fmla="*/ 142718 w 2620369"/>
                <a:gd name="connsiteY27" fmla="*/ 25979 h 528672"/>
                <a:gd name="connsiteX28" fmla="*/ 0 w 2620369"/>
                <a:gd name="connsiteY28" fmla="*/ 0 h 528672"/>
                <a:gd name="connsiteX0" fmla="*/ 2471526 w 2471526"/>
                <a:gd name="connsiteY0" fmla="*/ 473026 h 528672"/>
                <a:gd name="connsiteX1" fmla="*/ 2370161 w 2471526"/>
                <a:gd name="connsiteY1" fmla="*/ 459475 h 528672"/>
                <a:gd name="connsiteX2" fmla="*/ 2245715 w 2471526"/>
                <a:gd name="connsiteY2" fmla="*/ 400410 h 528672"/>
                <a:gd name="connsiteX3" fmla="*/ 2197290 w 2471526"/>
                <a:gd name="connsiteY3" fmla="*/ 423081 h 528672"/>
                <a:gd name="connsiteX4" fmla="*/ 2056263 w 2471526"/>
                <a:gd name="connsiteY4" fmla="*/ 477672 h 528672"/>
                <a:gd name="connsiteX5" fmla="*/ 1969827 w 2471526"/>
                <a:gd name="connsiteY5" fmla="*/ 468573 h 528672"/>
                <a:gd name="connsiteX6" fmla="*/ 1883391 w 2471526"/>
                <a:gd name="connsiteY6" fmla="*/ 477672 h 528672"/>
                <a:gd name="connsiteX7" fmla="*/ 1796955 w 2471526"/>
                <a:gd name="connsiteY7" fmla="*/ 527713 h 528672"/>
                <a:gd name="connsiteX8" fmla="*/ 1733266 w 2471526"/>
                <a:gd name="connsiteY8" fmla="*/ 509516 h 528672"/>
                <a:gd name="connsiteX9" fmla="*/ 1728716 w 2471526"/>
                <a:gd name="connsiteY9" fmla="*/ 495869 h 528672"/>
                <a:gd name="connsiteX10" fmla="*/ 1724167 w 2471526"/>
                <a:gd name="connsiteY10" fmla="*/ 450376 h 528672"/>
                <a:gd name="connsiteX11" fmla="*/ 1699805 w 2471526"/>
                <a:gd name="connsiteY11" fmla="*/ 429247 h 528672"/>
                <a:gd name="connsiteX12" fmla="*/ 1665027 w 2471526"/>
                <a:gd name="connsiteY12" fmla="*/ 376271 h 528672"/>
                <a:gd name="connsiteX13" fmla="*/ 1610360 w 2471526"/>
                <a:gd name="connsiteY13" fmla="*/ 330703 h 528672"/>
                <a:gd name="connsiteX14" fmla="*/ 1534939 w 2471526"/>
                <a:gd name="connsiteY14" fmla="*/ 297317 h 528672"/>
                <a:gd name="connsiteX15" fmla="*/ 1418199 w 2471526"/>
                <a:gd name="connsiteY15" fmla="*/ 277355 h 528672"/>
                <a:gd name="connsiteX16" fmla="*/ 1260293 w 2471526"/>
                <a:gd name="connsiteY16" fmla="*/ 230471 h 528672"/>
                <a:gd name="connsiteX17" fmla="*/ 1219200 w 2471526"/>
                <a:gd name="connsiteY17" fmla="*/ 254758 h 528672"/>
                <a:gd name="connsiteX18" fmla="*/ 1073624 w 2471526"/>
                <a:gd name="connsiteY18" fmla="*/ 304800 h 528672"/>
                <a:gd name="connsiteX19" fmla="*/ 950345 w 2471526"/>
                <a:gd name="connsiteY19" fmla="*/ 306341 h 528672"/>
                <a:gd name="connsiteX20" fmla="*/ 832813 w 2471526"/>
                <a:gd name="connsiteY20" fmla="*/ 316981 h 528672"/>
                <a:gd name="connsiteX21" fmla="*/ 641445 w 2471526"/>
                <a:gd name="connsiteY21" fmla="*/ 291152 h 528672"/>
                <a:gd name="connsiteX22" fmla="*/ 476280 w 2471526"/>
                <a:gd name="connsiteY22" fmla="*/ 286379 h 528672"/>
                <a:gd name="connsiteX23" fmla="*/ 459474 w 2471526"/>
                <a:gd name="connsiteY23" fmla="*/ 254758 h 528672"/>
                <a:gd name="connsiteX24" fmla="*/ 373189 w 2471526"/>
                <a:gd name="connsiteY24" fmla="*/ 171629 h 528672"/>
                <a:gd name="connsiteX25" fmla="*/ 298934 w 2471526"/>
                <a:gd name="connsiteY25" fmla="*/ 98841 h 528672"/>
                <a:gd name="connsiteX26" fmla="*/ 227388 w 2471526"/>
                <a:gd name="connsiteY26" fmla="*/ 48725 h 528672"/>
                <a:gd name="connsiteX27" fmla="*/ 142718 w 2471526"/>
                <a:gd name="connsiteY27" fmla="*/ 25979 h 528672"/>
                <a:gd name="connsiteX28" fmla="*/ 0 w 2471526"/>
                <a:gd name="connsiteY28" fmla="*/ 0 h 528672"/>
                <a:gd name="connsiteX0" fmla="*/ 2471526 w 2471526"/>
                <a:gd name="connsiteY0" fmla="*/ 473026 h 528672"/>
                <a:gd name="connsiteX1" fmla="*/ 2370161 w 2471526"/>
                <a:gd name="connsiteY1" fmla="*/ 459475 h 528672"/>
                <a:gd name="connsiteX2" fmla="*/ 2278388 w 2471526"/>
                <a:gd name="connsiteY2" fmla="*/ 411386 h 528672"/>
                <a:gd name="connsiteX3" fmla="*/ 2197290 w 2471526"/>
                <a:gd name="connsiteY3" fmla="*/ 423081 h 528672"/>
                <a:gd name="connsiteX4" fmla="*/ 2056263 w 2471526"/>
                <a:gd name="connsiteY4" fmla="*/ 477672 h 528672"/>
                <a:gd name="connsiteX5" fmla="*/ 1969827 w 2471526"/>
                <a:gd name="connsiteY5" fmla="*/ 468573 h 528672"/>
                <a:gd name="connsiteX6" fmla="*/ 1883391 w 2471526"/>
                <a:gd name="connsiteY6" fmla="*/ 477672 h 528672"/>
                <a:gd name="connsiteX7" fmla="*/ 1796955 w 2471526"/>
                <a:gd name="connsiteY7" fmla="*/ 527713 h 528672"/>
                <a:gd name="connsiteX8" fmla="*/ 1733266 w 2471526"/>
                <a:gd name="connsiteY8" fmla="*/ 509516 h 528672"/>
                <a:gd name="connsiteX9" fmla="*/ 1728716 w 2471526"/>
                <a:gd name="connsiteY9" fmla="*/ 495869 h 528672"/>
                <a:gd name="connsiteX10" fmla="*/ 1724167 w 2471526"/>
                <a:gd name="connsiteY10" fmla="*/ 450376 h 528672"/>
                <a:gd name="connsiteX11" fmla="*/ 1699805 w 2471526"/>
                <a:gd name="connsiteY11" fmla="*/ 429247 h 528672"/>
                <a:gd name="connsiteX12" fmla="*/ 1665027 w 2471526"/>
                <a:gd name="connsiteY12" fmla="*/ 376271 h 528672"/>
                <a:gd name="connsiteX13" fmla="*/ 1610360 w 2471526"/>
                <a:gd name="connsiteY13" fmla="*/ 330703 h 528672"/>
                <a:gd name="connsiteX14" fmla="*/ 1534939 w 2471526"/>
                <a:gd name="connsiteY14" fmla="*/ 297317 h 528672"/>
                <a:gd name="connsiteX15" fmla="*/ 1418199 w 2471526"/>
                <a:gd name="connsiteY15" fmla="*/ 277355 h 528672"/>
                <a:gd name="connsiteX16" fmla="*/ 1260293 w 2471526"/>
                <a:gd name="connsiteY16" fmla="*/ 230471 h 528672"/>
                <a:gd name="connsiteX17" fmla="*/ 1219200 w 2471526"/>
                <a:gd name="connsiteY17" fmla="*/ 254758 h 528672"/>
                <a:gd name="connsiteX18" fmla="*/ 1073624 w 2471526"/>
                <a:gd name="connsiteY18" fmla="*/ 304800 h 528672"/>
                <a:gd name="connsiteX19" fmla="*/ 950345 w 2471526"/>
                <a:gd name="connsiteY19" fmla="*/ 306341 h 528672"/>
                <a:gd name="connsiteX20" fmla="*/ 832813 w 2471526"/>
                <a:gd name="connsiteY20" fmla="*/ 316981 h 528672"/>
                <a:gd name="connsiteX21" fmla="*/ 641445 w 2471526"/>
                <a:gd name="connsiteY21" fmla="*/ 291152 h 528672"/>
                <a:gd name="connsiteX22" fmla="*/ 476280 w 2471526"/>
                <a:gd name="connsiteY22" fmla="*/ 286379 h 528672"/>
                <a:gd name="connsiteX23" fmla="*/ 459474 w 2471526"/>
                <a:gd name="connsiteY23" fmla="*/ 254758 h 528672"/>
                <a:gd name="connsiteX24" fmla="*/ 373189 w 2471526"/>
                <a:gd name="connsiteY24" fmla="*/ 171629 h 528672"/>
                <a:gd name="connsiteX25" fmla="*/ 298934 w 2471526"/>
                <a:gd name="connsiteY25" fmla="*/ 98841 h 528672"/>
                <a:gd name="connsiteX26" fmla="*/ 227388 w 2471526"/>
                <a:gd name="connsiteY26" fmla="*/ 48725 h 528672"/>
                <a:gd name="connsiteX27" fmla="*/ 142718 w 2471526"/>
                <a:gd name="connsiteY27" fmla="*/ 25979 h 528672"/>
                <a:gd name="connsiteX28" fmla="*/ 0 w 2471526"/>
                <a:gd name="connsiteY28" fmla="*/ 0 h 528672"/>
                <a:gd name="connsiteX0" fmla="*/ 2471526 w 2471526"/>
                <a:gd name="connsiteY0" fmla="*/ 473026 h 528672"/>
                <a:gd name="connsiteX1" fmla="*/ 2370161 w 2471526"/>
                <a:gd name="connsiteY1" fmla="*/ 459475 h 528672"/>
                <a:gd name="connsiteX2" fmla="*/ 2278388 w 2471526"/>
                <a:gd name="connsiteY2" fmla="*/ 411386 h 528672"/>
                <a:gd name="connsiteX3" fmla="*/ 2211812 w 2471526"/>
                <a:gd name="connsiteY3" fmla="*/ 448692 h 528672"/>
                <a:gd name="connsiteX4" fmla="*/ 2056263 w 2471526"/>
                <a:gd name="connsiteY4" fmla="*/ 477672 h 528672"/>
                <a:gd name="connsiteX5" fmla="*/ 1969827 w 2471526"/>
                <a:gd name="connsiteY5" fmla="*/ 468573 h 528672"/>
                <a:gd name="connsiteX6" fmla="*/ 1883391 w 2471526"/>
                <a:gd name="connsiteY6" fmla="*/ 477672 h 528672"/>
                <a:gd name="connsiteX7" fmla="*/ 1796955 w 2471526"/>
                <a:gd name="connsiteY7" fmla="*/ 527713 h 528672"/>
                <a:gd name="connsiteX8" fmla="*/ 1733266 w 2471526"/>
                <a:gd name="connsiteY8" fmla="*/ 509516 h 528672"/>
                <a:gd name="connsiteX9" fmla="*/ 1728716 w 2471526"/>
                <a:gd name="connsiteY9" fmla="*/ 495869 h 528672"/>
                <a:gd name="connsiteX10" fmla="*/ 1724167 w 2471526"/>
                <a:gd name="connsiteY10" fmla="*/ 450376 h 528672"/>
                <a:gd name="connsiteX11" fmla="*/ 1699805 w 2471526"/>
                <a:gd name="connsiteY11" fmla="*/ 429247 h 528672"/>
                <a:gd name="connsiteX12" fmla="*/ 1665027 w 2471526"/>
                <a:gd name="connsiteY12" fmla="*/ 376271 h 528672"/>
                <a:gd name="connsiteX13" fmla="*/ 1610360 w 2471526"/>
                <a:gd name="connsiteY13" fmla="*/ 330703 h 528672"/>
                <a:gd name="connsiteX14" fmla="*/ 1534939 w 2471526"/>
                <a:gd name="connsiteY14" fmla="*/ 297317 h 528672"/>
                <a:gd name="connsiteX15" fmla="*/ 1418199 w 2471526"/>
                <a:gd name="connsiteY15" fmla="*/ 277355 h 528672"/>
                <a:gd name="connsiteX16" fmla="*/ 1260293 w 2471526"/>
                <a:gd name="connsiteY16" fmla="*/ 230471 h 528672"/>
                <a:gd name="connsiteX17" fmla="*/ 1219200 w 2471526"/>
                <a:gd name="connsiteY17" fmla="*/ 254758 h 528672"/>
                <a:gd name="connsiteX18" fmla="*/ 1073624 w 2471526"/>
                <a:gd name="connsiteY18" fmla="*/ 304800 h 528672"/>
                <a:gd name="connsiteX19" fmla="*/ 950345 w 2471526"/>
                <a:gd name="connsiteY19" fmla="*/ 306341 h 528672"/>
                <a:gd name="connsiteX20" fmla="*/ 832813 w 2471526"/>
                <a:gd name="connsiteY20" fmla="*/ 316981 h 528672"/>
                <a:gd name="connsiteX21" fmla="*/ 641445 w 2471526"/>
                <a:gd name="connsiteY21" fmla="*/ 291152 h 528672"/>
                <a:gd name="connsiteX22" fmla="*/ 476280 w 2471526"/>
                <a:gd name="connsiteY22" fmla="*/ 286379 h 528672"/>
                <a:gd name="connsiteX23" fmla="*/ 459474 w 2471526"/>
                <a:gd name="connsiteY23" fmla="*/ 254758 h 528672"/>
                <a:gd name="connsiteX24" fmla="*/ 373189 w 2471526"/>
                <a:gd name="connsiteY24" fmla="*/ 171629 h 528672"/>
                <a:gd name="connsiteX25" fmla="*/ 298934 w 2471526"/>
                <a:gd name="connsiteY25" fmla="*/ 98841 h 528672"/>
                <a:gd name="connsiteX26" fmla="*/ 227388 w 2471526"/>
                <a:gd name="connsiteY26" fmla="*/ 48725 h 528672"/>
                <a:gd name="connsiteX27" fmla="*/ 142718 w 2471526"/>
                <a:gd name="connsiteY27" fmla="*/ 25979 h 528672"/>
                <a:gd name="connsiteX28" fmla="*/ 0 w 2471526"/>
                <a:gd name="connsiteY28" fmla="*/ 0 h 528672"/>
                <a:gd name="connsiteX0" fmla="*/ 2471526 w 2471526"/>
                <a:gd name="connsiteY0" fmla="*/ 473026 h 528672"/>
                <a:gd name="connsiteX1" fmla="*/ 2370161 w 2471526"/>
                <a:gd name="connsiteY1" fmla="*/ 459475 h 528672"/>
                <a:gd name="connsiteX2" fmla="*/ 2278388 w 2471526"/>
                <a:gd name="connsiteY2" fmla="*/ 411386 h 528672"/>
                <a:gd name="connsiteX3" fmla="*/ 2211812 w 2471526"/>
                <a:gd name="connsiteY3" fmla="*/ 448692 h 528672"/>
                <a:gd name="connsiteX4" fmla="*/ 2081676 w 2471526"/>
                <a:gd name="connsiteY4" fmla="*/ 495966 h 528672"/>
                <a:gd name="connsiteX5" fmla="*/ 1969827 w 2471526"/>
                <a:gd name="connsiteY5" fmla="*/ 468573 h 528672"/>
                <a:gd name="connsiteX6" fmla="*/ 1883391 w 2471526"/>
                <a:gd name="connsiteY6" fmla="*/ 477672 h 528672"/>
                <a:gd name="connsiteX7" fmla="*/ 1796955 w 2471526"/>
                <a:gd name="connsiteY7" fmla="*/ 527713 h 528672"/>
                <a:gd name="connsiteX8" fmla="*/ 1733266 w 2471526"/>
                <a:gd name="connsiteY8" fmla="*/ 509516 h 528672"/>
                <a:gd name="connsiteX9" fmla="*/ 1728716 w 2471526"/>
                <a:gd name="connsiteY9" fmla="*/ 495869 h 528672"/>
                <a:gd name="connsiteX10" fmla="*/ 1724167 w 2471526"/>
                <a:gd name="connsiteY10" fmla="*/ 450376 h 528672"/>
                <a:gd name="connsiteX11" fmla="*/ 1699805 w 2471526"/>
                <a:gd name="connsiteY11" fmla="*/ 429247 h 528672"/>
                <a:gd name="connsiteX12" fmla="*/ 1665027 w 2471526"/>
                <a:gd name="connsiteY12" fmla="*/ 376271 h 528672"/>
                <a:gd name="connsiteX13" fmla="*/ 1610360 w 2471526"/>
                <a:gd name="connsiteY13" fmla="*/ 330703 h 528672"/>
                <a:gd name="connsiteX14" fmla="*/ 1534939 w 2471526"/>
                <a:gd name="connsiteY14" fmla="*/ 297317 h 528672"/>
                <a:gd name="connsiteX15" fmla="*/ 1418199 w 2471526"/>
                <a:gd name="connsiteY15" fmla="*/ 277355 h 528672"/>
                <a:gd name="connsiteX16" fmla="*/ 1260293 w 2471526"/>
                <a:gd name="connsiteY16" fmla="*/ 230471 h 528672"/>
                <a:gd name="connsiteX17" fmla="*/ 1219200 w 2471526"/>
                <a:gd name="connsiteY17" fmla="*/ 254758 h 528672"/>
                <a:gd name="connsiteX18" fmla="*/ 1073624 w 2471526"/>
                <a:gd name="connsiteY18" fmla="*/ 304800 h 528672"/>
                <a:gd name="connsiteX19" fmla="*/ 950345 w 2471526"/>
                <a:gd name="connsiteY19" fmla="*/ 306341 h 528672"/>
                <a:gd name="connsiteX20" fmla="*/ 832813 w 2471526"/>
                <a:gd name="connsiteY20" fmla="*/ 316981 h 528672"/>
                <a:gd name="connsiteX21" fmla="*/ 641445 w 2471526"/>
                <a:gd name="connsiteY21" fmla="*/ 291152 h 528672"/>
                <a:gd name="connsiteX22" fmla="*/ 476280 w 2471526"/>
                <a:gd name="connsiteY22" fmla="*/ 286379 h 528672"/>
                <a:gd name="connsiteX23" fmla="*/ 459474 w 2471526"/>
                <a:gd name="connsiteY23" fmla="*/ 254758 h 528672"/>
                <a:gd name="connsiteX24" fmla="*/ 373189 w 2471526"/>
                <a:gd name="connsiteY24" fmla="*/ 171629 h 528672"/>
                <a:gd name="connsiteX25" fmla="*/ 298934 w 2471526"/>
                <a:gd name="connsiteY25" fmla="*/ 98841 h 528672"/>
                <a:gd name="connsiteX26" fmla="*/ 227388 w 2471526"/>
                <a:gd name="connsiteY26" fmla="*/ 48725 h 528672"/>
                <a:gd name="connsiteX27" fmla="*/ 142718 w 2471526"/>
                <a:gd name="connsiteY27" fmla="*/ 25979 h 528672"/>
                <a:gd name="connsiteX28" fmla="*/ 0 w 2471526"/>
                <a:gd name="connsiteY28" fmla="*/ 0 h 528672"/>
                <a:gd name="connsiteX0" fmla="*/ 2471526 w 2471526"/>
                <a:gd name="connsiteY0" fmla="*/ 473026 h 528672"/>
                <a:gd name="connsiteX1" fmla="*/ 2370161 w 2471526"/>
                <a:gd name="connsiteY1" fmla="*/ 459475 h 528672"/>
                <a:gd name="connsiteX2" fmla="*/ 2285649 w 2471526"/>
                <a:gd name="connsiteY2" fmla="*/ 429680 h 528672"/>
                <a:gd name="connsiteX3" fmla="*/ 2211812 w 2471526"/>
                <a:gd name="connsiteY3" fmla="*/ 448692 h 528672"/>
                <a:gd name="connsiteX4" fmla="*/ 2081676 w 2471526"/>
                <a:gd name="connsiteY4" fmla="*/ 495966 h 528672"/>
                <a:gd name="connsiteX5" fmla="*/ 1969827 w 2471526"/>
                <a:gd name="connsiteY5" fmla="*/ 468573 h 528672"/>
                <a:gd name="connsiteX6" fmla="*/ 1883391 w 2471526"/>
                <a:gd name="connsiteY6" fmla="*/ 477672 h 528672"/>
                <a:gd name="connsiteX7" fmla="*/ 1796955 w 2471526"/>
                <a:gd name="connsiteY7" fmla="*/ 527713 h 528672"/>
                <a:gd name="connsiteX8" fmla="*/ 1733266 w 2471526"/>
                <a:gd name="connsiteY8" fmla="*/ 509516 h 528672"/>
                <a:gd name="connsiteX9" fmla="*/ 1728716 w 2471526"/>
                <a:gd name="connsiteY9" fmla="*/ 495869 h 528672"/>
                <a:gd name="connsiteX10" fmla="*/ 1724167 w 2471526"/>
                <a:gd name="connsiteY10" fmla="*/ 450376 h 528672"/>
                <a:gd name="connsiteX11" fmla="*/ 1699805 w 2471526"/>
                <a:gd name="connsiteY11" fmla="*/ 429247 h 528672"/>
                <a:gd name="connsiteX12" fmla="*/ 1665027 w 2471526"/>
                <a:gd name="connsiteY12" fmla="*/ 376271 h 528672"/>
                <a:gd name="connsiteX13" fmla="*/ 1610360 w 2471526"/>
                <a:gd name="connsiteY13" fmla="*/ 330703 h 528672"/>
                <a:gd name="connsiteX14" fmla="*/ 1534939 w 2471526"/>
                <a:gd name="connsiteY14" fmla="*/ 297317 h 528672"/>
                <a:gd name="connsiteX15" fmla="*/ 1418199 w 2471526"/>
                <a:gd name="connsiteY15" fmla="*/ 277355 h 528672"/>
                <a:gd name="connsiteX16" fmla="*/ 1260293 w 2471526"/>
                <a:gd name="connsiteY16" fmla="*/ 230471 h 528672"/>
                <a:gd name="connsiteX17" fmla="*/ 1219200 w 2471526"/>
                <a:gd name="connsiteY17" fmla="*/ 254758 h 528672"/>
                <a:gd name="connsiteX18" fmla="*/ 1073624 w 2471526"/>
                <a:gd name="connsiteY18" fmla="*/ 304800 h 528672"/>
                <a:gd name="connsiteX19" fmla="*/ 950345 w 2471526"/>
                <a:gd name="connsiteY19" fmla="*/ 306341 h 528672"/>
                <a:gd name="connsiteX20" fmla="*/ 832813 w 2471526"/>
                <a:gd name="connsiteY20" fmla="*/ 316981 h 528672"/>
                <a:gd name="connsiteX21" fmla="*/ 641445 w 2471526"/>
                <a:gd name="connsiteY21" fmla="*/ 291152 h 528672"/>
                <a:gd name="connsiteX22" fmla="*/ 476280 w 2471526"/>
                <a:gd name="connsiteY22" fmla="*/ 286379 h 528672"/>
                <a:gd name="connsiteX23" fmla="*/ 459474 w 2471526"/>
                <a:gd name="connsiteY23" fmla="*/ 254758 h 528672"/>
                <a:gd name="connsiteX24" fmla="*/ 373189 w 2471526"/>
                <a:gd name="connsiteY24" fmla="*/ 171629 h 528672"/>
                <a:gd name="connsiteX25" fmla="*/ 298934 w 2471526"/>
                <a:gd name="connsiteY25" fmla="*/ 98841 h 528672"/>
                <a:gd name="connsiteX26" fmla="*/ 227388 w 2471526"/>
                <a:gd name="connsiteY26" fmla="*/ 48725 h 528672"/>
                <a:gd name="connsiteX27" fmla="*/ 142718 w 2471526"/>
                <a:gd name="connsiteY27" fmla="*/ 25979 h 528672"/>
                <a:gd name="connsiteX28" fmla="*/ 0 w 2471526"/>
                <a:gd name="connsiteY28" fmla="*/ 0 h 528672"/>
                <a:gd name="connsiteX0" fmla="*/ 2471526 w 2471526"/>
                <a:gd name="connsiteY0" fmla="*/ 473026 h 528672"/>
                <a:gd name="connsiteX1" fmla="*/ 2370161 w 2471526"/>
                <a:gd name="connsiteY1" fmla="*/ 459475 h 528672"/>
                <a:gd name="connsiteX2" fmla="*/ 2307430 w 2471526"/>
                <a:gd name="connsiteY2" fmla="*/ 415045 h 528672"/>
                <a:gd name="connsiteX3" fmla="*/ 2211812 w 2471526"/>
                <a:gd name="connsiteY3" fmla="*/ 448692 h 528672"/>
                <a:gd name="connsiteX4" fmla="*/ 2081676 w 2471526"/>
                <a:gd name="connsiteY4" fmla="*/ 495966 h 528672"/>
                <a:gd name="connsiteX5" fmla="*/ 1969827 w 2471526"/>
                <a:gd name="connsiteY5" fmla="*/ 468573 h 528672"/>
                <a:gd name="connsiteX6" fmla="*/ 1883391 w 2471526"/>
                <a:gd name="connsiteY6" fmla="*/ 477672 h 528672"/>
                <a:gd name="connsiteX7" fmla="*/ 1796955 w 2471526"/>
                <a:gd name="connsiteY7" fmla="*/ 527713 h 528672"/>
                <a:gd name="connsiteX8" fmla="*/ 1733266 w 2471526"/>
                <a:gd name="connsiteY8" fmla="*/ 509516 h 528672"/>
                <a:gd name="connsiteX9" fmla="*/ 1728716 w 2471526"/>
                <a:gd name="connsiteY9" fmla="*/ 495869 h 528672"/>
                <a:gd name="connsiteX10" fmla="*/ 1724167 w 2471526"/>
                <a:gd name="connsiteY10" fmla="*/ 450376 h 528672"/>
                <a:gd name="connsiteX11" fmla="*/ 1699805 w 2471526"/>
                <a:gd name="connsiteY11" fmla="*/ 429247 h 528672"/>
                <a:gd name="connsiteX12" fmla="*/ 1665027 w 2471526"/>
                <a:gd name="connsiteY12" fmla="*/ 376271 h 528672"/>
                <a:gd name="connsiteX13" fmla="*/ 1610360 w 2471526"/>
                <a:gd name="connsiteY13" fmla="*/ 330703 h 528672"/>
                <a:gd name="connsiteX14" fmla="*/ 1534939 w 2471526"/>
                <a:gd name="connsiteY14" fmla="*/ 297317 h 528672"/>
                <a:gd name="connsiteX15" fmla="*/ 1418199 w 2471526"/>
                <a:gd name="connsiteY15" fmla="*/ 277355 h 528672"/>
                <a:gd name="connsiteX16" fmla="*/ 1260293 w 2471526"/>
                <a:gd name="connsiteY16" fmla="*/ 230471 h 528672"/>
                <a:gd name="connsiteX17" fmla="*/ 1219200 w 2471526"/>
                <a:gd name="connsiteY17" fmla="*/ 254758 h 528672"/>
                <a:gd name="connsiteX18" fmla="*/ 1073624 w 2471526"/>
                <a:gd name="connsiteY18" fmla="*/ 304800 h 528672"/>
                <a:gd name="connsiteX19" fmla="*/ 950345 w 2471526"/>
                <a:gd name="connsiteY19" fmla="*/ 306341 h 528672"/>
                <a:gd name="connsiteX20" fmla="*/ 832813 w 2471526"/>
                <a:gd name="connsiteY20" fmla="*/ 316981 h 528672"/>
                <a:gd name="connsiteX21" fmla="*/ 641445 w 2471526"/>
                <a:gd name="connsiteY21" fmla="*/ 291152 h 528672"/>
                <a:gd name="connsiteX22" fmla="*/ 476280 w 2471526"/>
                <a:gd name="connsiteY22" fmla="*/ 286379 h 528672"/>
                <a:gd name="connsiteX23" fmla="*/ 459474 w 2471526"/>
                <a:gd name="connsiteY23" fmla="*/ 254758 h 528672"/>
                <a:gd name="connsiteX24" fmla="*/ 373189 w 2471526"/>
                <a:gd name="connsiteY24" fmla="*/ 171629 h 528672"/>
                <a:gd name="connsiteX25" fmla="*/ 298934 w 2471526"/>
                <a:gd name="connsiteY25" fmla="*/ 98841 h 528672"/>
                <a:gd name="connsiteX26" fmla="*/ 227388 w 2471526"/>
                <a:gd name="connsiteY26" fmla="*/ 48725 h 528672"/>
                <a:gd name="connsiteX27" fmla="*/ 142718 w 2471526"/>
                <a:gd name="connsiteY27" fmla="*/ 25979 h 528672"/>
                <a:gd name="connsiteX28" fmla="*/ 0 w 2471526"/>
                <a:gd name="connsiteY28" fmla="*/ 0 h 528672"/>
                <a:gd name="connsiteX0" fmla="*/ 2471526 w 2471526"/>
                <a:gd name="connsiteY0" fmla="*/ 473026 h 528672"/>
                <a:gd name="connsiteX1" fmla="*/ 2370161 w 2471526"/>
                <a:gd name="connsiteY1" fmla="*/ 459475 h 528672"/>
                <a:gd name="connsiteX2" fmla="*/ 2307430 w 2471526"/>
                <a:gd name="connsiteY2" fmla="*/ 415045 h 528672"/>
                <a:gd name="connsiteX3" fmla="*/ 2211812 w 2471526"/>
                <a:gd name="connsiteY3" fmla="*/ 448692 h 528672"/>
                <a:gd name="connsiteX4" fmla="*/ 2081676 w 2471526"/>
                <a:gd name="connsiteY4" fmla="*/ 495966 h 528672"/>
                <a:gd name="connsiteX5" fmla="*/ 1980718 w 2471526"/>
                <a:gd name="connsiteY5" fmla="*/ 486867 h 528672"/>
                <a:gd name="connsiteX6" fmla="*/ 1883391 w 2471526"/>
                <a:gd name="connsiteY6" fmla="*/ 477672 h 528672"/>
                <a:gd name="connsiteX7" fmla="*/ 1796955 w 2471526"/>
                <a:gd name="connsiteY7" fmla="*/ 527713 h 528672"/>
                <a:gd name="connsiteX8" fmla="*/ 1733266 w 2471526"/>
                <a:gd name="connsiteY8" fmla="*/ 509516 h 528672"/>
                <a:gd name="connsiteX9" fmla="*/ 1728716 w 2471526"/>
                <a:gd name="connsiteY9" fmla="*/ 495869 h 528672"/>
                <a:gd name="connsiteX10" fmla="*/ 1724167 w 2471526"/>
                <a:gd name="connsiteY10" fmla="*/ 450376 h 528672"/>
                <a:gd name="connsiteX11" fmla="*/ 1699805 w 2471526"/>
                <a:gd name="connsiteY11" fmla="*/ 429247 h 528672"/>
                <a:gd name="connsiteX12" fmla="*/ 1665027 w 2471526"/>
                <a:gd name="connsiteY12" fmla="*/ 376271 h 528672"/>
                <a:gd name="connsiteX13" fmla="*/ 1610360 w 2471526"/>
                <a:gd name="connsiteY13" fmla="*/ 330703 h 528672"/>
                <a:gd name="connsiteX14" fmla="*/ 1534939 w 2471526"/>
                <a:gd name="connsiteY14" fmla="*/ 297317 h 528672"/>
                <a:gd name="connsiteX15" fmla="*/ 1418199 w 2471526"/>
                <a:gd name="connsiteY15" fmla="*/ 277355 h 528672"/>
                <a:gd name="connsiteX16" fmla="*/ 1260293 w 2471526"/>
                <a:gd name="connsiteY16" fmla="*/ 230471 h 528672"/>
                <a:gd name="connsiteX17" fmla="*/ 1219200 w 2471526"/>
                <a:gd name="connsiteY17" fmla="*/ 254758 h 528672"/>
                <a:gd name="connsiteX18" fmla="*/ 1073624 w 2471526"/>
                <a:gd name="connsiteY18" fmla="*/ 304800 h 528672"/>
                <a:gd name="connsiteX19" fmla="*/ 950345 w 2471526"/>
                <a:gd name="connsiteY19" fmla="*/ 306341 h 528672"/>
                <a:gd name="connsiteX20" fmla="*/ 832813 w 2471526"/>
                <a:gd name="connsiteY20" fmla="*/ 316981 h 528672"/>
                <a:gd name="connsiteX21" fmla="*/ 641445 w 2471526"/>
                <a:gd name="connsiteY21" fmla="*/ 291152 h 528672"/>
                <a:gd name="connsiteX22" fmla="*/ 476280 w 2471526"/>
                <a:gd name="connsiteY22" fmla="*/ 286379 h 528672"/>
                <a:gd name="connsiteX23" fmla="*/ 459474 w 2471526"/>
                <a:gd name="connsiteY23" fmla="*/ 254758 h 528672"/>
                <a:gd name="connsiteX24" fmla="*/ 373189 w 2471526"/>
                <a:gd name="connsiteY24" fmla="*/ 171629 h 528672"/>
                <a:gd name="connsiteX25" fmla="*/ 298934 w 2471526"/>
                <a:gd name="connsiteY25" fmla="*/ 98841 h 528672"/>
                <a:gd name="connsiteX26" fmla="*/ 227388 w 2471526"/>
                <a:gd name="connsiteY26" fmla="*/ 48725 h 528672"/>
                <a:gd name="connsiteX27" fmla="*/ 142718 w 2471526"/>
                <a:gd name="connsiteY27" fmla="*/ 25979 h 528672"/>
                <a:gd name="connsiteX28" fmla="*/ 0 w 2471526"/>
                <a:gd name="connsiteY28" fmla="*/ 0 h 528672"/>
                <a:gd name="connsiteX0" fmla="*/ 2471526 w 2471526"/>
                <a:gd name="connsiteY0" fmla="*/ 473026 h 528672"/>
                <a:gd name="connsiteX1" fmla="*/ 2370161 w 2471526"/>
                <a:gd name="connsiteY1" fmla="*/ 459475 h 528672"/>
                <a:gd name="connsiteX2" fmla="*/ 2307430 w 2471526"/>
                <a:gd name="connsiteY2" fmla="*/ 415045 h 528672"/>
                <a:gd name="connsiteX3" fmla="*/ 2211812 w 2471526"/>
                <a:gd name="connsiteY3" fmla="*/ 448692 h 528672"/>
                <a:gd name="connsiteX4" fmla="*/ 2081676 w 2471526"/>
                <a:gd name="connsiteY4" fmla="*/ 495966 h 528672"/>
                <a:gd name="connsiteX5" fmla="*/ 1980718 w 2471526"/>
                <a:gd name="connsiteY5" fmla="*/ 486867 h 528672"/>
                <a:gd name="connsiteX6" fmla="*/ 1883391 w 2471526"/>
                <a:gd name="connsiteY6" fmla="*/ 477672 h 528672"/>
                <a:gd name="connsiteX7" fmla="*/ 1796955 w 2471526"/>
                <a:gd name="connsiteY7" fmla="*/ 527713 h 528672"/>
                <a:gd name="connsiteX8" fmla="*/ 1733266 w 2471526"/>
                <a:gd name="connsiteY8" fmla="*/ 509516 h 528672"/>
                <a:gd name="connsiteX9" fmla="*/ 1728716 w 2471526"/>
                <a:gd name="connsiteY9" fmla="*/ 495869 h 528672"/>
                <a:gd name="connsiteX10" fmla="*/ 1724167 w 2471526"/>
                <a:gd name="connsiteY10" fmla="*/ 450376 h 528672"/>
                <a:gd name="connsiteX11" fmla="*/ 1699805 w 2471526"/>
                <a:gd name="connsiteY11" fmla="*/ 429247 h 528672"/>
                <a:gd name="connsiteX12" fmla="*/ 1665027 w 2471526"/>
                <a:gd name="connsiteY12" fmla="*/ 376271 h 528672"/>
                <a:gd name="connsiteX13" fmla="*/ 1610360 w 2471526"/>
                <a:gd name="connsiteY13" fmla="*/ 330703 h 528672"/>
                <a:gd name="connsiteX14" fmla="*/ 1534939 w 2471526"/>
                <a:gd name="connsiteY14" fmla="*/ 297317 h 528672"/>
                <a:gd name="connsiteX15" fmla="*/ 1418199 w 2471526"/>
                <a:gd name="connsiteY15" fmla="*/ 277355 h 528672"/>
                <a:gd name="connsiteX16" fmla="*/ 1260293 w 2471526"/>
                <a:gd name="connsiteY16" fmla="*/ 230471 h 528672"/>
                <a:gd name="connsiteX17" fmla="*/ 1219200 w 2471526"/>
                <a:gd name="connsiteY17" fmla="*/ 254758 h 528672"/>
                <a:gd name="connsiteX18" fmla="*/ 1073624 w 2471526"/>
                <a:gd name="connsiteY18" fmla="*/ 304800 h 528672"/>
                <a:gd name="connsiteX19" fmla="*/ 950345 w 2471526"/>
                <a:gd name="connsiteY19" fmla="*/ 306341 h 528672"/>
                <a:gd name="connsiteX20" fmla="*/ 832813 w 2471526"/>
                <a:gd name="connsiteY20" fmla="*/ 316981 h 528672"/>
                <a:gd name="connsiteX21" fmla="*/ 641445 w 2471526"/>
                <a:gd name="connsiteY21" fmla="*/ 291152 h 528672"/>
                <a:gd name="connsiteX22" fmla="*/ 476280 w 2471526"/>
                <a:gd name="connsiteY22" fmla="*/ 286379 h 528672"/>
                <a:gd name="connsiteX23" fmla="*/ 459474 w 2471526"/>
                <a:gd name="connsiteY23" fmla="*/ 254758 h 528672"/>
                <a:gd name="connsiteX24" fmla="*/ 373189 w 2471526"/>
                <a:gd name="connsiteY24" fmla="*/ 171629 h 528672"/>
                <a:gd name="connsiteX25" fmla="*/ 298934 w 2471526"/>
                <a:gd name="connsiteY25" fmla="*/ 98841 h 528672"/>
                <a:gd name="connsiteX26" fmla="*/ 227388 w 2471526"/>
                <a:gd name="connsiteY26" fmla="*/ 48725 h 528672"/>
                <a:gd name="connsiteX27" fmla="*/ 142718 w 2471526"/>
                <a:gd name="connsiteY27" fmla="*/ 25979 h 528672"/>
                <a:gd name="connsiteX28" fmla="*/ 0 w 2471526"/>
                <a:gd name="connsiteY28" fmla="*/ 0 h 528672"/>
                <a:gd name="connsiteX0" fmla="*/ 2471526 w 2471526"/>
                <a:gd name="connsiteY0" fmla="*/ 473026 h 527715"/>
                <a:gd name="connsiteX1" fmla="*/ 2370161 w 2471526"/>
                <a:gd name="connsiteY1" fmla="*/ 459475 h 527715"/>
                <a:gd name="connsiteX2" fmla="*/ 2307430 w 2471526"/>
                <a:gd name="connsiteY2" fmla="*/ 415045 h 527715"/>
                <a:gd name="connsiteX3" fmla="*/ 2211812 w 2471526"/>
                <a:gd name="connsiteY3" fmla="*/ 448692 h 527715"/>
                <a:gd name="connsiteX4" fmla="*/ 2081676 w 2471526"/>
                <a:gd name="connsiteY4" fmla="*/ 495966 h 527715"/>
                <a:gd name="connsiteX5" fmla="*/ 1980718 w 2471526"/>
                <a:gd name="connsiteY5" fmla="*/ 486867 h 527715"/>
                <a:gd name="connsiteX6" fmla="*/ 1894282 w 2471526"/>
                <a:gd name="connsiteY6" fmla="*/ 510601 h 527715"/>
                <a:gd name="connsiteX7" fmla="*/ 1796955 w 2471526"/>
                <a:gd name="connsiteY7" fmla="*/ 527713 h 527715"/>
                <a:gd name="connsiteX8" fmla="*/ 1733266 w 2471526"/>
                <a:gd name="connsiteY8" fmla="*/ 509516 h 527715"/>
                <a:gd name="connsiteX9" fmla="*/ 1728716 w 2471526"/>
                <a:gd name="connsiteY9" fmla="*/ 495869 h 527715"/>
                <a:gd name="connsiteX10" fmla="*/ 1724167 w 2471526"/>
                <a:gd name="connsiteY10" fmla="*/ 450376 h 527715"/>
                <a:gd name="connsiteX11" fmla="*/ 1699805 w 2471526"/>
                <a:gd name="connsiteY11" fmla="*/ 429247 h 527715"/>
                <a:gd name="connsiteX12" fmla="*/ 1665027 w 2471526"/>
                <a:gd name="connsiteY12" fmla="*/ 376271 h 527715"/>
                <a:gd name="connsiteX13" fmla="*/ 1610360 w 2471526"/>
                <a:gd name="connsiteY13" fmla="*/ 330703 h 527715"/>
                <a:gd name="connsiteX14" fmla="*/ 1534939 w 2471526"/>
                <a:gd name="connsiteY14" fmla="*/ 297317 h 527715"/>
                <a:gd name="connsiteX15" fmla="*/ 1418199 w 2471526"/>
                <a:gd name="connsiteY15" fmla="*/ 277355 h 527715"/>
                <a:gd name="connsiteX16" fmla="*/ 1260293 w 2471526"/>
                <a:gd name="connsiteY16" fmla="*/ 230471 h 527715"/>
                <a:gd name="connsiteX17" fmla="*/ 1219200 w 2471526"/>
                <a:gd name="connsiteY17" fmla="*/ 254758 h 527715"/>
                <a:gd name="connsiteX18" fmla="*/ 1073624 w 2471526"/>
                <a:gd name="connsiteY18" fmla="*/ 304800 h 527715"/>
                <a:gd name="connsiteX19" fmla="*/ 950345 w 2471526"/>
                <a:gd name="connsiteY19" fmla="*/ 306341 h 527715"/>
                <a:gd name="connsiteX20" fmla="*/ 832813 w 2471526"/>
                <a:gd name="connsiteY20" fmla="*/ 316981 h 527715"/>
                <a:gd name="connsiteX21" fmla="*/ 641445 w 2471526"/>
                <a:gd name="connsiteY21" fmla="*/ 291152 h 527715"/>
                <a:gd name="connsiteX22" fmla="*/ 476280 w 2471526"/>
                <a:gd name="connsiteY22" fmla="*/ 286379 h 527715"/>
                <a:gd name="connsiteX23" fmla="*/ 459474 w 2471526"/>
                <a:gd name="connsiteY23" fmla="*/ 254758 h 527715"/>
                <a:gd name="connsiteX24" fmla="*/ 373189 w 2471526"/>
                <a:gd name="connsiteY24" fmla="*/ 171629 h 527715"/>
                <a:gd name="connsiteX25" fmla="*/ 298934 w 2471526"/>
                <a:gd name="connsiteY25" fmla="*/ 98841 h 527715"/>
                <a:gd name="connsiteX26" fmla="*/ 227388 w 2471526"/>
                <a:gd name="connsiteY26" fmla="*/ 48725 h 527715"/>
                <a:gd name="connsiteX27" fmla="*/ 142718 w 2471526"/>
                <a:gd name="connsiteY27" fmla="*/ 25979 h 527715"/>
                <a:gd name="connsiteX28" fmla="*/ 0 w 2471526"/>
                <a:gd name="connsiteY28" fmla="*/ 0 h 527715"/>
                <a:gd name="connsiteX0" fmla="*/ 2471526 w 2471526"/>
                <a:gd name="connsiteY0" fmla="*/ 473026 h 553323"/>
                <a:gd name="connsiteX1" fmla="*/ 2370161 w 2471526"/>
                <a:gd name="connsiteY1" fmla="*/ 459475 h 553323"/>
                <a:gd name="connsiteX2" fmla="*/ 2307430 w 2471526"/>
                <a:gd name="connsiteY2" fmla="*/ 415045 h 553323"/>
                <a:gd name="connsiteX3" fmla="*/ 2211812 w 2471526"/>
                <a:gd name="connsiteY3" fmla="*/ 448692 h 553323"/>
                <a:gd name="connsiteX4" fmla="*/ 2081676 w 2471526"/>
                <a:gd name="connsiteY4" fmla="*/ 495966 h 553323"/>
                <a:gd name="connsiteX5" fmla="*/ 1980718 w 2471526"/>
                <a:gd name="connsiteY5" fmla="*/ 486867 h 553323"/>
                <a:gd name="connsiteX6" fmla="*/ 1894282 w 2471526"/>
                <a:gd name="connsiteY6" fmla="*/ 510601 h 553323"/>
                <a:gd name="connsiteX7" fmla="*/ 1804216 w 2471526"/>
                <a:gd name="connsiteY7" fmla="*/ 553323 h 553323"/>
                <a:gd name="connsiteX8" fmla="*/ 1733266 w 2471526"/>
                <a:gd name="connsiteY8" fmla="*/ 509516 h 553323"/>
                <a:gd name="connsiteX9" fmla="*/ 1728716 w 2471526"/>
                <a:gd name="connsiteY9" fmla="*/ 495869 h 553323"/>
                <a:gd name="connsiteX10" fmla="*/ 1724167 w 2471526"/>
                <a:gd name="connsiteY10" fmla="*/ 450376 h 553323"/>
                <a:gd name="connsiteX11" fmla="*/ 1699805 w 2471526"/>
                <a:gd name="connsiteY11" fmla="*/ 429247 h 553323"/>
                <a:gd name="connsiteX12" fmla="*/ 1665027 w 2471526"/>
                <a:gd name="connsiteY12" fmla="*/ 376271 h 553323"/>
                <a:gd name="connsiteX13" fmla="*/ 1610360 w 2471526"/>
                <a:gd name="connsiteY13" fmla="*/ 330703 h 553323"/>
                <a:gd name="connsiteX14" fmla="*/ 1534939 w 2471526"/>
                <a:gd name="connsiteY14" fmla="*/ 297317 h 553323"/>
                <a:gd name="connsiteX15" fmla="*/ 1418199 w 2471526"/>
                <a:gd name="connsiteY15" fmla="*/ 277355 h 553323"/>
                <a:gd name="connsiteX16" fmla="*/ 1260293 w 2471526"/>
                <a:gd name="connsiteY16" fmla="*/ 230471 h 553323"/>
                <a:gd name="connsiteX17" fmla="*/ 1219200 w 2471526"/>
                <a:gd name="connsiteY17" fmla="*/ 254758 h 553323"/>
                <a:gd name="connsiteX18" fmla="*/ 1073624 w 2471526"/>
                <a:gd name="connsiteY18" fmla="*/ 304800 h 553323"/>
                <a:gd name="connsiteX19" fmla="*/ 950345 w 2471526"/>
                <a:gd name="connsiteY19" fmla="*/ 306341 h 553323"/>
                <a:gd name="connsiteX20" fmla="*/ 832813 w 2471526"/>
                <a:gd name="connsiteY20" fmla="*/ 316981 h 553323"/>
                <a:gd name="connsiteX21" fmla="*/ 641445 w 2471526"/>
                <a:gd name="connsiteY21" fmla="*/ 291152 h 553323"/>
                <a:gd name="connsiteX22" fmla="*/ 476280 w 2471526"/>
                <a:gd name="connsiteY22" fmla="*/ 286379 h 553323"/>
                <a:gd name="connsiteX23" fmla="*/ 459474 w 2471526"/>
                <a:gd name="connsiteY23" fmla="*/ 254758 h 553323"/>
                <a:gd name="connsiteX24" fmla="*/ 373189 w 2471526"/>
                <a:gd name="connsiteY24" fmla="*/ 171629 h 553323"/>
                <a:gd name="connsiteX25" fmla="*/ 298934 w 2471526"/>
                <a:gd name="connsiteY25" fmla="*/ 98841 h 553323"/>
                <a:gd name="connsiteX26" fmla="*/ 227388 w 2471526"/>
                <a:gd name="connsiteY26" fmla="*/ 48725 h 553323"/>
                <a:gd name="connsiteX27" fmla="*/ 142718 w 2471526"/>
                <a:gd name="connsiteY27" fmla="*/ 25979 h 553323"/>
                <a:gd name="connsiteX28" fmla="*/ 0 w 2471526"/>
                <a:gd name="connsiteY28" fmla="*/ 0 h 553323"/>
                <a:gd name="connsiteX0" fmla="*/ 2471526 w 2471526"/>
                <a:gd name="connsiteY0" fmla="*/ 473026 h 553484"/>
                <a:gd name="connsiteX1" fmla="*/ 2370161 w 2471526"/>
                <a:gd name="connsiteY1" fmla="*/ 459475 h 553484"/>
                <a:gd name="connsiteX2" fmla="*/ 2307430 w 2471526"/>
                <a:gd name="connsiteY2" fmla="*/ 415045 h 553484"/>
                <a:gd name="connsiteX3" fmla="*/ 2211812 w 2471526"/>
                <a:gd name="connsiteY3" fmla="*/ 448692 h 553484"/>
                <a:gd name="connsiteX4" fmla="*/ 2081676 w 2471526"/>
                <a:gd name="connsiteY4" fmla="*/ 495966 h 553484"/>
                <a:gd name="connsiteX5" fmla="*/ 1980718 w 2471526"/>
                <a:gd name="connsiteY5" fmla="*/ 486867 h 553484"/>
                <a:gd name="connsiteX6" fmla="*/ 1894282 w 2471526"/>
                <a:gd name="connsiteY6" fmla="*/ 510601 h 553484"/>
                <a:gd name="connsiteX7" fmla="*/ 1899830 w 2471526"/>
                <a:gd name="connsiteY7" fmla="*/ 523859 h 553484"/>
                <a:gd name="connsiteX8" fmla="*/ 1804216 w 2471526"/>
                <a:gd name="connsiteY8" fmla="*/ 553323 h 553484"/>
                <a:gd name="connsiteX9" fmla="*/ 1733266 w 2471526"/>
                <a:gd name="connsiteY9" fmla="*/ 509516 h 553484"/>
                <a:gd name="connsiteX10" fmla="*/ 1728716 w 2471526"/>
                <a:gd name="connsiteY10" fmla="*/ 495869 h 553484"/>
                <a:gd name="connsiteX11" fmla="*/ 1724167 w 2471526"/>
                <a:gd name="connsiteY11" fmla="*/ 450376 h 553484"/>
                <a:gd name="connsiteX12" fmla="*/ 1699805 w 2471526"/>
                <a:gd name="connsiteY12" fmla="*/ 429247 h 553484"/>
                <a:gd name="connsiteX13" fmla="*/ 1665027 w 2471526"/>
                <a:gd name="connsiteY13" fmla="*/ 376271 h 553484"/>
                <a:gd name="connsiteX14" fmla="*/ 1610360 w 2471526"/>
                <a:gd name="connsiteY14" fmla="*/ 330703 h 553484"/>
                <a:gd name="connsiteX15" fmla="*/ 1534939 w 2471526"/>
                <a:gd name="connsiteY15" fmla="*/ 297317 h 553484"/>
                <a:gd name="connsiteX16" fmla="*/ 1418199 w 2471526"/>
                <a:gd name="connsiteY16" fmla="*/ 277355 h 553484"/>
                <a:gd name="connsiteX17" fmla="*/ 1260293 w 2471526"/>
                <a:gd name="connsiteY17" fmla="*/ 230471 h 553484"/>
                <a:gd name="connsiteX18" fmla="*/ 1219200 w 2471526"/>
                <a:gd name="connsiteY18" fmla="*/ 254758 h 553484"/>
                <a:gd name="connsiteX19" fmla="*/ 1073624 w 2471526"/>
                <a:gd name="connsiteY19" fmla="*/ 304800 h 553484"/>
                <a:gd name="connsiteX20" fmla="*/ 950345 w 2471526"/>
                <a:gd name="connsiteY20" fmla="*/ 306341 h 553484"/>
                <a:gd name="connsiteX21" fmla="*/ 832813 w 2471526"/>
                <a:gd name="connsiteY21" fmla="*/ 316981 h 553484"/>
                <a:gd name="connsiteX22" fmla="*/ 641445 w 2471526"/>
                <a:gd name="connsiteY22" fmla="*/ 291152 h 553484"/>
                <a:gd name="connsiteX23" fmla="*/ 476280 w 2471526"/>
                <a:gd name="connsiteY23" fmla="*/ 286379 h 553484"/>
                <a:gd name="connsiteX24" fmla="*/ 459474 w 2471526"/>
                <a:gd name="connsiteY24" fmla="*/ 254758 h 553484"/>
                <a:gd name="connsiteX25" fmla="*/ 373189 w 2471526"/>
                <a:gd name="connsiteY25" fmla="*/ 171629 h 553484"/>
                <a:gd name="connsiteX26" fmla="*/ 298934 w 2471526"/>
                <a:gd name="connsiteY26" fmla="*/ 98841 h 553484"/>
                <a:gd name="connsiteX27" fmla="*/ 227388 w 2471526"/>
                <a:gd name="connsiteY27" fmla="*/ 48725 h 553484"/>
                <a:gd name="connsiteX28" fmla="*/ 142718 w 2471526"/>
                <a:gd name="connsiteY28" fmla="*/ 25979 h 553484"/>
                <a:gd name="connsiteX29" fmla="*/ 0 w 2471526"/>
                <a:gd name="connsiteY29" fmla="*/ 0 h 553484"/>
                <a:gd name="connsiteX0" fmla="*/ 2471526 w 2471526"/>
                <a:gd name="connsiteY0" fmla="*/ 473026 h 553484"/>
                <a:gd name="connsiteX1" fmla="*/ 2370161 w 2471526"/>
                <a:gd name="connsiteY1" fmla="*/ 459475 h 553484"/>
                <a:gd name="connsiteX2" fmla="*/ 2307430 w 2471526"/>
                <a:gd name="connsiteY2" fmla="*/ 415045 h 553484"/>
                <a:gd name="connsiteX3" fmla="*/ 2211812 w 2471526"/>
                <a:gd name="connsiteY3" fmla="*/ 448692 h 553484"/>
                <a:gd name="connsiteX4" fmla="*/ 2081676 w 2471526"/>
                <a:gd name="connsiteY4" fmla="*/ 495966 h 553484"/>
                <a:gd name="connsiteX5" fmla="*/ 1980718 w 2471526"/>
                <a:gd name="connsiteY5" fmla="*/ 486867 h 553484"/>
                <a:gd name="connsiteX6" fmla="*/ 1986957 w 2471526"/>
                <a:gd name="connsiteY6" fmla="*/ 476295 h 553484"/>
                <a:gd name="connsiteX7" fmla="*/ 1894282 w 2471526"/>
                <a:gd name="connsiteY7" fmla="*/ 510601 h 553484"/>
                <a:gd name="connsiteX8" fmla="*/ 1899830 w 2471526"/>
                <a:gd name="connsiteY8" fmla="*/ 523859 h 553484"/>
                <a:gd name="connsiteX9" fmla="*/ 1804216 w 2471526"/>
                <a:gd name="connsiteY9" fmla="*/ 553323 h 553484"/>
                <a:gd name="connsiteX10" fmla="*/ 1733266 w 2471526"/>
                <a:gd name="connsiteY10" fmla="*/ 509516 h 553484"/>
                <a:gd name="connsiteX11" fmla="*/ 1728716 w 2471526"/>
                <a:gd name="connsiteY11" fmla="*/ 495869 h 553484"/>
                <a:gd name="connsiteX12" fmla="*/ 1724167 w 2471526"/>
                <a:gd name="connsiteY12" fmla="*/ 450376 h 553484"/>
                <a:gd name="connsiteX13" fmla="*/ 1699805 w 2471526"/>
                <a:gd name="connsiteY13" fmla="*/ 429247 h 553484"/>
                <a:gd name="connsiteX14" fmla="*/ 1665027 w 2471526"/>
                <a:gd name="connsiteY14" fmla="*/ 376271 h 553484"/>
                <a:gd name="connsiteX15" fmla="*/ 1610360 w 2471526"/>
                <a:gd name="connsiteY15" fmla="*/ 330703 h 553484"/>
                <a:gd name="connsiteX16" fmla="*/ 1534939 w 2471526"/>
                <a:gd name="connsiteY16" fmla="*/ 297317 h 553484"/>
                <a:gd name="connsiteX17" fmla="*/ 1418199 w 2471526"/>
                <a:gd name="connsiteY17" fmla="*/ 277355 h 553484"/>
                <a:gd name="connsiteX18" fmla="*/ 1260293 w 2471526"/>
                <a:gd name="connsiteY18" fmla="*/ 230471 h 553484"/>
                <a:gd name="connsiteX19" fmla="*/ 1219200 w 2471526"/>
                <a:gd name="connsiteY19" fmla="*/ 254758 h 553484"/>
                <a:gd name="connsiteX20" fmla="*/ 1073624 w 2471526"/>
                <a:gd name="connsiteY20" fmla="*/ 304800 h 553484"/>
                <a:gd name="connsiteX21" fmla="*/ 950345 w 2471526"/>
                <a:gd name="connsiteY21" fmla="*/ 306341 h 553484"/>
                <a:gd name="connsiteX22" fmla="*/ 832813 w 2471526"/>
                <a:gd name="connsiteY22" fmla="*/ 316981 h 553484"/>
                <a:gd name="connsiteX23" fmla="*/ 641445 w 2471526"/>
                <a:gd name="connsiteY23" fmla="*/ 291152 h 553484"/>
                <a:gd name="connsiteX24" fmla="*/ 476280 w 2471526"/>
                <a:gd name="connsiteY24" fmla="*/ 286379 h 553484"/>
                <a:gd name="connsiteX25" fmla="*/ 459474 w 2471526"/>
                <a:gd name="connsiteY25" fmla="*/ 254758 h 553484"/>
                <a:gd name="connsiteX26" fmla="*/ 373189 w 2471526"/>
                <a:gd name="connsiteY26" fmla="*/ 171629 h 553484"/>
                <a:gd name="connsiteX27" fmla="*/ 298934 w 2471526"/>
                <a:gd name="connsiteY27" fmla="*/ 98841 h 553484"/>
                <a:gd name="connsiteX28" fmla="*/ 227388 w 2471526"/>
                <a:gd name="connsiteY28" fmla="*/ 48725 h 553484"/>
                <a:gd name="connsiteX29" fmla="*/ 142718 w 2471526"/>
                <a:gd name="connsiteY29" fmla="*/ 25979 h 553484"/>
                <a:gd name="connsiteX30" fmla="*/ 0 w 2471526"/>
                <a:gd name="connsiteY30" fmla="*/ 0 h 553484"/>
                <a:gd name="connsiteX0" fmla="*/ 2471526 w 2471526"/>
                <a:gd name="connsiteY0" fmla="*/ 473026 h 560911"/>
                <a:gd name="connsiteX1" fmla="*/ 2370161 w 2471526"/>
                <a:gd name="connsiteY1" fmla="*/ 459475 h 560911"/>
                <a:gd name="connsiteX2" fmla="*/ 2307430 w 2471526"/>
                <a:gd name="connsiteY2" fmla="*/ 415045 h 560911"/>
                <a:gd name="connsiteX3" fmla="*/ 2211812 w 2471526"/>
                <a:gd name="connsiteY3" fmla="*/ 448692 h 560911"/>
                <a:gd name="connsiteX4" fmla="*/ 2081676 w 2471526"/>
                <a:gd name="connsiteY4" fmla="*/ 495966 h 560911"/>
                <a:gd name="connsiteX5" fmla="*/ 1980718 w 2471526"/>
                <a:gd name="connsiteY5" fmla="*/ 486867 h 560911"/>
                <a:gd name="connsiteX6" fmla="*/ 1986957 w 2471526"/>
                <a:gd name="connsiteY6" fmla="*/ 476295 h 560911"/>
                <a:gd name="connsiteX7" fmla="*/ 1894282 w 2471526"/>
                <a:gd name="connsiteY7" fmla="*/ 510601 h 560911"/>
                <a:gd name="connsiteX8" fmla="*/ 1899830 w 2471526"/>
                <a:gd name="connsiteY8" fmla="*/ 556786 h 560911"/>
                <a:gd name="connsiteX9" fmla="*/ 1804216 w 2471526"/>
                <a:gd name="connsiteY9" fmla="*/ 553323 h 560911"/>
                <a:gd name="connsiteX10" fmla="*/ 1733266 w 2471526"/>
                <a:gd name="connsiteY10" fmla="*/ 509516 h 560911"/>
                <a:gd name="connsiteX11" fmla="*/ 1728716 w 2471526"/>
                <a:gd name="connsiteY11" fmla="*/ 495869 h 560911"/>
                <a:gd name="connsiteX12" fmla="*/ 1724167 w 2471526"/>
                <a:gd name="connsiteY12" fmla="*/ 450376 h 560911"/>
                <a:gd name="connsiteX13" fmla="*/ 1699805 w 2471526"/>
                <a:gd name="connsiteY13" fmla="*/ 429247 h 560911"/>
                <a:gd name="connsiteX14" fmla="*/ 1665027 w 2471526"/>
                <a:gd name="connsiteY14" fmla="*/ 376271 h 560911"/>
                <a:gd name="connsiteX15" fmla="*/ 1610360 w 2471526"/>
                <a:gd name="connsiteY15" fmla="*/ 330703 h 560911"/>
                <a:gd name="connsiteX16" fmla="*/ 1534939 w 2471526"/>
                <a:gd name="connsiteY16" fmla="*/ 297317 h 560911"/>
                <a:gd name="connsiteX17" fmla="*/ 1418199 w 2471526"/>
                <a:gd name="connsiteY17" fmla="*/ 277355 h 560911"/>
                <a:gd name="connsiteX18" fmla="*/ 1260293 w 2471526"/>
                <a:gd name="connsiteY18" fmla="*/ 230471 h 560911"/>
                <a:gd name="connsiteX19" fmla="*/ 1219200 w 2471526"/>
                <a:gd name="connsiteY19" fmla="*/ 254758 h 560911"/>
                <a:gd name="connsiteX20" fmla="*/ 1073624 w 2471526"/>
                <a:gd name="connsiteY20" fmla="*/ 304800 h 560911"/>
                <a:gd name="connsiteX21" fmla="*/ 950345 w 2471526"/>
                <a:gd name="connsiteY21" fmla="*/ 306341 h 560911"/>
                <a:gd name="connsiteX22" fmla="*/ 832813 w 2471526"/>
                <a:gd name="connsiteY22" fmla="*/ 316981 h 560911"/>
                <a:gd name="connsiteX23" fmla="*/ 641445 w 2471526"/>
                <a:gd name="connsiteY23" fmla="*/ 291152 h 560911"/>
                <a:gd name="connsiteX24" fmla="*/ 476280 w 2471526"/>
                <a:gd name="connsiteY24" fmla="*/ 286379 h 560911"/>
                <a:gd name="connsiteX25" fmla="*/ 459474 w 2471526"/>
                <a:gd name="connsiteY25" fmla="*/ 254758 h 560911"/>
                <a:gd name="connsiteX26" fmla="*/ 373189 w 2471526"/>
                <a:gd name="connsiteY26" fmla="*/ 171629 h 560911"/>
                <a:gd name="connsiteX27" fmla="*/ 298934 w 2471526"/>
                <a:gd name="connsiteY27" fmla="*/ 98841 h 560911"/>
                <a:gd name="connsiteX28" fmla="*/ 227388 w 2471526"/>
                <a:gd name="connsiteY28" fmla="*/ 48725 h 560911"/>
                <a:gd name="connsiteX29" fmla="*/ 142718 w 2471526"/>
                <a:gd name="connsiteY29" fmla="*/ 25979 h 560911"/>
                <a:gd name="connsiteX30" fmla="*/ 0 w 2471526"/>
                <a:gd name="connsiteY30" fmla="*/ 0 h 560911"/>
                <a:gd name="connsiteX0" fmla="*/ 2471526 w 2471526"/>
                <a:gd name="connsiteY0" fmla="*/ 473026 h 553323"/>
                <a:gd name="connsiteX1" fmla="*/ 2370161 w 2471526"/>
                <a:gd name="connsiteY1" fmla="*/ 459475 h 553323"/>
                <a:gd name="connsiteX2" fmla="*/ 2307430 w 2471526"/>
                <a:gd name="connsiteY2" fmla="*/ 415045 h 553323"/>
                <a:gd name="connsiteX3" fmla="*/ 2211812 w 2471526"/>
                <a:gd name="connsiteY3" fmla="*/ 448692 h 553323"/>
                <a:gd name="connsiteX4" fmla="*/ 2081676 w 2471526"/>
                <a:gd name="connsiteY4" fmla="*/ 495966 h 553323"/>
                <a:gd name="connsiteX5" fmla="*/ 1980718 w 2471526"/>
                <a:gd name="connsiteY5" fmla="*/ 486867 h 553323"/>
                <a:gd name="connsiteX6" fmla="*/ 1986957 w 2471526"/>
                <a:gd name="connsiteY6" fmla="*/ 476295 h 553323"/>
                <a:gd name="connsiteX7" fmla="*/ 1894282 w 2471526"/>
                <a:gd name="connsiteY7" fmla="*/ 510601 h 553323"/>
                <a:gd name="connsiteX8" fmla="*/ 1804216 w 2471526"/>
                <a:gd name="connsiteY8" fmla="*/ 553323 h 553323"/>
                <a:gd name="connsiteX9" fmla="*/ 1733266 w 2471526"/>
                <a:gd name="connsiteY9" fmla="*/ 509516 h 553323"/>
                <a:gd name="connsiteX10" fmla="*/ 1728716 w 2471526"/>
                <a:gd name="connsiteY10" fmla="*/ 495869 h 553323"/>
                <a:gd name="connsiteX11" fmla="*/ 1724167 w 2471526"/>
                <a:gd name="connsiteY11" fmla="*/ 450376 h 553323"/>
                <a:gd name="connsiteX12" fmla="*/ 1699805 w 2471526"/>
                <a:gd name="connsiteY12" fmla="*/ 429247 h 553323"/>
                <a:gd name="connsiteX13" fmla="*/ 1665027 w 2471526"/>
                <a:gd name="connsiteY13" fmla="*/ 376271 h 553323"/>
                <a:gd name="connsiteX14" fmla="*/ 1610360 w 2471526"/>
                <a:gd name="connsiteY14" fmla="*/ 330703 h 553323"/>
                <a:gd name="connsiteX15" fmla="*/ 1534939 w 2471526"/>
                <a:gd name="connsiteY15" fmla="*/ 297317 h 553323"/>
                <a:gd name="connsiteX16" fmla="*/ 1418199 w 2471526"/>
                <a:gd name="connsiteY16" fmla="*/ 277355 h 553323"/>
                <a:gd name="connsiteX17" fmla="*/ 1260293 w 2471526"/>
                <a:gd name="connsiteY17" fmla="*/ 230471 h 553323"/>
                <a:gd name="connsiteX18" fmla="*/ 1219200 w 2471526"/>
                <a:gd name="connsiteY18" fmla="*/ 254758 h 553323"/>
                <a:gd name="connsiteX19" fmla="*/ 1073624 w 2471526"/>
                <a:gd name="connsiteY19" fmla="*/ 304800 h 553323"/>
                <a:gd name="connsiteX20" fmla="*/ 950345 w 2471526"/>
                <a:gd name="connsiteY20" fmla="*/ 306341 h 553323"/>
                <a:gd name="connsiteX21" fmla="*/ 832813 w 2471526"/>
                <a:gd name="connsiteY21" fmla="*/ 316981 h 553323"/>
                <a:gd name="connsiteX22" fmla="*/ 641445 w 2471526"/>
                <a:gd name="connsiteY22" fmla="*/ 291152 h 553323"/>
                <a:gd name="connsiteX23" fmla="*/ 476280 w 2471526"/>
                <a:gd name="connsiteY23" fmla="*/ 286379 h 553323"/>
                <a:gd name="connsiteX24" fmla="*/ 459474 w 2471526"/>
                <a:gd name="connsiteY24" fmla="*/ 254758 h 553323"/>
                <a:gd name="connsiteX25" fmla="*/ 373189 w 2471526"/>
                <a:gd name="connsiteY25" fmla="*/ 171629 h 553323"/>
                <a:gd name="connsiteX26" fmla="*/ 298934 w 2471526"/>
                <a:gd name="connsiteY26" fmla="*/ 98841 h 553323"/>
                <a:gd name="connsiteX27" fmla="*/ 227388 w 2471526"/>
                <a:gd name="connsiteY27" fmla="*/ 48725 h 553323"/>
                <a:gd name="connsiteX28" fmla="*/ 142718 w 2471526"/>
                <a:gd name="connsiteY28" fmla="*/ 25979 h 553323"/>
                <a:gd name="connsiteX29" fmla="*/ 0 w 2471526"/>
                <a:gd name="connsiteY29" fmla="*/ 0 h 553323"/>
                <a:gd name="connsiteX0" fmla="*/ 2471526 w 2471526"/>
                <a:gd name="connsiteY0" fmla="*/ 473026 h 553323"/>
                <a:gd name="connsiteX1" fmla="*/ 2370161 w 2471526"/>
                <a:gd name="connsiteY1" fmla="*/ 459475 h 553323"/>
                <a:gd name="connsiteX2" fmla="*/ 2307430 w 2471526"/>
                <a:gd name="connsiteY2" fmla="*/ 415045 h 553323"/>
                <a:gd name="connsiteX3" fmla="*/ 2211812 w 2471526"/>
                <a:gd name="connsiteY3" fmla="*/ 448692 h 553323"/>
                <a:gd name="connsiteX4" fmla="*/ 2081676 w 2471526"/>
                <a:gd name="connsiteY4" fmla="*/ 495966 h 553323"/>
                <a:gd name="connsiteX5" fmla="*/ 1980718 w 2471526"/>
                <a:gd name="connsiteY5" fmla="*/ 486867 h 553323"/>
                <a:gd name="connsiteX6" fmla="*/ 1986957 w 2471526"/>
                <a:gd name="connsiteY6" fmla="*/ 476295 h 553323"/>
                <a:gd name="connsiteX7" fmla="*/ 1919694 w 2471526"/>
                <a:gd name="connsiteY7" fmla="*/ 510601 h 553323"/>
                <a:gd name="connsiteX8" fmla="*/ 1804216 w 2471526"/>
                <a:gd name="connsiteY8" fmla="*/ 553323 h 553323"/>
                <a:gd name="connsiteX9" fmla="*/ 1733266 w 2471526"/>
                <a:gd name="connsiteY9" fmla="*/ 509516 h 553323"/>
                <a:gd name="connsiteX10" fmla="*/ 1728716 w 2471526"/>
                <a:gd name="connsiteY10" fmla="*/ 495869 h 553323"/>
                <a:gd name="connsiteX11" fmla="*/ 1724167 w 2471526"/>
                <a:gd name="connsiteY11" fmla="*/ 450376 h 553323"/>
                <a:gd name="connsiteX12" fmla="*/ 1699805 w 2471526"/>
                <a:gd name="connsiteY12" fmla="*/ 429247 h 553323"/>
                <a:gd name="connsiteX13" fmla="*/ 1665027 w 2471526"/>
                <a:gd name="connsiteY13" fmla="*/ 376271 h 553323"/>
                <a:gd name="connsiteX14" fmla="*/ 1610360 w 2471526"/>
                <a:gd name="connsiteY14" fmla="*/ 330703 h 553323"/>
                <a:gd name="connsiteX15" fmla="*/ 1534939 w 2471526"/>
                <a:gd name="connsiteY15" fmla="*/ 297317 h 553323"/>
                <a:gd name="connsiteX16" fmla="*/ 1418199 w 2471526"/>
                <a:gd name="connsiteY16" fmla="*/ 277355 h 553323"/>
                <a:gd name="connsiteX17" fmla="*/ 1260293 w 2471526"/>
                <a:gd name="connsiteY17" fmla="*/ 230471 h 553323"/>
                <a:gd name="connsiteX18" fmla="*/ 1219200 w 2471526"/>
                <a:gd name="connsiteY18" fmla="*/ 254758 h 553323"/>
                <a:gd name="connsiteX19" fmla="*/ 1073624 w 2471526"/>
                <a:gd name="connsiteY19" fmla="*/ 304800 h 553323"/>
                <a:gd name="connsiteX20" fmla="*/ 950345 w 2471526"/>
                <a:gd name="connsiteY20" fmla="*/ 306341 h 553323"/>
                <a:gd name="connsiteX21" fmla="*/ 832813 w 2471526"/>
                <a:gd name="connsiteY21" fmla="*/ 316981 h 553323"/>
                <a:gd name="connsiteX22" fmla="*/ 641445 w 2471526"/>
                <a:gd name="connsiteY22" fmla="*/ 291152 h 553323"/>
                <a:gd name="connsiteX23" fmla="*/ 476280 w 2471526"/>
                <a:gd name="connsiteY23" fmla="*/ 286379 h 553323"/>
                <a:gd name="connsiteX24" fmla="*/ 459474 w 2471526"/>
                <a:gd name="connsiteY24" fmla="*/ 254758 h 553323"/>
                <a:gd name="connsiteX25" fmla="*/ 373189 w 2471526"/>
                <a:gd name="connsiteY25" fmla="*/ 171629 h 553323"/>
                <a:gd name="connsiteX26" fmla="*/ 298934 w 2471526"/>
                <a:gd name="connsiteY26" fmla="*/ 98841 h 553323"/>
                <a:gd name="connsiteX27" fmla="*/ 227388 w 2471526"/>
                <a:gd name="connsiteY27" fmla="*/ 48725 h 553323"/>
                <a:gd name="connsiteX28" fmla="*/ 142718 w 2471526"/>
                <a:gd name="connsiteY28" fmla="*/ 25979 h 553323"/>
                <a:gd name="connsiteX29" fmla="*/ 0 w 2471526"/>
                <a:gd name="connsiteY29" fmla="*/ 0 h 553323"/>
                <a:gd name="connsiteX0" fmla="*/ 2471526 w 2471526"/>
                <a:gd name="connsiteY0" fmla="*/ 473026 h 553323"/>
                <a:gd name="connsiteX1" fmla="*/ 2370161 w 2471526"/>
                <a:gd name="connsiteY1" fmla="*/ 459475 h 553323"/>
                <a:gd name="connsiteX2" fmla="*/ 2307430 w 2471526"/>
                <a:gd name="connsiteY2" fmla="*/ 415045 h 553323"/>
                <a:gd name="connsiteX3" fmla="*/ 2211812 w 2471526"/>
                <a:gd name="connsiteY3" fmla="*/ 448692 h 553323"/>
                <a:gd name="connsiteX4" fmla="*/ 2081676 w 2471526"/>
                <a:gd name="connsiteY4" fmla="*/ 495966 h 553323"/>
                <a:gd name="connsiteX5" fmla="*/ 1980718 w 2471526"/>
                <a:gd name="connsiteY5" fmla="*/ 486867 h 553323"/>
                <a:gd name="connsiteX6" fmla="*/ 1986957 w 2471526"/>
                <a:gd name="connsiteY6" fmla="*/ 476295 h 553323"/>
                <a:gd name="connsiteX7" fmla="*/ 1919694 w 2471526"/>
                <a:gd name="connsiteY7" fmla="*/ 510601 h 553323"/>
                <a:gd name="connsiteX8" fmla="*/ 1829627 w 2471526"/>
                <a:gd name="connsiteY8" fmla="*/ 553323 h 553323"/>
                <a:gd name="connsiteX9" fmla="*/ 1733266 w 2471526"/>
                <a:gd name="connsiteY9" fmla="*/ 509516 h 553323"/>
                <a:gd name="connsiteX10" fmla="*/ 1728716 w 2471526"/>
                <a:gd name="connsiteY10" fmla="*/ 495869 h 553323"/>
                <a:gd name="connsiteX11" fmla="*/ 1724167 w 2471526"/>
                <a:gd name="connsiteY11" fmla="*/ 450376 h 553323"/>
                <a:gd name="connsiteX12" fmla="*/ 1699805 w 2471526"/>
                <a:gd name="connsiteY12" fmla="*/ 429247 h 553323"/>
                <a:gd name="connsiteX13" fmla="*/ 1665027 w 2471526"/>
                <a:gd name="connsiteY13" fmla="*/ 376271 h 553323"/>
                <a:gd name="connsiteX14" fmla="*/ 1610360 w 2471526"/>
                <a:gd name="connsiteY14" fmla="*/ 330703 h 553323"/>
                <a:gd name="connsiteX15" fmla="*/ 1534939 w 2471526"/>
                <a:gd name="connsiteY15" fmla="*/ 297317 h 553323"/>
                <a:gd name="connsiteX16" fmla="*/ 1418199 w 2471526"/>
                <a:gd name="connsiteY16" fmla="*/ 277355 h 553323"/>
                <a:gd name="connsiteX17" fmla="*/ 1260293 w 2471526"/>
                <a:gd name="connsiteY17" fmla="*/ 230471 h 553323"/>
                <a:gd name="connsiteX18" fmla="*/ 1219200 w 2471526"/>
                <a:gd name="connsiteY18" fmla="*/ 254758 h 553323"/>
                <a:gd name="connsiteX19" fmla="*/ 1073624 w 2471526"/>
                <a:gd name="connsiteY19" fmla="*/ 304800 h 553323"/>
                <a:gd name="connsiteX20" fmla="*/ 950345 w 2471526"/>
                <a:gd name="connsiteY20" fmla="*/ 306341 h 553323"/>
                <a:gd name="connsiteX21" fmla="*/ 832813 w 2471526"/>
                <a:gd name="connsiteY21" fmla="*/ 316981 h 553323"/>
                <a:gd name="connsiteX22" fmla="*/ 641445 w 2471526"/>
                <a:gd name="connsiteY22" fmla="*/ 291152 h 553323"/>
                <a:gd name="connsiteX23" fmla="*/ 476280 w 2471526"/>
                <a:gd name="connsiteY23" fmla="*/ 286379 h 553323"/>
                <a:gd name="connsiteX24" fmla="*/ 459474 w 2471526"/>
                <a:gd name="connsiteY24" fmla="*/ 254758 h 553323"/>
                <a:gd name="connsiteX25" fmla="*/ 373189 w 2471526"/>
                <a:gd name="connsiteY25" fmla="*/ 171629 h 553323"/>
                <a:gd name="connsiteX26" fmla="*/ 298934 w 2471526"/>
                <a:gd name="connsiteY26" fmla="*/ 98841 h 553323"/>
                <a:gd name="connsiteX27" fmla="*/ 227388 w 2471526"/>
                <a:gd name="connsiteY27" fmla="*/ 48725 h 553323"/>
                <a:gd name="connsiteX28" fmla="*/ 142718 w 2471526"/>
                <a:gd name="connsiteY28" fmla="*/ 25979 h 553323"/>
                <a:gd name="connsiteX29" fmla="*/ 0 w 2471526"/>
                <a:gd name="connsiteY29" fmla="*/ 0 h 553323"/>
                <a:gd name="connsiteX0" fmla="*/ 2471526 w 2471526"/>
                <a:gd name="connsiteY0" fmla="*/ 473026 h 553323"/>
                <a:gd name="connsiteX1" fmla="*/ 2370161 w 2471526"/>
                <a:gd name="connsiteY1" fmla="*/ 459475 h 553323"/>
                <a:gd name="connsiteX2" fmla="*/ 2307430 w 2471526"/>
                <a:gd name="connsiteY2" fmla="*/ 415045 h 553323"/>
                <a:gd name="connsiteX3" fmla="*/ 2211812 w 2471526"/>
                <a:gd name="connsiteY3" fmla="*/ 448692 h 553323"/>
                <a:gd name="connsiteX4" fmla="*/ 2081676 w 2471526"/>
                <a:gd name="connsiteY4" fmla="*/ 495966 h 553323"/>
                <a:gd name="connsiteX5" fmla="*/ 2019630 w 2471526"/>
                <a:gd name="connsiteY5" fmla="*/ 494588 h 553323"/>
                <a:gd name="connsiteX6" fmla="*/ 1980718 w 2471526"/>
                <a:gd name="connsiteY6" fmla="*/ 486867 h 553323"/>
                <a:gd name="connsiteX7" fmla="*/ 1986957 w 2471526"/>
                <a:gd name="connsiteY7" fmla="*/ 476295 h 553323"/>
                <a:gd name="connsiteX8" fmla="*/ 1919694 w 2471526"/>
                <a:gd name="connsiteY8" fmla="*/ 510601 h 553323"/>
                <a:gd name="connsiteX9" fmla="*/ 1829627 w 2471526"/>
                <a:gd name="connsiteY9" fmla="*/ 553323 h 553323"/>
                <a:gd name="connsiteX10" fmla="*/ 1733266 w 2471526"/>
                <a:gd name="connsiteY10" fmla="*/ 509516 h 553323"/>
                <a:gd name="connsiteX11" fmla="*/ 1728716 w 2471526"/>
                <a:gd name="connsiteY11" fmla="*/ 495869 h 553323"/>
                <a:gd name="connsiteX12" fmla="*/ 1724167 w 2471526"/>
                <a:gd name="connsiteY12" fmla="*/ 450376 h 553323"/>
                <a:gd name="connsiteX13" fmla="*/ 1699805 w 2471526"/>
                <a:gd name="connsiteY13" fmla="*/ 429247 h 553323"/>
                <a:gd name="connsiteX14" fmla="*/ 1665027 w 2471526"/>
                <a:gd name="connsiteY14" fmla="*/ 376271 h 553323"/>
                <a:gd name="connsiteX15" fmla="*/ 1610360 w 2471526"/>
                <a:gd name="connsiteY15" fmla="*/ 330703 h 553323"/>
                <a:gd name="connsiteX16" fmla="*/ 1534939 w 2471526"/>
                <a:gd name="connsiteY16" fmla="*/ 297317 h 553323"/>
                <a:gd name="connsiteX17" fmla="*/ 1418199 w 2471526"/>
                <a:gd name="connsiteY17" fmla="*/ 277355 h 553323"/>
                <a:gd name="connsiteX18" fmla="*/ 1260293 w 2471526"/>
                <a:gd name="connsiteY18" fmla="*/ 230471 h 553323"/>
                <a:gd name="connsiteX19" fmla="*/ 1219200 w 2471526"/>
                <a:gd name="connsiteY19" fmla="*/ 254758 h 553323"/>
                <a:gd name="connsiteX20" fmla="*/ 1073624 w 2471526"/>
                <a:gd name="connsiteY20" fmla="*/ 304800 h 553323"/>
                <a:gd name="connsiteX21" fmla="*/ 950345 w 2471526"/>
                <a:gd name="connsiteY21" fmla="*/ 306341 h 553323"/>
                <a:gd name="connsiteX22" fmla="*/ 832813 w 2471526"/>
                <a:gd name="connsiteY22" fmla="*/ 316981 h 553323"/>
                <a:gd name="connsiteX23" fmla="*/ 641445 w 2471526"/>
                <a:gd name="connsiteY23" fmla="*/ 291152 h 553323"/>
                <a:gd name="connsiteX24" fmla="*/ 476280 w 2471526"/>
                <a:gd name="connsiteY24" fmla="*/ 286379 h 553323"/>
                <a:gd name="connsiteX25" fmla="*/ 459474 w 2471526"/>
                <a:gd name="connsiteY25" fmla="*/ 254758 h 553323"/>
                <a:gd name="connsiteX26" fmla="*/ 373189 w 2471526"/>
                <a:gd name="connsiteY26" fmla="*/ 171629 h 553323"/>
                <a:gd name="connsiteX27" fmla="*/ 298934 w 2471526"/>
                <a:gd name="connsiteY27" fmla="*/ 98841 h 553323"/>
                <a:gd name="connsiteX28" fmla="*/ 227388 w 2471526"/>
                <a:gd name="connsiteY28" fmla="*/ 48725 h 553323"/>
                <a:gd name="connsiteX29" fmla="*/ 142718 w 2471526"/>
                <a:gd name="connsiteY29" fmla="*/ 25979 h 553323"/>
                <a:gd name="connsiteX30" fmla="*/ 0 w 2471526"/>
                <a:gd name="connsiteY30" fmla="*/ 0 h 553323"/>
                <a:gd name="connsiteX0" fmla="*/ 2471526 w 2471526"/>
                <a:gd name="connsiteY0" fmla="*/ 473026 h 553323"/>
                <a:gd name="connsiteX1" fmla="*/ 2370161 w 2471526"/>
                <a:gd name="connsiteY1" fmla="*/ 459475 h 553323"/>
                <a:gd name="connsiteX2" fmla="*/ 2307430 w 2471526"/>
                <a:gd name="connsiteY2" fmla="*/ 415045 h 553323"/>
                <a:gd name="connsiteX3" fmla="*/ 2211812 w 2471526"/>
                <a:gd name="connsiteY3" fmla="*/ 448692 h 553323"/>
                <a:gd name="connsiteX4" fmla="*/ 2081676 w 2471526"/>
                <a:gd name="connsiteY4" fmla="*/ 495966 h 553323"/>
                <a:gd name="connsiteX5" fmla="*/ 1980718 w 2471526"/>
                <a:gd name="connsiteY5" fmla="*/ 486867 h 553323"/>
                <a:gd name="connsiteX6" fmla="*/ 1986957 w 2471526"/>
                <a:gd name="connsiteY6" fmla="*/ 476295 h 553323"/>
                <a:gd name="connsiteX7" fmla="*/ 1919694 w 2471526"/>
                <a:gd name="connsiteY7" fmla="*/ 510601 h 553323"/>
                <a:gd name="connsiteX8" fmla="*/ 1829627 w 2471526"/>
                <a:gd name="connsiteY8" fmla="*/ 553323 h 553323"/>
                <a:gd name="connsiteX9" fmla="*/ 1733266 w 2471526"/>
                <a:gd name="connsiteY9" fmla="*/ 509516 h 553323"/>
                <a:gd name="connsiteX10" fmla="*/ 1728716 w 2471526"/>
                <a:gd name="connsiteY10" fmla="*/ 495869 h 553323"/>
                <a:gd name="connsiteX11" fmla="*/ 1724167 w 2471526"/>
                <a:gd name="connsiteY11" fmla="*/ 450376 h 553323"/>
                <a:gd name="connsiteX12" fmla="*/ 1699805 w 2471526"/>
                <a:gd name="connsiteY12" fmla="*/ 429247 h 553323"/>
                <a:gd name="connsiteX13" fmla="*/ 1665027 w 2471526"/>
                <a:gd name="connsiteY13" fmla="*/ 376271 h 553323"/>
                <a:gd name="connsiteX14" fmla="*/ 1610360 w 2471526"/>
                <a:gd name="connsiteY14" fmla="*/ 330703 h 553323"/>
                <a:gd name="connsiteX15" fmla="*/ 1534939 w 2471526"/>
                <a:gd name="connsiteY15" fmla="*/ 297317 h 553323"/>
                <a:gd name="connsiteX16" fmla="*/ 1418199 w 2471526"/>
                <a:gd name="connsiteY16" fmla="*/ 277355 h 553323"/>
                <a:gd name="connsiteX17" fmla="*/ 1260293 w 2471526"/>
                <a:gd name="connsiteY17" fmla="*/ 230471 h 553323"/>
                <a:gd name="connsiteX18" fmla="*/ 1219200 w 2471526"/>
                <a:gd name="connsiteY18" fmla="*/ 254758 h 553323"/>
                <a:gd name="connsiteX19" fmla="*/ 1073624 w 2471526"/>
                <a:gd name="connsiteY19" fmla="*/ 304800 h 553323"/>
                <a:gd name="connsiteX20" fmla="*/ 950345 w 2471526"/>
                <a:gd name="connsiteY20" fmla="*/ 306341 h 553323"/>
                <a:gd name="connsiteX21" fmla="*/ 832813 w 2471526"/>
                <a:gd name="connsiteY21" fmla="*/ 316981 h 553323"/>
                <a:gd name="connsiteX22" fmla="*/ 641445 w 2471526"/>
                <a:gd name="connsiteY22" fmla="*/ 291152 h 553323"/>
                <a:gd name="connsiteX23" fmla="*/ 476280 w 2471526"/>
                <a:gd name="connsiteY23" fmla="*/ 286379 h 553323"/>
                <a:gd name="connsiteX24" fmla="*/ 459474 w 2471526"/>
                <a:gd name="connsiteY24" fmla="*/ 254758 h 553323"/>
                <a:gd name="connsiteX25" fmla="*/ 373189 w 2471526"/>
                <a:gd name="connsiteY25" fmla="*/ 171629 h 553323"/>
                <a:gd name="connsiteX26" fmla="*/ 298934 w 2471526"/>
                <a:gd name="connsiteY26" fmla="*/ 98841 h 553323"/>
                <a:gd name="connsiteX27" fmla="*/ 227388 w 2471526"/>
                <a:gd name="connsiteY27" fmla="*/ 48725 h 553323"/>
                <a:gd name="connsiteX28" fmla="*/ 142718 w 2471526"/>
                <a:gd name="connsiteY28" fmla="*/ 25979 h 553323"/>
                <a:gd name="connsiteX29" fmla="*/ 0 w 2471526"/>
                <a:gd name="connsiteY29" fmla="*/ 0 h 553323"/>
                <a:gd name="connsiteX0" fmla="*/ 2471526 w 2471526"/>
                <a:gd name="connsiteY0" fmla="*/ 473026 h 553323"/>
                <a:gd name="connsiteX1" fmla="*/ 2370161 w 2471526"/>
                <a:gd name="connsiteY1" fmla="*/ 459475 h 553323"/>
                <a:gd name="connsiteX2" fmla="*/ 2307430 w 2471526"/>
                <a:gd name="connsiteY2" fmla="*/ 415045 h 553323"/>
                <a:gd name="connsiteX3" fmla="*/ 2211812 w 2471526"/>
                <a:gd name="connsiteY3" fmla="*/ 448692 h 553323"/>
                <a:gd name="connsiteX4" fmla="*/ 2081676 w 2471526"/>
                <a:gd name="connsiteY4" fmla="*/ 495966 h 553323"/>
                <a:gd name="connsiteX5" fmla="*/ 1980718 w 2471526"/>
                <a:gd name="connsiteY5" fmla="*/ 486867 h 553323"/>
                <a:gd name="connsiteX6" fmla="*/ 1919694 w 2471526"/>
                <a:gd name="connsiteY6" fmla="*/ 510601 h 553323"/>
                <a:gd name="connsiteX7" fmla="*/ 1829627 w 2471526"/>
                <a:gd name="connsiteY7" fmla="*/ 553323 h 553323"/>
                <a:gd name="connsiteX8" fmla="*/ 1733266 w 2471526"/>
                <a:gd name="connsiteY8" fmla="*/ 509516 h 553323"/>
                <a:gd name="connsiteX9" fmla="*/ 1728716 w 2471526"/>
                <a:gd name="connsiteY9" fmla="*/ 495869 h 553323"/>
                <a:gd name="connsiteX10" fmla="*/ 1724167 w 2471526"/>
                <a:gd name="connsiteY10" fmla="*/ 450376 h 553323"/>
                <a:gd name="connsiteX11" fmla="*/ 1699805 w 2471526"/>
                <a:gd name="connsiteY11" fmla="*/ 429247 h 553323"/>
                <a:gd name="connsiteX12" fmla="*/ 1665027 w 2471526"/>
                <a:gd name="connsiteY12" fmla="*/ 376271 h 553323"/>
                <a:gd name="connsiteX13" fmla="*/ 1610360 w 2471526"/>
                <a:gd name="connsiteY13" fmla="*/ 330703 h 553323"/>
                <a:gd name="connsiteX14" fmla="*/ 1534939 w 2471526"/>
                <a:gd name="connsiteY14" fmla="*/ 297317 h 553323"/>
                <a:gd name="connsiteX15" fmla="*/ 1418199 w 2471526"/>
                <a:gd name="connsiteY15" fmla="*/ 277355 h 553323"/>
                <a:gd name="connsiteX16" fmla="*/ 1260293 w 2471526"/>
                <a:gd name="connsiteY16" fmla="*/ 230471 h 553323"/>
                <a:gd name="connsiteX17" fmla="*/ 1219200 w 2471526"/>
                <a:gd name="connsiteY17" fmla="*/ 254758 h 553323"/>
                <a:gd name="connsiteX18" fmla="*/ 1073624 w 2471526"/>
                <a:gd name="connsiteY18" fmla="*/ 304800 h 553323"/>
                <a:gd name="connsiteX19" fmla="*/ 950345 w 2471526"/>
                <a:gd name="connsiteY19" fmla="*/ 306341 h 553323"/>
                <a:gd name="connsiteX20" fmla="*/ 832813 w 2471526"/>
                <a:gd name="connsiteY20" fmla="*/ 316981 h 553323"/>
                <a:gd name="connsiteX21" fmla="*/ 641445 w 2471526"/>
                <a:gd name="connsiteY21" fmla="*/ 291152 h 553323"/>
                <a:gd name="connsiteX22" fmla="*/ 476280 w 2471526"/>
                <a:gd name="connsiteY22" fmla="*/ 286379 h 553323"/>
                <a:gd name="connsiteX23" fmla="*/ 459474 w 2471526"/>
                <a:gd name="connsiteY23" fmla="*/ 254758 h 553323"/>
                <a:gd name="connsiteX24" fmla="*/ 373189 w 2471526"/>
                <a:gd name="connsiteY24" fmla="*/ 171629 h 553323"/>
                <a:gd name="connsiteX25" fmla="*/ 298934 w 2471526"/>
                <a:gd name="connsiteY25" fmla="*/ 98841 h 553323"/>
                <a:gd name="connsiteX26" fmla="*/ 227388 w 2471526"/>
                <a:gd name="connsiteY26" fmla="*/ 48725 h 553323"/>
                <a:gd name="connsiteX27" fmla="*/ 142718 w 2471526"/>
                <a:gd name="connsiteY27" fmla="*/ 25979 h 553323"/>
                <a:gd name="connsiteX28" fmla="*/ 0 w 2471526"/>
                <a:gd name="connsiteY28" fmla="*/ 0 h 553323"/>
                <a:gd name="connsiteX0" fmla="*/ 2471526 w 2471526"/>
                <a:gd name="connsiteY0" fmla="*/ 473026 h 553323"/>
                <a:gd name="connsiteX1" fmla="*/ 2370161 w 2471526"/>
                <a:gd name="connsiteY1" fmla="*/ 459475 h 553323"/>
                <a:gd name="connsiteX2" fmla="*/ 2307430 w 2471526"/>
                <a:gd name="connsiteY2" fmla="*/ 415045 h 553323"/>
                <a:gd name="connsiteX3" fmla="*/ 2211812 w 2471526"/>
                <a:gd name="connsiteY3" fmla="*/ 448692 h 553323"/>
                <a:gd name="connsiteX4" fmla="*/ 2081676 w 2471526"/>
                <a:gd name="connsiteY4" fmla="*/ 495966 h 553323"/>
                <a:gd name="connsiteX5" fmla="*/ 1980718 w 2471526"/>
                <a:gd name="connsiteY5" fmla="*/ 486867 h 553323"/>
                <a:gd name="connsiteX6" fmla="*/ 1919694 w 2471526"/>
                <a:gd name="connsiteY6" fmla="*/ 510601 h 553323"/>
                <a:gd name="connsiteX7" fmla="*/ 1829627 w 2471526"/>
                <a:gd name="connsiteY7" fmla="*/ 553323 h 553323"/>
                <a:gd name="connsiteX8" fmla="*/ 1733266 w 2471526"/>
                <a:gd name="connsiteY8" fmla="*/ 509516 h 553323"/>
                <a:gd name="connsiteX9" fmla="*/ 1728716 w 2471526"/>
                <a:gd name="connsiteY9" fmla="*/ 495869 h 553323"/>
                <a:gd name="connsiteX10" fmla="*/ 1724167 w 2471526"/>
                <a:gd name="connsiteY10" fmla="*/ 450376 h 553323"/>
                <a:gd name="connsiteX11" fmla="*/ 1699805 w 2471526"/>
                <a:gd name="connsiteY11" fmla="*/ 429247 h 553323"/>
                <a:gd name="connsiteX12" fmla="*/ 1665027 w 2471526"/>
                <a:gd name="connsiteY12" fmla="*/ 376271 h 553323"/>
                <a:gd name="connsiteX13" fmla="*/ 1610360 w 2471526"/>
                <a:gd name="connsiteY13" fmla="*/ 330703 h 553323"/>
                <a:gd name="connsiteX14" fmla="*/ 1534939 w 2471526"/>
                <a:gd name="connsiteY14" fmla="*/ 297317 h 553323"/>
                <a:gd name="connsiteX15" fmla="*/ 1418199 w 2471526"/>
                <a:gd name="connsiteY15" fmla="*/ 277355 h 553323"/>
                <a:gd name="connsiteX16" fmla="*/ 1260293 w 2471526"/>
                <a:gd name="connsiteY16" fmla="*/ 230471 h 553323"/>
                <a:gd name="connsiteX17" fmla="*/ 1219200 w 2471526"/>
                <a:gd name="connsiteY17" fmla="*/ 254758 h 553323"/>
                <a:gd name="connsiteX18" fmla="*/ 1073624 w 2471526"/>
                <a:gd name="connsiteY18" fmla="*/ 304800 h 553323"/>
                <a:gd name="connsiteX19" fmla="*/ 950345 w 2471526"/>
                <a:gd name="connsiteY19" fmla="*/ 306341 h 553323"/>
                <a:gd name="connsiteX20" fmla="*/ 832813 w 2471526"/>
                <a:gd name="connsiteY20" fmla="*/ 316981 h 553323"/>
                <a:gd name="connsiteX21" fmla="*/ 641445 w 2471526"/>
                <a:gd name="connsiteY21" fmla="*/ 291152 h 553323"/>
                <a:gd name="connsiteX22" fmla="*/ 476280 w 2471526"/>
                <a:gd name="connsiteY22" fmla="*/ 286379 h 553323"/>
                <a:gd name="connsiteX23" fmla="*/ 459474 w 2471526"/>
                <a:gd name="connsiteY23" fmla="*/ 254758 h 553323"/>
                <a:gd name="connsiteX24" fmla="*/ 373189 w 2471526"/>
                <a:gd name="connsiteY24" fmla="*/ 171629 h 553323"/>
                <a:gd name="connsiteX25" fmla="*/ 298934 w 2471526"/>
                <a:gd name="connsiteY25" fmla="*/ 98841 h 553323"/>
                <a:gd name="connsiteX26" fmla="*/ 227388 w 2471526"/>
                <a:gd name="connsiteY26" fmla="*/ 48725 h 553323"/>
                <a:gd name="connsiteX27" fmla="*/ 142718 w 2471526"/>
                <a:gd name="connsiteY27" fmla="*/ 25979 h 553323"/>
                <a:gd name="connsiteX28" fmla="*/ 0 w 2471526"/>
                <a:gd name="connsiteY28" fmla="*/ 0 h 553323"/>
                <a:gd name="connsiteX0" fmla="*/ 2471526 w 2471526"/>
                <a:gd name="connsiteY0" fmla="*/ 473026 h 553323"/>
                <a:gd name="connsiteX1" fmla="*/ 2370161 w 2471526"/>
                <a:gd name="connsiteY1" fmla="*/ 459475 h 553323"/>
                <a:gd name="connsiteX2" fmla="*/ 2307430 w 2471526"/>
                <a:gd name="connsiteY2" fmla="*/ 415045 h 553323"/>
                <a:gd name="connsiteX3" fmla="*/ 2211812 w 2471526"/>
                <a:gd name="connsiteY3" fmla="*/ 448692 h 553323"/>
                <a:gd name="connsiteX4" fmla="*/ 2081676 w 2471526"/>
                <a:gd name="connsiteY4" fmla="*/ 495966 h 553323"/>
                <a:gd name="connsiteX5" fmla="*/ 1980718 w 2471526"/>
                <a:gd name="connsiteY5" fmla="*/ 486867 h 553323"/>
                <a:gd name="connsiteX6" fmla="*/ 1919694 w 2471526"/>
                <a:gd name="connsiteY6" fmla="*/ 510601 h 553323"/>
                <a:gd name="connsiteX7" fmla="*/ 1829627 w 2471526"/>
                <a:gd name="connsiteY7" fmla="*/ 553323 h 553323"/>
                <a:gd name="connsiteX8" fmla="*/ 1733266 w 2471526"/>
                <a:gd name="connsiteY8" fmla="*/ 509516 h 553323"/>
                <a:gd name="connsiteX9" fmla="*/ 1728716 w 2471526"/>
                <a:gd name="connsiteY9" fmla="*/ 495869 h 553323"/>
                <a:gd name="connsiteX10" fmla="*/ 1724167 w 2471526"/>
                <a:gd name="connsiteY10" fmla="*/ 450376 h 553323"/>
                <a:gd name="connsiteX11" fmla="*/ 1699805 w 2471526"/>
                <a:gd name="connsiteY11" fmla="*/ 429247 h 553323"/>
                <a:gd name="connsiteX12" fmla="*/ 1665027 w 2471526"/>
                <a:gd name="connsiteY12" fmla="*/ 376271 h 553323"/>
                <a:gd name="connsiteX13" fmla="*/ 1610360 w 2471526"/>
                <a:gd name="connsiteY13" fmla="*/ 330703 h 553323"/>
                <a:gd name="connsiteX14" fmla="*/ 1534939 w 2471526"/>
                <a:gd name="connsiteY14" fmla="*/ 297317 h 553323"/>
                <a:gd name="connsiteX15" fmla="*/ 1418199 w 2471526"/>
                <a:gd name="connsiteY15" fmla="*/ 277355 h 553323"/>
                <a:gd name="connsiteX16" fmla="*/ 1260293 w 2471526"/>
                <a:gd name="connsiteY16" fmla="*/ 230471 h 553323"/>
                <a:gd name="connsiteX17" fmla="*/ 1219200 w 2471526"/>
                <a:gd name="connsiteY17" fmla="*/ 254758 h 553323"/>
                <a:gd name="connsiteX18" fmla="*/ 1073624 w 2471526"/>
                <a:gd name="connsiteY18" fmla="*/ 304800 h 553323"/>
                <a:gd name="connsiteX19" fmla="*/ 950345 w 2471526"/>
                <a:gd name="connsiteY19" fmla="*/ 306341 h 553323"/>
                <a:gd name="connsiteX20" fmla="*/ 832813 w 2471526"/>
                <a:gd name="connsiteY20" fmla="*/ 316981 h 553323"/>
                <a:gd name="connsiteX21" fmla="*/ 641445 w 2471526"/>
                <a:gd name="connsiteY21" fmla="*/ 291152 h 553323"/>
                <a:gd name="connsiteX22" fmla="*/ 476280 w 2471526"/>
                <a:gd name="connsiteY22" fmla="*/ 286379 h 553323"/>
                <a:gd name="connsiteX23" fmla="*/ 459474 w 2471526"/>
                <a:gd name="connsiteY23" fmla="*/ 254758 h 553323"/>
                <a:gd name="connsiteX24" fmla="*/ 373189 w 2471526"/>
                <a:gd name="connsiteY24" fmla="*/ 171629 h 553323"/>
                <a:gd name="connsiteX25" fmla="*/ 298934 w 2471526"/>
                <a:gd name="connsiteY25" fmla="*/ 98841 h 553323"/>
                <a:gd name="connsiteX26" fmla="*/ 227388 w 2471526"/>
                <a:gd name="connsiteY26" fmla="*/ 48725 h 553323"/>
                <a:gd name="connsiteX27" fmla="*/ 142718 w 2471526"/>
                <a:gd name="connsiteY27" fmla="*/ 25979 h 553323"/>
                <a:gd name="connsiteX28" fmla="*/ 0 w 2471526"/>
                <a:gd name="connsiteY28" fmla="*/ 0 h 553323"/>
                <a:gd name="connsiteX0" fmla="*/ 2471526 w 2471526"/>
                <a:gd name="connsiteY0" fmla="*/ 473026 h 553323"/>
                <a:gd name="connsiteX1" fmla="*/ 2370161 w 2471526"/>
                <a:gd name="connsiteY1" fmla="*/ 459475 h 553323"/>
                <a:gd name="connsiteX2" fmla="*/ 2307430 w 2471526"/>
                <a:gd name="connsiteY2" fmla="*/ 415045 h 553323"/>
                <a:gd name="connsiteX3" fmla="*/ 2211812 w 2471526"/>
                <a:gd name="connsiteY3" fmla="*/ 448692 h 553323"/>
                <a:gd name="connsiteX4" fmla="*/ 2081676 w 2471526"/>
                <a:gd name="connsiteY4" fmla="*/ 495966 h 553323"/>
                <a:gd name="connsiteX5" fmla="*/ 1980718 w 2471526"/>
                <a:gd name="connsiteY5" fmla="*/ 486867 h 553323"/>
                <a:gd name="connsiteX6" fmla="*/ 1919694 w 2471526"/>
                <a:gd name="connsiteY6" fmla="*/ 510601 h 553323"/>
                <a:gd name="connsiteX7" fmla="*/ 1829627 w 2471526"/>
                <a:gd name="connsiteY7" fmla="*/ 553323 h 553323"/>
                <a:gd name="connsiteX8" fmla="*/ 1733266 w 2471526"/>
                <a:gd name="connsiteY8" fmla="*/ 509516 h 553323"/>
                <a:gd name="connsiteX9" fmla="*/ 1724167 w 2471526"/>
                <a:gd name="connsiteY9" fmla="*/ 450376 h 553323"/>
                <a:gd name="connsiteX10" fmla="*/ 1699805 w 2471526"/>
                <a:gd name="connsiteY10" fmla="*/ 429247 h 553323"/>
                <a:gd name="connsiteX11" fmla="*/ 1665027 w 2471526"/>
                <a:gd name="connsiteY11" fmla="*/ 376271 h 553323"/>
                <a:gd name="connsiteX12" fmla="*/ 1610360 w 2471526"/>
                <a:gd name="connsiteY12" fmla="*/ 330703 h 553323"/>
                <a:gd name="connsiteX13" fmla="*/ 1534939 w 2471526"/>
                <a:gd name="connsiteY13" fmla="*/ 297317 h 553323"/>
                <a:gd name="connsiteX14" fmla="*/ 1418199 w 2471526"/>
                <a:gd name="connsiteY14" fmla="*/ 277355 h 553323"/>
                <a:gd name="connsiteX15" fmla="*/ 1260293 w 2471526"/>
                <a:gd name="connsiteY15" fmla="*/ 230471 h 553323"/>
                <a:gd name="connsiteX16" fmla="*/ 1219200 w 2471526"/>
                <a:gd name="connsiteY16" fmla="*/ 254758 h 553323"/>
                <a:gd name="connsiteX17" fmla="*/ 1073624 w 2471526"/>
                <a:gd name="connsiteY17" fmla="*/ 304800 h 553323"/>
                <a:gd name="connsiteX18" fmla="*/ 950345 w 2471526"/>
                <a:gd name="connsiteY18" fmla="*/ 306341 h 553323"/>
                <a:gd name="connsiteX19" fmla="*/ 832813 w 2471526"/>
                <a:gd name="connsiteY19" fmla="*/ 316981 h 553323"/>
                <a:gd name="connsiteX20" fmla="*/ 641445 w 2471526"/>
                <a:gd name="connsiteY20" fmla="*/ 291152 h 553323"/>
                <a:gd name="connsiteX21" fmla="*/ 476280 w 2471526"/>
                <a:gd name="connsiteY21" fmla="*/ 286379 h 553323"/>
                <a:gd name="connsiteX22" fmla="*/ 459474 w 2471526"/>
                <a:gd name="connsiteY22" fmla="*/ 254758 h 553323"/>
                <a:gd name="connsiteX23" fmla="*/ 373189 w 2471526"/>
                <a:gd name="connsiteY23" fmla="*/ 171629 h 553323"/>
                <a:gd name="connsiteX24" fmla="*/ 298934 w 2471526"/>
                <a:gd name="connsiteY24" fmla="*/ 98841 h 553323"/>
                <a:gd name="connsiteX25" fmla="*/ 227388 w 2471526"/>
                <a:gd name="connsiteY25" fmla="*/ 48725 h 553323"/>
                <a:gd name="connsiteX26" fmla="*/ 142718 w 2471526"/>
                <a:gd name="connsiteY26" fmla="*/ 25979 h 553323"/>
                <a:gd name="connsiteX27" fmla="*/ 0 w 2471526"/>
                <a:gd name="connsiteY27" fmla="*/ 0 h 553323"/>
                <a:gd name="connsiteX0" fmla="*/ 2471526 w 2471526"/>
                <a:gd name="connsiteY0" fmla="*/ 473026 h 553323"/>
                <a:gd name="connsiteX1" fmla="*/ 2370161 w 2471526"/>
                <a:gd name="connsiteY1" fmla="*/ 459475 h 553323"/>
                <a:gd name="connsiteX2" fmla="*/ 2307430 w 2471526"/>
                <a:gd name="connsiteY2" fmla="*/ 415045 h 553323"/>
                <a:gd name="connsiteX3" fmla="*/ 2211812 w 2471526"/>
                <a:gd name="connsiteY3" fmla="*/ 448692 h 553323"/>
                <a:gd name="connsiteX4" fmla="*/ 2081676 w 2471526"/>
                <a:gd name="connsiteY4" fmla="*/ 495966 h 553323"/>
                <a:gd name="connsiteX5" fmla="*/ 1980718 w 2471526"/>
                <a:gd name="connsiteY5" fmla="*/ 486867 h 553323"/>
                <a:gd name="connsiteX6" fmla="*/ 1919694 w 2471526"/>
                <a:gd name="connsiteY6" fmla="*/ 510601 h 553323"/>
                <a:gd name="connsiteX7" fmla="*/ 1829627 w 2471526"/>
                <a:gd name="connsiteY7" fmla="*/ 553323 h 553323"/>
                <a:gd name="connsiteX8" fmla="*/ 1733266 w 2471526"/>
                <a:gd name="connsiteY8" fmla="*/ 509516 h 553323"/>
                <a:gd name="connsiteX9" fmla="*/ 1724167 w 2471526"/>
                <a:gd name="connsiteY9" fmla="*/ 450376 h 553323"/>
                <a:gd name="connsiteX10" fmla="*/ 1699805 w 2471526"/>
                <a:gd name="connsiteY10" fmla="*/ 429247 h 553323"/>
                <a:gd name="connsiteX11" fmla="*/ 1665027 w 2471526"/>
                <a:gd name="connsiteY11" fmla="*/ 376271 h 553323"/>
                <a:gd name="connsiteX12" fmla="*/ 1610360 w 2471526"/>
                <a:gd name="connsiteY12" fmla="*/ 330703 h 553323"/>
                <a:gd name="connsiteX13" fmla="*/ 1534939 w 2471526"/>
                <a:gd name="connsiteY13" fmla="*/ 297317 h 553323"/>
                <a:gd name="connsiteX14" fmla="*/ 1418199 w 2471526"/>
                <a:gd name="connsiteY14" fmla="*/ 277355 h 553323"/>
                <a:gd name="connsiteX15" fmla="*/ 1285705 w 2471526"/>
                <a:gd name="connsiteY15" fmla="*/ 248764 h 553323"/>
                <a:gd name="connsiteX16" fmla="*/ 1219200 w 2471526"/>
                <a:gd name="connsiteY16" fmla="*/ 254758 h 553323"/>
                <a:gd name="connsiteX17" fmla="*/ 1073624 w 2471526"/>
                <a:gd name="connsiteY17" fmla="*/ 304800 h 553323"/>
                <a:gd name="connsiteX18" fmla="*/ 950345 w 2471526"/>
                <a:gd name="connsiteY18" fmla="*/ 306341 h 553323"/>
                <a:gd name="connsiteX19" fmla="*/ 832813 w 2471526"/>
                <a:gd name="connsiteY19" fmla="*/ 316981 h 553323"/>
                <a:gd name="connsiteX20" fmla="*/ 641445 w 2471526"/>
                <a:gd name="connsiteY20" fmla="*/ 291152 h 553323"/>
                <a:gd name="connsiteX21" fmla="*/ 476280 w 2471526"/>
                <a:gd name="connsiteY21" fmla="*/ 286379 h 553323"/>
                <a:gd name="connsiteX22" fmla="*/ 459474 w 2471526"/>
                <a:gd name="connsiteY22" fmla="*/ 254758 h 553323"/>
                <a:gd name="connsiteX23" fmla="*/ 373189 w 2471526"/>
                <a:gd name="connsiteY23" fmla="*/ 171629 h 553323"/>
                <a:gd name="connsiteX24" fmla="*/ 298934 w 2471526"/>
                <a:gd name="connsiteY24" fmla="*/ 98841 h 553323"/>
                <a:gd name="connsiteX25" fmla="*/ 227388 w 2471526"/>
                <a:gd name="connsiteY25" fmla="*/ 48725 h 553323"/>
                <a:gd name="connsiteX26" fmla="*/ 142718 w 2471526"/>
                <a:gd name="connsiteY26" fmla="*/ 25979 h 553323"/>
                <a:gd name="connsiteX27" fmla="*/ 0 w 2471526"/>
                <a:gd name="connsiteY27" fmla="*/ 0 h 553323"/>
                <a:gd name="connsiteX0" fmla="*/ 2471526 w 2471526"/>
                <a:gd name="connsiteY0" fmla="*/ 473026 h 553323"/>
                <a:gd name="connsiteX1" fmla="*/ 2370161 w 2471526"/>
                <a:gd name="connsiteY1" fmla="*/ 459475 h 553323"/>
                <a:gd name="connsiteX2" fmla="*/ 2307430 w 2471526"/>
                <a:gd name="connsiteY2" fmla="*/ 415045 h 553323"/>
                <a:gd name="connsiteX3" fmla="*/ 2211812 w 2471526"/>
                <a:gd name="connsiteY3" fmla="*/ 448692 h 553323"/>
                <a:gd name="connsiteX4" fmla="*/ 2081676 w 2471526"/>
                <a:gd name="connsiteY4" fmla="*/ 495966 h 553323"/>
                <a:gd name="connsiteX5" fmla="*/ 1980718 w 2471526"/>
                <a:gd name="connsiteY5" fmla="*/ 486867 h 553323"/>
                <a:gd name="connsiteX6" fmla="*/ 1919694 w 2471526"/>
                <a:gd name="connsiteY6" fmla="*/ 510601 h 553323"/>
                <a:gd name="connsiteX7" fmla="*/ 1829627 w 2471526"/>
                <a:gd name="connsiteY7" fmla="*/ 553323 h 553323"/>
                <a:gd name="connsiteX8" fmla="*/ 1733266 w 2471526"/>
                <a:gd name="connsiteY8" fmla="*/ 509516 h 553323"/>
                <a:gd name="connsiteX9" fmla="*/ 1724167 w 2471526"/>
                <a:gd name="connsiteY9" fmla="*/ 450376 h 553323"/>
                <a:gd name="connsiteX10" fmla="*/ 1699805 w 2471526"/>
                <a:gd name="connsiteY10" fmla="*/ 429247 h 553323"/>
                <a:gd name="connsiteX11" fmla="*/ 1665027 w 2471526"/>
                <a:gd name="connsiteY11" fmla="*/ 376271 h 553323"/>
                <a:gd name="connsiteX12" fmla="*/ 1610360 w 2471526"/>
                <a:gd name="connsiteY12" fmla="*/ 330703 h 553323"/>
                <a:gd name="connsiteX13" fmla="*/ 1534939 w 2471526"/>
                <a:gd name="connsiteY13" fmla="*/ 297317 h 553323"/>
                <a:gd name="connsiteX14" fmla="*/ 1418199 w 2471526"/>
                <a:gd name="connsiteY14" fmla="*/ 277355 h 553323"/>
                <a:gd name="connsiteX15" fmla="*/ 1285705 w 2471526"/>
                <a:gd name="connsiteY15" fmla="*/ 248764 h 553323"/>
                <a:gd name="connsiteX16" fmla="*/ 1237352 w 2471526"/>
                <a:gd name="connsiteY16" fmla="*/ 287686 h 553323"/>
                <a:gd name="connsiteX17" fmla="*/ 1073624 w 2471526"/>
                <a:gd name="connsiteY17" fmla="*/ 304800 h 553323"/>
                <a:gd name="connsiteX18" fmla="*/ 950345 w 2471526"/>
                <a:gd name="connsiteY18" fmla="*/ 306341 h 553323"/>
                <a:gd name="connsiteX19" fmla="*/ 832813 w 2471526"/>
                <a:gd name="connsiteY19" fmla="*/ 316981 h 553323"/>
                <a:gd name="connsiteX20" fmla="*/ 641445 w 2471526"/>
                <a:gd name="connsiteY20" fmla="*/ 291152 h 553323"/>
                <a:gd name="connsiteX21" fmla="*/ 476280 w 2471526"/>
                <a:gd name="connsiteY21" fmla="*/ 286379 h 553323"/>
                <a:gd name="connsiteX22" fmla="*/ 459474 w 2471526"/>
                <a:gd name="connsiteY22" fmla="*/ 254758 h 553323"/>
                <a:gd name="connsiteX23" fmla="*/ 373189 w 2471526"/>
                <a:gd name="connsiteY23" fmla="*/ 171629 h 553323"/>
                <a:gd name="connsiteX24" fmla="*/ 298934 w 2471526"/>
                <a:gd name="connsiteY24" fmla="*/ 98841 h 553323"/>
                <a:gd name="connsiteX25" fmla="*/ 227388 w 2471526"/>
                <a:gd name="connsiteY25" fmla="*/ 48725 h 553323"/>
                <a:gd name="connsiteX26" fmla="*/ 142718 w 2471526"/>
                <a:gd name="connsiteY26" fmla="*/ 25979 h 553323"/>
                <a:gd name="connsiteX27" fmla="*/ 0 w 2471526"/>
                <a:gd name="connsiteY27" fmla="*/ 0 h 553323"/>
                <a:gd name="connsiteX0" fmla="*/ 2471526 w 2471526"/>
                <a:gd name="connsiteY0" fmla="*/ 473026 h 553323"/>
                <a:gd name="connsiteX1" fmla="*/ 2370161 w 2471526"/>
                <a:gd name="connsiteY1" fmla="*/ 459475 h 553323"/>
                <a:gd name="connsiteX2" fmla="*/ 2307430 w 2471526"/>
                <a:gd name="connsiteY2" fmla="*/ 415045 h 553323"/>
                <a:gd name="connsiteX3" fmla="*/ 2211812 w 2471526"/>
                <a:gd name="connsiteY3" fmla="*/ 448692 h 553323"/>
                <a:gd name="connsiteX4" fmla="*/ 2081676 w 2471526"/>
                <a:gd name="connsiteY4" fmla="*/ 495966 h 553323"/>
                <a:gd name="connsiteX5" fmla="*/ 1980718 w 2471526"/>
                <a:gd name="connsiteY5" fmla="*/ 486867 h 553323"/>
                <a:gd name="connsiteX6" fmla="*/ 1919694 w 2471526"/>
                <a:gd name="connsiteY6" fmla="*/ 510601 h 553323"/>
                <a:gd name="connsiteX7" fmla="*/ 1829627 w 2471526"/>
                <a:gd name="connsiteY7" fmla="*/ 553323 h 553323"/>
                <a:gd name="connsiteX8" fmla="*/ 1733266 w 2471526"/>
                <a:gd name="connsiteY8" fmla="*/ 509516 h 553323"/>
                <a:gd name="connsiteX9" fmla="*/ 1724167 w 2471526"/>
                <a:gd name="connsiteY9" fmla="*/ 450376 h 553323"/>
                <a:gd name="connsiteX10" fmla="*/ 1699805 w 2471526"/>
                <a:gd name="connsiteY10" fmla="*/ 429247 h 553323"/>
                <a:gd name="connsiteX11" fmla="*/ 1665027 w 2471526"/>
                <a:gd name="connsiteY11" fmla="*/ 376271 h 553323"/>
                <a:gd name="connsiteX12" fmla="*/ 1610360 w 2471526"/>
                <a:gd name="connsiteY12" fmla="*/ 330703 h 553323"/>
                <a:gd name="connsiteX13" fmla="*/ 1534939 w 2471526"/>
                <a:gd name="connsiteY13" fmla="*/ 297317 h 553323"/>
                <a:gd name="connsiteX14" fmla="*/ 1418199 w 2471526"/>
                <a:gd name="connsiteY14" fmla="*/ 277355 h 553323"/>
                <a:gd name="connsiteX15" fmla="*/ 1303857 w 2471526"/>
                <a:gd name="connsiteY15" fmla="*/ 234130 h 553323"/>
                <a:gd name="connsiteX16" fmla="*/ 1237352 w 2471526"/>
                <a:gd name="connsiteY16" fmla="*/ 287686 h 553323"/>
                <a:gd name="connsiteX17" fmla="*/ 1073624 w 2471526"/>
                <a:gd name="connsiteY17" fmla="*/ 304800 h 553323"/>
                <a:gd name="connsiteX18" fmla="*/ 950345 w 2471526"/>
                <a:gd name="connsiteY18" fmla="*/ 306341 h 553323"/>
                <a:gd name="connsiteX19" fmla="*/ 832813 w 2471526"/>
                <a:gd name="connsiteY19" fmla="*/ 316981 h 553323"/>
                <a:gd name="connsiteX20" fmla="*/ 641445 w 2471526"/>
                <a:gd name="connsiteY20" fmla="*/ 291152 h 553323"/>
                <a:gd name="connsiteX21" fmla="*/ 476280 w 2471526"/>
                <a:gd name="connsiteY21" fmla="*/ 286379 h 553323"/>
                <a:gd name="connsiteX22" fmla="*/ 459474 w 2471526"/>
                <a:gd name="connsiteY22" fmla="*/ 254758 h 553323"/>
                <a:gd name="connsiteX23" fmla="*/ 373189 w 2471526"/>
                <a:gd name="connsiteY23" fmla="*/ 171629 h 553323"/>
                <a:gd name="connsiteX24" fmla="*/ 298934 w 2471526"/>
                <a:gd name="connsiteY24" fmla="*/ 98841 h 553323"/>
                <a:gd name="connsiteX25" fmla="*/ 227388 w 2471526"/>
                <a:gd name="connsiteY25" fmla="*/ 48725 h 553323"/>
                <a:gd name="connsiteX26" fmla="*/ 142718 w 2471526"/>
                <a:gd name="connsiteY26" fmla="*/ 25979 h 553323"/>
                <a:gd name="connsiteX27" fmla="*/ 0 w 2471526"/>
                <a:gd name="connsiteY27" fmla="*/ 0 h 553323"/>
                <a:gd name="connsiteX0" fmla="*/ 2471526 w 2471526"/>
                <a:gd name="connsiteY0" fmla="*/ 473026 h 553323"/>
                <a:gd name="connsiteX1" fmla="*/ 2370161 w 2471526"/>
                <a:gd name="connsiteY1" fmla="*/ 459475 h 553323"/>
                <a:gd name="connsiteX2" fmla="*/ 2307430 w 2471526"/>
                <a:gd name="connsiteY2" fmla="*/ 415045 h 553323"/>
                <a:gd name="connsiteX3" fmla="*/ 2211812 w 2471526"/>
                <a:gd name="connsiteY3" fmla="*/ 448692 h 553323"/>
                <a:gd name="connsiteX4" fmla="*/ 2081676 w 2471526"/>
                <a:gd name="connsiteY4" fmla="*/ 495966 h 553323"/>
                <a:gd name="connsiteX5" fmla="*/ 1980718 w 2471526"/>
                <a:gd name="connsiteY5" fmla="*/ 486867 h 553323"/>
                <a:gd name="connsiteX6" fmla="*/ 1919694 w 2471526"/>
                <a:gd name="connsiteY6" fmla="*/ 510601 h 553323"/>
                <a:gd name="connsiteX7" fmla="*/ 1829627 w 2471526"/>
                <a:gd name="connsiteY7" fmla="*/ 553323 h 553323"/>
                <a:gd name="connsiteX8" fmla="*/ 1733266 w 2471526"/>
                <a:gd name="connsiteY8" fmla="*/ 509516 h 553323"/>
                <a:gd name="connsiteX9" fmla="*/ 1724167 w 2471526"/>
                <a:gd name="connsiteY9" fmla="*/ 450376 h 553323"/>
                <a:gd name="connsiteX10" fmla="*/ 1699805 w 2471526"/>
                <a:gd name="connsiteY10" fmla="*/ 429247 h 553323"/>
                <a:gd name="connsiteX11" fmla="*/ 1665027 w 2471526"/>
                <a:gd name="connsiteY11" fmla="*/ 376271 h 553323"/>
                <a:gd name="connsiteX12" fmla="*/ 1610360 w 2471526"/>
                <a:gd name="connsiteY12" fmla="*/ 330703 h 553323"/>
                <a:gd name="connsiteX13" fmla="*/ 1534939 w 2471526"/>
                <a:gd name="connsiteY13" fmla="*/ 297317 h 553323"/>
                <a:gd name="connsiteX14" fmla="*/ 1418199 w 2471526"/>
                <a:gd name="connsiteY14" fmla="*/ 277355 h 553323"/>
                <a:gd name="connsiteX15" fmla="*/ 1303857 w 2471526"/>
                <a:gd name="connsiteY15" fmla="*/ 234130 h 553323"/>
                <a:gd name="connsiteX16" fmla="*/ 1226461 w 2471526"/>
                <a:gd name="connsiteY16" fmla="*/ 273051 h 553323"/>
                <a:gd name="connsiteX17" fmla="*/ 1073624 w 2471526"/>
                <a:gd name="connsiteY17" fmla="*/ 304800 h 553323"/>
                <a:gd name="connsiteX18" fmla="*/ 950345 w 2471526"/>
                <a:gd name="connsiteY18" fmla="*/ 306341 h 553323"/>
                <a:gd name="connsiteX19" fmla="*/ 832813 w 2471526"/>
                <a:gd name="connsiteY19" fmla="*/ 316981 h 553323"/>
                <a:gd name="connsiteX20" fmla="*/ 641445 w 2471526"/>
                <a:gd name="connsiteY20" fmla="*/ 291152 h 553323"/>
                <a:gd name="connsiteX21" fmla="*/ 476280 w 2471526"/>
                <a:gd name="connsiteY21" fmla="*/ 286379 h 553323"/>
                <a:gd name="connsiteX22" fmla="*/ 459474 w 2471526"/>
                <a:gd name="connsiteY22" fmla="*/ 254758 h 553323"/>
                <a:gd name="connsiteX23" fmla="*/ 373189 w 2471526"/>
                <a:gd name="connsiteY23" fmla="*/ 171629 h 553323"/>
                <a:gd name="connsiteX24" fmla="*/ 298934 w 2471526"/>
                <a:gd name="connsiteY24" fmla="*/ 98841 h 553323"/>
                <a:gd name="connsiteX25" fmla="*/ 227388 w 2471526"/>
                <a:gd name="connsiteY25" fmla="*/ 48725 h 553323"/>
                <a:gd name="connsiteX26" fmla="*/ 142718 w 2471526"/>
                <a:gd name="connsiteY26" fmla="*/ 25979 h 553323"/>
                <a:gd name="connsiteX27" fmla="*/ 0 w 2471526"/>
                <a:gd name="connsiteY27" fmla="*/ 0 h 553323"/>
                <a:gd name="connsiteX0" fmla="*/ 2471526 w 2471526"/>
                <a:gd name="connsiteY0" fmla="*/ 473026 h 553323"/>
                <a:gd name="connsiteX1" fmla="*/ 2370161 w 2471526"/>
                <a:gd name="connsiteY1" fmla="*/ 459475 h 553323"/>
                <a:gd name="connsiteX2" fmla="*/ 2307430 w 2471526"/>
                <a:gd name="connsiteY2" fmla="*/ 415045 h 553323"/>
                <a:gd name="connsiteX3" fmla="*/ 2211812 w 2471526"/>
                <a:gd name="connsiteY3" fmla="*/ 448692 h 553323"/>
                <a:gd name="connsiteX4" fmla="*/ 2081676 w 2471526"/>
                <a:gd name="connsiteY4" fmla="*/ 495966 h 553323"/>
                <a:gd name="connsiteX5" fmla="*/ 1980718 w 2471526"/>
                <a:gd name="connsiteY5" fmla="*/ 486867 h 553323"/>
                <a:gd name="connsiteX6" fmla="*/ 1919694 w 2471526"/>
                <a:gd name="connsiteY6" fmla="*/ 510601 h 553323"/>
                <a:gd name="connsiteX7" fmla="*/ 1829627 w 2471526"/>
                <a:gd name="connsiteY7" fmla="*/ 553323 h 553323"/>
                <a:gd name="connsiteX8" fmla="*/ 1733266 w 2471526"/>
                <a:gd name="connsiteY8" fmla="*/ 509516 h 553323"/>
                <a:gd name="connsiteX9" fmla="*/ 1724167 w 2471526"/>
                <a:gd name="connsiteY9" fmla="*/ 450376 h 553323"/>
                <a:gd name="connsiteX10" fmla="*/ 1699805 w 2471526"/>
                <a:gd name="connsiteY10" fmla="*/ 429247 h 553323"/>
                <a:gd name="connsiteX11" fmla="*/ 1665027 w 2471526"/>
                <a:gd name="connsiteY11" fmla="*/ 376271 h 553323"/>
                <a:gd name="connsiteX12" fmla="*/ 1610360 w 2471526"/>
                <a:gd name="connsiteY12" fmla="*/ 330703 h 553323"/>
                <a:gd name="connsiteX13" fmla="*/ 1534939 w 2471526"/>
                <a:gd name="connsiteY13" fmla="*/ 297317 h 553323"/>
                <a:gd name="connsiteX14" fmla="*/ 1418199 w 2471526"/>
                <a:gd name="connsiteY14" fmla="*/ 277355 h 553323"/>
                <a:gd name="connsiteX15" fmla="*/ 1303857 w 2471526"/>
                <a:gd name="connsiteY15" fmla="*/ 234130 h 553323"/>
                <a:gd name="connsiteX16" fmla="*/ 1226461 w 2471526"/>
                <a:gd name="connsiteY16" fmla="*/ 262075 h 553323"/>
                <a:gd name="connsiteX17" fmla="*/ 1073624 w 2471526"/>
                <a:gd name="connsiteY17" fmla="*/ 304800 h 553323"/>
                <a:gd name="connsiteX18" fmla="*/ 950345 w 2471526"/>
                <a:gd name="connsiteY18" fmla="*/ 306341 h 553323"/>
                <a:gd name="connsiteX19" fmla="*/ 832813 w 2471526"/>
                <a:gd name="connsiteY19" fmla="*/ 316981 h 553323"/>
                <a:gd name="connsiteX20" fmla="*/ 641445 w 2471526"/>
                <a:gd name="connsiteY20" fmla="*/ 291152 h 553323"/>
                <a:gd name="connsiteX21" fmla="*/ 476280 w 2471526"/>
                <a:gd name="connsiteY21" fmla="*/ 286379 h 553323"/>
                <a:gd name="connsiteX22" fmla="*/ 459474 w 2471526"/>
                <a:gd name="connsiteY22" fmla="*/ 254758 h 553323"/>
                <a:gd name="connsiteX23" fmla="*/ 373189 w 2471526"/>
                <a:gd name="connsiteY23" fmla="*/ 171629 h 553323"/>
                <a:gd name="connsiteX24" fmla="*/ 298934 w 2471526"/>
                <a:gd name="connsiteY24" fmla="*/ 98841 h 553323"/>
                <a:gd name="connsiteX25" fmla="*/ 227388 w 2471526"/>
                <a:gd name="connsiteY25" fmla="*/ 48725 h 553323"/>
                <a:gd name="connsiteX26" fmla="*/ 142718 w 2471526"/>
                <a:gd name="connsiteY26" fmla="*/ 25979 h 553323"/>
                <a:gd name="connsiteX27" fmla="*/ 0 w 2471526"/>
                <a:gd name="connsiteY27" fmla="*/ 0 h 553323"/>
                <a:gd name="connsiteX0" fmla="*/ 3146762 w 3146762"/>
                <a:gd name="connsiteY0" fmla="*/ 835234 h 915531"/>
                <a:gd name="connsiteX1" fmla="*/ 3045397 w 3146762"/>
                <a:gd name="connsiteY1" fmla="*/ 821683 h 915531"/>
                <a:gd name="connsiteX2" fmla="*/ 2982666 w 3146762"/>
                <a:gd name="connsiteY2" fmla="*/ 777253 h 915531"/>
                <a:gd name="connsiteX3" fmla="*/ 2887048 w 3146762"/>
                <a:gd name="connsiteY3" fmla="*/ 810900 h 915531"/>
                <a:gd name="connsiteX4" fmla="*/ 2756912 w 3146762"/>
                <a:gd name="connsiteY4" fmla="*/ 858174 h 915531"/>
                <a:gd name="connsiteX5" fmla="*/ 2655954 w 3146762"/>
                <a:gd name="connsiteY5" fmla="*/ 849075 h 915531"/>
                <a:gd name="connsiteX6" fmla="*/ 2594930 w 3146762"/>
                <a:gd name="connsiteY6" fmla="*/ 872809 h 915531"/>
                <a:gd name="connsiteX7" fmla="*/ 2504863 w 3146762"/>
                <a:gd name="connsiteY7" fmla="*/ 915531 h 915531"/>
                <a:gd name="connsiteX8" fmla="*/ 2408502 w 3146762"/>
                <a:gd name="connsiteY8" fmla="*/ 871724 h 915531"/>
                <a:gd name="connsiteX9" fmla="*/ 2399403 w 3146762"/>
                <a:gd name="connsiteY9" fmla="*/ 812584 h 915531"/>
                <a:gd name="connsiteX10" fmla="*/ 2375041 w 3146762"/>
                <a:gd name="connsiteY10" fmla="*/ 791455 h 915531"/>
                <a:gd name="connsiteX11" fmla="*/ 2340263 w 3146762"/>
                <a:gd name="connsiteY11" fmla="*/ 738479 h 915531"/>
                <a:gd name="connsiteX12" fmla="*/ 2285596 w 3146762"/>
                <a:gd name="connsiteY12" fmla="*/ 692911 h 915531"/>
                <a:gd name="connsiteX13" fmla="*/ 2210175 w 3146762"/>
                <a:gd name="connsiteY13" fmla="*/ 659525 h 915531"/>
                <a:gd name="connsiteX14" fmla="*/ 2093435 w 3146762"/>
                <a:gd name="connsiteY14" fmla="*/ 639563 h 915531"/>
                <a:gd name="connsiteX15" fmla="*/ 1979093 w 3146762"/>
                <a:gd name="connsiteY15" fmla="*/ 596338 h 915531"/>
                <a:gd name="connsiteX16" fmla="*/ 1901697 w 3146762"/>
                <a:gd name="connsiteY16" fmla="*/ 624283 h 915531"/>
                <a:gd name="connsiteX17" fmla="*/ 1748860 w 3146762"/>
                <a:gd name="connsiteY17" fmla="*/ 667008 h 915531"/>
                <a:gd name="connsiteX18" fmla="*/ 1625581 w 3146762"/>
                <a:gd name="connsiteY18" fmla="*/ 668549 h 915531"/>
                <a:gd name="connsiteX19" fmla="*/ 1508049 w 3146762"/>
                <a:gd name="connsiteY19" fmla="*/ 679189 h 915531"/>
                <a:gd name="connsiteX20" fmla="*/ 1316681 w 3146762"/>
                <a:gd name="connsiteY20" fmla="*/ 653360 h 915531"/>
                <a:gd name="connsiteX21" fmla="*/ 1151516 w 3146762"/>
                <a:gd name="connsiteY21" fmla="*/ 648587 h 915531"/>
                <a:gd name="connsiteX22" fmla="*/ 1134710 w 3146762"/>
                <a:gd name="connsiteY22" fmla="*/ 616966 h 915531"/>
                <a:gd name="connsiteX23" fmla="*/ 1048425 w 3146762"/>
                <a:gd name="connsiteY23" fmla="*/ 533837 h 915531"/>
                <a:gd name="connsiteX24" fmla="*/ 974170 w 3146762"/>
                <a:gd name="connsiteY24" fmla="*/ 461049 h 915531"/>
                <a:gd name="connsiteX25" fmla="*/ 902624 w 3146762"/>
                <a:gd name="connsiteY25" fmla="*/ 410933 h 915531"/>
                <a:gd name="connsiteX26" fmla="*/ 817954 w 3146762"/>
                <a:gd name="connsiteY26" fmla="*/ 388187 h 915531"/>
                <a:gd name="connsiteX27" fmla="*/ 0 w 3146762"/>
                <a:gd name="connsiteY27" fmla="*/ 0 h 915531"/>
                <a:gd name="connsiteX0" fmla="*/ 3156380 w 3156380"/>
                <a:gd name="connsiteY0" fmla="*/ 845098 h 925395"/>
                <a:gd name="connsiteX1" fmla="*/ 3055015 w 3156380"/>
                <a:gd name="connsiteY1" fmla="*/ 831547 h 925395"/>
                <a:gd name="connsiteX2" fmla="*/ 2992284 w 3156380"/>
                <a:gd name="connsiteY2" fmla="*/ 787117 h 925395"/>
                <a:gd name="connsiteX3" fmla="*/ 2896666 w 3156380"/>
                <a:gd name="connsiteY3" fmla="*/ 820764 h 925395"/>
                <a:gd name="connsiteX4" fmla="*/ 2766530 w 3156380"/>
                <a:gd name="connsiteY4" fmla="*/ 868038 h 925395"/>
                <a:gd name="connsiteX5" fmla="*/ 2665572 w 3156380"/>
                <a:gd name="connsiteY5" fmla="*/ 858939 h 925395"/>
                <a:gd name="connsiteX6" fmla="*/ 2604548 w 3156380"/>
                <a:gd name="connsiteY6" fmla="*/ 882673 h 925395"/>
                <a:gd name="connsiteX7" fmla="*/ 2514481 w 3156380"/>
                <a:gd name="connsiteY7" fmla="*/ 925395 h 925395"/>
                <a:gd name="connsiteX8" fmla="*/ 2418120 w 3156380"/>
                <a:gd name="connsiteY8" fmla="*/ 881588 h 925395"/>
                <a:gd name="connsiteX9" fmla="*/ 2409021 w 3156380"/>
                <a:gd name="connsiteY9" fmla="*/ 822448 h 925395"/>
                <a:gd name="connsiteX10" fmla="*/ 2384659 w 3156380"/>
                <a:gd name="connsiteY10" fmla="*/ 801319 h 925395"/>
                <a:gd name="connsiteX11" fmla="*/ 2349881 w 3156380"/>
                <a:gd name="connsiteY11" fmla="*/ 748343 h 925395"/>
                <a:gd name="connsiteX12" fmla="*/ 2295214 w 3156380"/>
                <a:gd name="connsiteY12" fmla="*/ 702775 h 925395"/>
                <a:gd name="connsiteX13" fmla="*/ 2219793 w 3156380"/>
                <a:gd name="connsiteY13" fmla="*/ 669389 h 925395"/>
                <a:gd name="connsiteX14" fmla="*/ 2103053 w 3156380"/>
                <a:gd name="connsiteY14" fmla="*/ 649427 h 925395"/>
                <a:gd name="connsiteX15" fmla="*/ 1988711 w 3156380"/>
                <a:gd name="connsiteY15" fmla="*/ 606202 h 925395"/>
                <a:gd name="connsiteX16" fmla="*/ 1911315 w 3156380"/>
                <a:gd name="connsiteY16" fmla="*/ 634147 h 925395"/>
                <a:gd name="connsiteX17" fmla="*/ 1758478 w 3156380"/>
                <a:gd name="connsiteY17" fmla="*/ 676872 h 925395"/>
                <a:gd name="connsiteX18" fmla="*/ 1635199 w 3156380"/>
                <a:gd name="connsiteY18" fmla="*/ 678413 h 925395"/>
                <a:gd name="connsiteX19" fmla="*/ 1517667 w 3156380"/>
                <a:gd name="connsiteY19" fmla="*/ 689053 h 925395"/>
                <a:gd name="connsiteX20" fmla="*/ 1326299 w 3156380"/>
                <a:gd name="connsiteY20" fmla="*/ 663224 h 925395"/>
                <a:gd name="connsiteX21" fmla="*/ 1161134 w 3156380"/>
                <a:gd name="connsiteY21" fmla="*/ 658451 h 925395"/>
                <a:gd name="connsiteX22" fmla="*/ 1144328 w 3156380"/>
                <a:gd name="connsiteY22" fmla="*/ 626830 h 925395"/>
                <a:gd name="connsiteX23" fmla="*/ 1058043 w 3156380"/>
                <a:gd name="connsiteY23" fmla="*/ 543701 h 925395"/>
                <a:gd name="connsiteX24" fmla="*/ 983788 w 3156380"/>
                <a:gd name="connsiteY24" fmla="*/ 470913 h 925395"/>
                <a:gd name="connsiteX25" fmla="*/ 912242 w 3156380"/>
                <a:gd name="connsiteY25" fmla="*/ 420797 h 925395"/>
                <a:gd name="connsiteX26" fmla="*/ 827572 w 3156380"/>
                <a:gd name="connsiteY26" fmla="*/ 398051 h 925395"/>
                <a:gd name="connsiteX27" fmla="*/ 83404 w 3156380"/>
                <a:gd name="connsiteY27" fmla="*/ 36143 h 925395"/>
                <a:gd name="connsiteX28" fmla="*/ 9618 w 3156380"/>
                <a:gd name="connsiteY28" fmla="*/ 9864 h 925395"/>
                <a:gd name="connsiteX0" fmla="*/ 3146762 w 3146762"/>
                <a:gd name="connsiteY0" fmla="*/ 839274 h 919571"/>
                <a:gd name="connsiteX1" fmla="*/ 3045397 w 3146762"/>
                <a:gd name="connsiteY1" fmla="*/ 825723 h 919571"/>
                <a:gd name="connsiteX2" fmla="*/ 2982666 w 3146762"/>
                <a:gd name="connsiteY2" fmla="*/ 781293 h 919571"/>
                <a:gd name="connsiteX3" fmla="*/ 2887048 w 3146762"/>
                <a:gd name="connsiteY3" fmla="*/ 814940 h 919571"/>
                <a:gd name="connsiteX4" fmla="*/ 2756912 w 3146762"/>
                <a:gd name="connsiteY4" fmla="*/ 862214 h 919571"/>
                <a:gd name="connsiteX5" fmla="*/ 2655954 w 3146762"/>
                <a:gd name="connsiteY5" fmla="*/ 853115 h 919571"/>
                <a:gd name="connsiteX6" fmla="*/ 2594930 w 3146762"/>
                <a:gd name="connsiteY6" fmla="*/ 876849 h 919571"/>
                <a:gd name="connsiteX7" fmla="*/ 2504863 w 3146762"/>
                <a:gd name="connsiteY7" fmla="*/ 919571 h 919571"/>
                <a:gd name="connsiteX8" fmla="*/ 2408502 w 3146762"/>
                <a:gd name="connsiteY8" fmla="*/ 875764 h 919571"/>
                <a:gd name="connsiteX9" fmla="*/ 2399403 w 3146762"/>
                <a:gd name="connsiteY9" fmla="*/ 816624 h 919571"/>
                <a:gd name="connsiteX10" fmla="*/ 2375041 w 3146762"/>
                <a:gd name="connsiteY10" fmla="*/ 795495 h 919571"/>
                <a:gd name="connsiteX11" fmla="*/ 2340263 w 3146762"/>
                <a:gd name="connsiteY11" fmla="*/ 742519 h 919571"/>
                <a:gd name="connsiteX12" fmla="*/ 2285596 w 3146762"/>
                <a:gd name="connsiteY12" fmla="*/ 696951 h 919571"/>
                <a:gd name="connsiteX13" fmla="*/ 2210175 w 3146762"/>
                <a:gd name="connsiteY13" fmla="*/ 663565 h 919571"/>
                <a:gd name="connsiteX14" fmla="*/ 2093435 w 3146762"/>
                <a:gd name="connsiteY14" fmla="*/ 643603 h 919571"/>
                <a:gd name="connsiteX15" fmla="*/ 1979093 w 3146762"/>
                <a:gd name="connsiteY15" fmla="*/ 600378 h 919571"/>
                <a:gd name="connsiteX16" fmla="*/ 1901697 w 3146762"/>
                <a:gd name="connsiteY16" fmla="*/ 628323 h 919571"/>
                <a:gd name="connsiteX17" fmla="*/ 1748860 w 3146762"/>
                <a:gd name="connsiteY17" fmla="*/ 671048 h 919571"/>
                <a:gd name="connsiteX18" fmla="*/ 1625581 w 3146762"/>
                <a:gd name="connsiteY18" fmla="*/ 672589 h 919571"/>
                <a:gd name="connsiteX19" fmla="*/ 1508049 w 3146762"/>
                <a:gd name="connsiteY19" fmla="*/ 683229 h 919571"/>
                <a:gd name="connsiteX20" fmla="*/ 1316681 w 3146762"/>
                <a:gd name="connsiteY20" fmla="*/ 657400 h 919571"/>
                <a:gd name="connsiteX21" fmla="*/ 1151516 w 3146762"/>
                <a:gd name="connsiteY21" fmla="*/ 652627 h 919571"/>
                <a:gd name="connsiteX22" fmla="*/ 1134710 w 3146762"/>
                <a:gd name="connsiteY22" fmla="*/ 621006 h 919571"/>
                <a:gd name="connsiteX23" fmla="*/ 1048425 w 3146762"/>
                <a:gd name="connsiteY23" fmla="*/ 537877 h 919571"/>
                <a:gd name="connsiteX24" fmla="*/ 974170 w 3146762"/>
                <a:gd name="connsiteY24" fmla="*/ 465089 h 919571"/>
                <a:gd name="connsiteX25" fmla="*/ 902624 w 3146762"/>
                <a:gd name="connsiteY25" fmla="*/ 414973 h 919571"/>
                <a:gd name="connsiteX26" fmla="*/ 817954 w 3146762"/>
                <a:gd name="connsiteY26" fmla="*/ 392227 h 919571"/>
                <a:gd name="connsiteX27" fmla="*/ 99198 w 3146762"/>
                <a:gd name="connsiteY27" fmla="*/ 41295 h 919571"/>
                <a:gd name="connsiteX28" fmla="*/ 0 w 3146762"/>
                <a:gd name="connsiteY28" fmla="*/ 4040 h 919571"/>
                <a:gd name="connsiteX0" fmla="*/ 3146762 w 3146762"/>
                <a:gd name="connsiteY0" fmla="*/ 839274 h 919571"/>
                <a:gd name="connsiteX1" fmla="*/ 3045397 w 3146762"/>
                <a:gd name="connsiteY1" fmla="*/ 825723 h 919571"/>
                <a:gd name="connsiteX2" fmla="*/ 2982666 w 3146762"/>
                <a:gd name="connsiteY2" fmla="*/ 781293 h 919571"/>
                <a:gd name="connsiteX3" fmla="*/ 2887048 w 3146762"/>
                <a:gd name="connsiteY3" fmla="*/ 814940 h 919571"/>
                <a:gd name="connsiteX4" fmla="*/ 2756912 w 3146762"/>
                <a:gd name="connsiteY4" fmla="*/ 862214 h 919571"/>
                <a:gd name="connsiteX5" fmla="*/ 2655954 w 3146762"/>
                <a:gd name="connsiteY5" fmla="*/ 853115 h 919571"/>
                <a:gd name="connsiteX6" fmla="*/ 2594930 w 3146762"/>
                <a:gd name="connsiteY6" fmla="*/ 876849 h 919571"/>
                <a:gd name="connsiteX7" fmla="*/ 2504863 w 3146762"/>
                <a:gd name="connsiteY7" fmla="*/ 919571 h 919571"/>
                <a:gd name="connsiteX8" fmla="*/ 2408502 w 3146762"/>
                <a:gd name="connsiteY8" fmla="*/ 875764 h 919571"/>
                <a:gd name="connsiteX9" fmla="*/ 2399403 w 3146762"/>
                <a:gd name="connsiteY9" fmla="*/ 816624 h 919571"/>
                <a:gd name="connsiteX10" fmla="*/ 2375041 w 3146762"/>
                <a:gd name="connsiteY10" fmla="*/ 795495 h 919571"/>
                <a:gd name="connsiteX11" fmla="*/ 2340263 w 3146762"/>
                <a:gd name="connsiteY11" fmla="*/ 742519 h 919571"/>
                <a:gd name="connsiteX12" fmla="*/ 2285596 w 3146762"/>
                <a:gd name="connsiteY12" fmla="*/ 696951 h 919571"/>
                <a:gd name="connsiteX13" fmla="*/ 2210175 w 3146762"/>
                <a:gd name="connsiteY13" fmla="*/ 663565 h 919571"/>
                <a:gd name="connsiteX14" fmla="*/ 2093435 w 3146762"/>
                <a:gd name="connsiteY14" fmla="*/ 643603 h 919571"/>
                <a:gd name="connsiteX15" fmla="*/ 1979093 w 3146762"/>
                <a:gd name="connsiteY15" fmla="*/ 600378 h 919571"/>
                <a:gd name="connsiteX16" fmla="*/ 1901697 w 3146762"/>
                <a:gd name="connsiteY16" fmla="*/ 628323 h 919571"/>
                <a:gd name="connsiteX17" fmla="*/ 1748860 w 3146762"/>
                <a:gd name="connsiteY17" fmla="*/ 671048 h 919571"/>
                <a:gd name="connsiteX18" fmla="*/ 1625581 w 3146762"/>
                <a:gd name="connsiteY18" fmla="*/ 672589 h 919571"/>
                <a:gd name="connsiteX19" fmla="*/ 1508049 w 3146762"/>
                <a:gd name="connsiteY19" fmla="*/ 683229 h 919571"/>
                <a:gd name="connsiteX20" fmla="*/ 1316681 w 3146762"/>
                <a:gd name="connsiteY20" fmla="*/ 657400 h 919571"/>
                <a:gd name="connsiteX21" fmla="*/ 1151516 w 3146762"/>
                <a:gd name="connsiteY21" fmla="*/ 652627 h 919571"/>
                <a:gd name="connsiteX22" fmla="*/ 1134710 w 3146762"/>
                <a:gd name="connsiteY22" fmla="*/ 621006 h 919571"/>
                <a:gd name="connsiteX23" fmla="*/ 1048425 w 3146762"/>
                <a:gd name="connsiteY23" fmla="*/ 537877 h 919571"/>
                <a:gd name="connsiteX24" fmla="*/ 974170 w 3146762"/>
                <a:gd name="connsiteY24" fmla="*/ 465089 h 919571"/>
                <a:gd name="connsiteX25" fmla="*/ 902624 w 3146762"/>
                <a:gd name="connsiteY25" fmla="*/ 414973 h 919571"/>
                <a:gd name="connsiteX26" fmla="*/ 817954 w 3146762"/>
                <a:gd name="connsiteY26" fmla="*/ 392227 h 919571"/>
                <a:gd name="connsiteX27" fmla="*/ 320647 w 3146762"/>
                <a:gd name="connsiteY27" fmla="*/ 143739 h 919571"/>
                <a:gd name="connsiteX28" fmla="*/ 99198 w 3146762"/>
                <a:gd name="connsiteY28" fmla="*/ 41295 h 919571"/>
                <a:gd name="connsiteX29" fmla="*/ 0 w 3146762"/>
                <a:gd name="connsiteY29" fmla="*/ 4040 h 919571"/>
                <a:gd name="connsiteX0" fmla="*/ 3146762 w 3146762"/>
                <a:gd name="connsiteY0" fmla="*/ 839274 h 919571"/>
                <a:gd name="connsiteX1" fmla="*/ 3045397 w 3146762"/>
                <a:gd name="connsiteY1" fmla="*/ 825723 h 919571"/>
                <a:gd name="connsiteX2" fmla="*/ 2982666 w 3146762"/>
                <a:gd name="connsiteY2" fmla="*/ 781293 h 919571"/>
                <a:gd name="connsiteX3" fmla="*/ 2887048 w 3146762"/>
                <a:gd name="connsiteY3" fmla="*/ 814940 h 919571"/>
                <a:gd name="connsiteX4" fmla="*/ 2756912 w 3146762"/>
                <a:gd name="connsiteY4" fmla="*/ 862214 h 919571"/>
                <a:gd name="connsiteX5" fmla="*/ 2655954 w 3146762"/>
                <a:gd name="connsiteY5" fmla="*/ 853115 h 919571"/>
                <a:gd name="connsiteX6" fmla="*/ 2594930 w 3146762"/>
                <a:gd name="connsiteY6" fmla="*/ 876849 h 919571"/>
                <a:gd name="connsiteX7" fmla="*/ 2504863 w 3146762"/>
                <a:gd name="connsiteY7" fmla="*/ 919571 h 919571"/>
                <a:gd name="connsiteX8" fmla="*/ 2408502 w 3146762"/>
                <a:gd name="connsiteY8" fmla="*/ 875764 h 919571"/>
                <a:gd name="connsiteX9" fmla="*/ 2399403 w 3146762"/>
                <a:gd name="connsiteY9" fmla="*/ 816624 h 919571"/>
                <a:gd name="connsiteX10" fmla="*/ 2375041 w 3146762"/>
                <a:gd name="connsiteY10" fmla="*/ 795495 h 919571"/>
                <a:gd name="connsiteX11" fmla="*/ 2340263 w 3146762"/>
                <a:gd name="connsiteY11" fmla="*/ 742519 h 919571"/>
                <a:gd name="connsiteX12" fmla="*/ 2285596 w 3146762"/>
                <a:gd name="connsiteY12" fmla="*/ 696951 h 919571"/>
                <a:gd name="connsiteX13" fmla="*/ 2210175 w 3146762"/>
                <a:gd name="connsiteY13" fmla="*/ 663565 h 919571"/>
                <a:gd name="connsiteX14" fmla="*/ 2093435 w 3146762"/>
                <a:gd name="connsiteY14" fmla="*/ 643603 h 919571"/>
                <a:gd name="connsiteX15" fmla="*/ 1979093 w 3146762"/>
                <a:gd name="connsiteY15" fmla="*/ 600378 h 919571"/>
                <a:gd name="connsiteX16" fmla="*/ 1901697 w 3146762"/>
                <a:gd name="connsiteY16" fmla="*/ 628323 h 919571"/>
                <a:gd name="connsiteX17" fmla="*/ 1748860 w 3146762"/>
                <a:gd name="connsiteY17" fmla="*/ 671048 h 919571"/>
                <a:gd name="connsiteX18" fmla="*/ 1625581 w 3146762"/>
                <a:gd name="connsiteY18" fmla="*/ 672589 h 919571"/>
                <a:gd name="connsiteX19" fmla="*/ 1508049 w 3146762"/>
                <a:gd name="connsiteY19" fmla="*/ 683229 h 919571"/>
                <a:gd name="connsiteX20" fmla="*/ 1316681 w 3146762"/>
                <a:gd name="connsiteY20" fmla="*/ 657400 h 919571"/>
                <a:gd name="connsiteX21" fmla="*/ 1151516 w 3146762"/>
                <a:gd name="connsiteY21" fmla="*/ 652627 h 919571"/>
                <a:gd name="connsiteX22" fmla="*/ 1134710 w 3146762"/>
                <a:gd name="connsiteY22" fmla="*/ 621006 h 919571"/>
                <a:gd name="connsiteX23" fmla="*/ 1048425 w 3146762"/>
                <a:gd name="connsiteY23" fmla="*/ 537877 h 919571"/>
                <a:gd name="connsiteX24" fmla="*/ 974170 w 3146762"/>
                <a:gd name="connsiteY24" fmla="*/ 465089 h 919571"/>
                <a:gd name="connsiteX25" fmla="*/ 902624 w 3146762"/>
                <a:gd name="connsiteY25" fmla="*/ 414973 h 919571"/>
                <a:gd name="connsiteX26" fmla="*/ 817954 w 3146762"/>
                <a:gd name="connsiteY26" fmla="*/ 392227 h 919571"/>
                <a:gd name="connsiteX27" fmla="*/ 487641 w 3146762"/>
                <a:gd name="connsiteY27" fmla="*/ 231547 h 919571"/>
                <a:gd name="connsiteX28" fmla="*/ 320647 w 3146762"/>
                <a:gd name="connsiteY28" fmla="*/ 143739 h 919571"/>
                <a:gd name="connsiteX29" fmla="*/ 99198 w 3146762"/>
                <a:gd name="connsiteY29" fmla="*/ 41295 h 919571"/>
                <a:gd name="connsiteX30" fmla="*/ 0 w 3146762"/>
                <a:gd name="connsiteY30" fmla="*/ 4040 h 919571"/>
                <a:gd name="connsiteX0" fmla="*/ 3146762 w 3146762"/>
                <a:gd name="connsiteY0" fmla="*/ 839274 h 919571"/>
                <a:gd name="connsiteX1" fmla="*/ 3045397 w 3146762"/>
                <a:gd name="connsiteY1" fmla="*/ 825723 h 919571"/>
                <a:gd name="connsiteX2" fmla="*/ 2982666 w 3146762"/>
                <a:gd name="connsiteY2" fmla="*/ 781293 h 919571"/>
                <a:gd name="connsiteX3" fmla="*/ 2887048 w 3146762"/>
                <a:gd name="connsiteY3" fmla="*/ 814940 h 919571"/>
                <a:gd name="connsiteX4" fmla="*/ 2756912 w 3146762"/>
                <a:gd name="connsiteY4" fmla="*/ 862214 h 919571"/>
                <a:gd name="connsiteX5" fmla="*/ 2655954 w 3146762"/>
                <a:gd name="connsiteY5" fmla="*/ 853115 h 919571"/>
                <a:gd name="connsiteX6" fmla="*/ 2594930 w 3146762"/>
                <a:gd name="connsiteY6" fmla="*/ 876849 h 919571"/>
                <a:gd name="connsiteX7" fmla="*/ 2504863 w 3146762"/>
                <a:gd name="connsiteY7" fmla="*/ 919571 h 919571"/>
                <a:gd name="connsiteX8" fmla="*/ 2408502 w 3146762"/>
                <a:gd name="connsiteY8" fmla="*/ 875764 h 919571"/>
                <a:gd name="connsiteX9" fmla="*/ 2399403 w 3146762"/>
                <a:gd name="connsiteY9" fmla="*/ 816624 h 919571"/>
                <a:gd name="connsiteX10" fmla="*/ 2375041 w 3146762"/>
                <a:gd name="connsiteY10" fmla="*/ 795495 h 919571"/>
                <a:gd name="connsiteX11" fmla="*/ 2340263 w 3146762"/>
                <a:gd name="connsiteY11" fmla="*/ 742519 h 919571"/>
                <a:gd name="connsiteX12" fmla="*/ 2285596 w 3146762"/>
                <a:gd name="connsiteY12" fmla="*/ 696951 h 919571"/>
                <a:gd name="connsiteX13" fmla="*/ 2210175 w 3146762"/>
                <a:gd name="connsiteY13" fmla="*/ 663565 h 919571"/>
                <a:gd name="connsiteX14" fmla="*/ 2093435 w 3146762"/>
                <a:gd name="connsiteY14" fmla="*/ 643603 h 919571"/>
                <a:gd name="connsiteX15" fmla="*/ 1979093 w 3146762"/>
                <a:gd name="connsiteY15" fmla="*/ 600378 h 919571"/>
                <a:gd name="connsiteX16" fmla="*/ 1901697 w 3146762"/>
                <a:gd name="connsiteY16" fmla="*/ 628323 h 919571"/>
                <a:gd name="connsiteX17" fmla="*/ 1748860 w 3146762"/>
                <a:gd name="connsiteY17" fmla="*/ 671048 h 919571"/>
                <a:gd name="connsiteX18" fmla="*/ 1625581 w 3146762"/>
                <a:gd name="connsiteY18" fmla="*/ 672589 h 919571"/>
                <a:gd name="connsiteX19" fmla="*/ 1508049 w 3146762"/>
                <a:gd name="connsiteY19" fmla="*/ 683229 h 919571"/>
                <a:gd name="connsiteX20" fmla="*/ 1316681 w 3146762"/>
                <a:gd name="connsiteY20" fmla="*/ 657400 h 919571"/>
                <a:gd name="connsiteX21" fmla="*/ 1151516 w 3146762"/>
                <a:gd name="connsiteY21" fmla="*/ 652627 h 919571"/>
                <a:gd name="connsiteX22" fmla="*/ 1134710 w 3146762"/>
                <a:gd name="connsiteY22" fmla="*/ 621006 h 919571"/>
                <a:gd name="connsiteX23" fmla="*/ 1048425 w 3146762"/>
                <a:gd name="connsiteY23" fmla="*/ 537877 h 919571"/>
                <a:gd name="connsiteX24" fmla="*/ 974170 w 3146762"/>
                <a:gd name="connsiteY24" fmla="*/ 465089 h 919571"/>
                <a:gd name="connsiteX25" fmla="*/ 902624 w 3146762"/>
                <a:gd name="connsiteY25" fmla="*/ 414973 h 919571"/>
                <a:gd name="connsiteX26" fmla="*/ 817954 w 3146762"/>
                <a:gd name="connsiteY26" fmla="*/ 392227 h 919571"/>
                <a:gd name="connsiteX27" fmla="*/ 651004 w 3146762"/>
                <a:gd name="connsiteY27" fmla="*/ 319354 h 919571"/>
                <a:gd name="connsiteX28" fmla="*/ 487641 w 3146762"/>
                <a:gd name="connsiteY28" fmla="*/ 231547 h 919571"/>
                <a:gd name="connsiteX29" fmla="*/ 320647 w 3146762"/>
                <a:gd name="connsiteY29" fmla="*/ 143739 h 919571"/>
                <a:gd name="connsiteX30" fmla="*/ 99198 w 3146762"/>
                <a:gd name="connsiteY30" fmla="*/ 41295 h 919571"/>
                <a:gd name="connsiteX31" fmla="*/ 0 w 3146762"/>
                <a:gd name="connsiteY31" fmla="*/ 4040 h 919571"/>
                <a:gd name="connsiteX0" fmla="*/ 3146762 w 3146762"/>
                <a:gd name="connsiteY0" fmla="*/ 839274 h 919571"/>
                <a:gd name="connsiteX1" fmla="*/ 3045397 w 3146762"/>
                <a:gd name="connsiteY1" fmla="*/ 825723 h 919571"/>
                <a:gd name="connsiteX2" fmla="*/ 2982666 w 3146762"/>
                <a:gd name="connsiteY2" fmla="*/ 781293 h 919571"/>
                <a:gd name="connsiteX3" fmla="*/ 2887048 w 3146762"/>
                <a:gd name="connsiteY3" fmla="*/ 814940 h 919571"/>
                <a:gd name="connsiteX4" fmla="*/ 2756912 w 3146762"/>
                <a:gd name="connsiteY4" fmla="*/ 862214 h 919571"/>
                <a:gd name="connsiteX5" fmla="*/ 2655954 w 3146762"/>
                <a:gd name="connsiteY5" fmla="*/ 853115 h 919571"/>
                <a:gd name="connsiteX6" fmla="*/ 2594930 w 3146762"/>
                <a:gd name="connsiteY6" fmla="*/ 876849 h 919571"/>
                <a:gd name="connsiteX7" fmla="*/ 2504863 w 3146762"/>
                <a:gd name="connsiteY7" fmla="*/ 919571 h 919571"/>
                <a:gd name="connsiteX8" fmla="*/ 2408502 w 3146762"/>
                <a:gd name="connsiteY8" fmla="*/ 875764 h 919571"/>
                <a:gd name="connsiteX9" fmla="*/ 2399403 w 3146762"/>
                <a:gd name="connsiteY9" fmla="*/ 816624 h 919571"/>
                <a:gd name="connsiteX10" fmla="*/ 2375041 w 3146762"/>
                <a:gd name="connsiteY10" fmla="*/ 795495 h 919571"/>
                <a:gd name="connsiteX11" fmla="*/ 2340263 w 3146762"/>
                <a:gd name="connsiteY11" fmla="*/ 742519 h 919571"/>
                <a:gd name="connsiteX12" fmla="*/ 2285596 w 3146762"/>
                <a:gd name="connsiteY12" fmla="*/ 696951 h 919571"/>
                <a:gd name="connsiteX13" fmla="*/ 2210175 w 3146762"/>
                <a:gd name="connsiteY13" fmla="*/ 663565 h 919571"/>
                <a:gd name="connsiteX14" fmla="*/ 2093435 w 3146762"/>
                <a:gd name="connsiteY14" fmla="*/ 643603 h 919571"/>
                <a:gd name="connsiteX15" fmla="*/ 1979093 w 3146762"/>
                <a:gd name="connsiteY15" fmla="*/ 600378 h 919571"/>
                <a:gd name="connsiteX16" fmla="*/ 1901697 w 3146762"/>
                <a:gd name="connsiteY16" fmla="*/ 628323 h 919571"/>
                <a:gd name="connsiteX17" fmla="*/ 1748860 w 3146762"/>
                <a:gd name="connsiteY17" fmla="*/ 671048 h 919571"/>
                <a:gd name="connsiteX18" fmla="*/ 1625581 w 3146762"/>
                <a:gd name="connsiteY18" fmla="*/ 672589 h 919571"/>
                <a:gd name="connsiteX19" fmla="*/ 1508049 w 3146762"/>
                <a:gd name="connsiteY19" fmla="*/ 683229 h 919571"/>
                <a:gd name="connsiteX20" fmla="*/ 1316681 w 3146762"/>
                <a:gd name="connsiteY20" fmla="*/ 657400 h 919571"/>
                <a:gd name="connsiteX21" fmla="*/ 1151516 w 3146762"/>
                <a:gd name="connsiteY21" fmla="*/ 652627 h 919571"/>
                <a:gd name="connsiteX22" fmla="*/ 1134710 w 3146762"/>
                <a:gd name="connsiteY22" fmla="*/ 621006 h 919571"/>
                <a:gd name="connsiteX23" fmla="*/ 1048425 w 3146762"/>
                <a:gd name="connsiteY23" fmla="*/ 537877 h 919571"/>
                <a:gd name="connsiteX24" fmla="*/ 974170 w 3146762"/>
                <a:gd name="connsiteY24" fmla="*/ 465089 h 919571"/>
                <a:gd name="connsiteX25" fmla="*/ 902624 w 3146762"/>
                <a:gd name="connsiteY25" fmla="*/ 414973 h 919571"/>
                <a:gd name="connsiteX26" fmla="*/ 817954 w 3146762"/>
                <a:gd name="connsiteY26" fmla="*/ 392227 h 919571"/>
                <a:gd name="connsiteX27" fmla="*/ 651004 w 3146762"/>
                <a:gd name="connsiteY27" fmla="*/ 319354 h 919571"/>
                <a:gd name="connsiteX28" fmla="*/ 487641 w 3146762"/>
                <a:gd name="connsiteY28" fmla="*/ 231547 h 919571"/>
                <a:gd name="connsiteX29" fmla="*/ 295235 w 3146762"/>
                <a:gd name="connsiteY29" fmla="*/ 143739 h 919571"/>
                <a:gd name="connsiteX30" fmla="*/ 99198 w 3146762"/>
                <a:gd name="connsiteY30" fmla="*/ 41295 h 919571"/>
                <a:gd name="connsiteX31" fmla="*/ 0 w 3146762"/>
                <a:gd name="connsiteY31" fmla="*/ 4040 h 919571"/>
                <a:gd name="connsiteX0" fmla="*/ 3146762 w 3146762"/>
                <a:gd name="connsiteY0" fmla="*/ 839274 h 919571"/>
                <a:gd name="connsiteX1" fmla="*/ 3045397 w 3146762"/>
                <a:gd name="connsiteY1" fmla="*/ 825723 h 919571"/>
                <a:gd name="connsiteX2" fmla="*/ 2982666 w 3146762"/>
                <a:gd name="connsiteY2" fmla="*/ 781293 h 919571"/>
                <a:gd name="connsiteX3" fmla="*/ 2887048 w 3146762"/>
                <a:gd name="connsiteY3" fmla="*/ 814940 h 919571"/>
                <a:gd name="connsiteX4" fmla="*/ 2756912 w 3146762"/>
                <a:gd name="connsiteY4" fmla="*/ 862214 h 919571"/>
                <a:gd name="connsiteX5" fmla="*/ 2655954 w 3146762"/>
                <a:gd name="connsiteY5" fmla="*/ 853115 h 919571"/>
                <a:gd name="connsiteX6" fmla="*/ 2594930 w 3146762"/>
                <a:gd name="connsiteY6" fmla="*/ 876849 h 919571"/>
                <a:gd name="connsiteX7" fmla="*/ 2504863 w 3146762"/>
                <a:gd name="connsiteY7" fmla="*/ 919571 h 919571"/>
                <a:gd name="connsiteX8" fmla="*/ 2408502 w 3146762"/>
                <a:gd name="connsiteY8" fmla="*/ 875764 h 919571"/>
                <a:gd name="connsiteX9" fmla="*/ 2399403 w 3146762"/>
                <a:gd name="connsiteY9" fmla="*/ 816624 h 919571"/>
                <a:gd name="connsiteX10" fmla="*/ 2375041 w 3146762"/>
                <a:gd name="connsiteY10" fmla="*/ 795495 h 919571"/>
                <a:gd name="connsiteX11" fmla="*/ 2340263 w 3146762"/>
                <a:gd name="connsiteY11" fmla="*/ 742519 h 919571"/>
                <a:gd name="connsiteX12" fmla="*/ 2285596 w 3146762"/>
                <a:gd name="connsiteY12" fmla="*/ 696951 h 919571"/>
                <a:gd name="connsiteX13" fmla="*/ 2210175 w 3146762"/>
                <a:gd name="connsiteY13" fmla="*/ 663565 h 919571"/>
                <a:gd name="connsiteX14" fmla="*/ 2093435 w 3146762"/>
                <a:gd name="connsiteY14" fmla="*/ 643603 h 919571"/>
                <a:gd name="connsiteX15" fmla="*/ 1979093 w 3146762"/>
                <a:gd name="connsiteY15" fmla="*/ 600378 h 919571"/>
                <a:gd name="connsiteX16" fmla="*/ 1901697 w 3146762"/>
                <a:gd name="connsiteY16" fmla="*/ 628323 h 919571"/>
                <a:gd name="connsiteX17" fmla="*/ 1748860 w 3146762"/>
                <a:gd name="connsiteY17" fmla="*/ 671048 h 919571"/>
                <a:gd name="connsiteX18" fmla="*/ 1625581 w 3146762"/>
                <a:gd name="connsiteY18" fmla="*/ 672589 h 919571"/>
                <a:gd name="connsiteX19" fmla="*/ 1508049 w 3146762"/>
                <a:gd name="connsiteY19" fmla="*/ 683229 h 919571"/>
                <a:gd name="connsiteX20" fmla="*/ 1316681 w 3146762"/>
                <a:gd name="connsiteY20" fmla="*/ 657400 h 919571"/>
                <a:gd name="connsiteX21" fmla="*/ 1151516 w 3146762"/>
                <a:gd name="connsiteY21" fmla="*/ 652627 h 919571"/>
                <a:gd name="connsiteX22" fmla="*/ 1134710 w 3146762"/>
                <a:gd name="connsiteY22" fmla="*/ 621006 h 919571"/>
                <a:gd name="connsiteX23" fmla="*/ 1048425 w 3146762"/>
                <a:gd name="connsiteY23" fmla="*/ 537877 h 919571"/>
                <a:gd name="connsiteX24" fmla="*/ 974170 w 3146762"/>
                <a:gd name="connsiteY24" fmla="*/ 465089 h 919571"/>
                <a:gd name="connsiteX25" fmla="*/ 902624 w 3146762"/>
                <a:gd name="connsiteY25" fmla="*/ 414973 h 919571"/>
                <a:gd name="connsiteX26" fmla="*/ 817954 w 3146762"/>
                <a:gd name="connsiteY26" fmla="*/ 392227 h 919571"/>
                <a:gd name="connsiteX27" fmla="*/ 651004 w 3146762"/>
                <a:gd name="connsiteY27" fmla="*/ 319354 h 919571"/>
                <a:gd name="connsiteX28" fmla="*/ 487641 w 3146762"/>
                <a:gd name="connsiteY28" fmla="*/ 231547 h 919571"/>
                <a:gd name="connsiteX29" fmla="*/ 295235 w 3146762"/>
                <a:gd name="connsiteY29" fmla="*/ 143739 h 919571"/>
                <a:gd name="connsiteX30" fmla="*/ 99198 w 3146762"/>
                <a:gd name="connsiteY30" fmla="*/ 41295 h 919571"/>
                <a:gd name="connsiteX31" fmla="*/ 0 w 3146762"/>
                <a:gd name="connsiteY31" fmla="*/ 4040 h 919571"/>
                <a:gd name="connsiteX0" fmla="*/ 3146762 w 3146762"/>
                <a:gd name="connsiteY0" fmla="*/ 839274 h 919571"/>
                <a:gd name="connsiteX1" fmla="*/ 3045397 w 3146762"/>
                <a:gd name="connsiteY1" fmla="*/ 825723 h 919571"/>
                <a:gd name="connsiteX2" fmla="*/ 2982666 w 3146762"/>
                <a:gd name="connsiteY2" fmla="*/ 781293 h 919571"/>
                <a:gd name="connsiteX3" fmla="*/ 2887048 w 3146762"/>
                <a:gd name="connsiteY3" fmla="*/ 814940 h 919571"/>
                <a:gd name="connsiteX4" fmla="*/ 2756912 w 3146762"/>
                <a:gd name="connsiteY4" fmla="*/ 862214 h 919571"/>
                <a:gd name="connsiteX5" fmla="*/ 2655954 w 3146762"/>
                <a:gd name="connsiteY5" fmla="*/ 853115 h 919571"/>
                <a:gd name="connsiteX6" fmla="*/ 2594930 w 3146762"/>
                <a:gd name="connsiteY6" fmla="*/ 876849 h 919571"/>
                <a:gd name="connsiteX7" fmla="*/ 2504863 w 3146762"/>
                <a:gd name="connsiteY7" fmla="*/ 919571 h 919571"/>
                <a:gd name="connsiteX8" fmla="*/ 2408502 w 3146762"/>
                <a:gd name="connsiteY8" fmla="*/ 875764 h 919571"/>
                <a:gd name="connsiteX9" fmla="*/ 2399403 w 3146762"/>
                <a:gd name="connsiteY9" fmla="*/ 816624 h 919571"/>
                <a:gd name="connsiteX10" fmla="*/ 2375041 w 3146762"/>
                <a:gd name="connsiteY10" fmla="*/ 795495 h 919571"/>
                <a:gd name="connsiteX11" fmla="*/ 2340263 w 3146762"/>
                <a:gd name="connsiteY11" fmla="*/ 742519 h 919571"/>
                <a:gd name="connsiteX12" fmla="*/ 2285596 w 3146762"/>
                <a:gd name="connsiteY12" fmla="*/ 696951 h 919571"/>
                <a:gd name="connsiteX13" fmla="*/ 2210175 w 3146762"/>
                <a:gd name="connsiteY13" fmla="*/ 663565 h 919571"/>
                <a:gd name="connsiteX14" fmla="*/ 2093435 w 3146762"/>
                <a:gd name="connsiteY14" fmla="*/ 643603 h 919571"/>
                <a:gd name="connsiteX15" fmla="*/ 1979093 w 3146762"/>
                <a:gd name="connsiteY15" fmla="*/ 600378 h 919571"/>
                <a:gd name="connsiteX16" fmla="*/ 1901697 w 3146762"/>
                <a:gd name="connsiteY16" fmla="*/ 628323 h 919571"/>
                <a:gd name="connsiteX17" fmla="*/ 1748860 w 3146762"/>
                <a:gd name="connsiteY17" fmla="*/ 671048 h 919571"/>
                <a:gd name="connsiteX18" fmla="*/ 1625581 w 3146762"/>
                <a:gd name="connsiteY18" fmla="*/ 672589 h 919571"/>
                <a:gd name="connsiteX19" fmla="*/ 1508049 w 3146762"/>
                <a:gd name="connsiteY19" fmla="*/ 683229 h 919571"/>
                <a:gd name="connsiteX20" fmla="*/ 1316681 w 3146762"/>
                <a:gd name="connsiteY20" fmla="*/ 657400 h 919571"/>
                <a:gd name="connsiteX21" fmla="*/ 1151516 w 3146762"/>
                <a:gd name="connsiteY21" fmla="*/ 652627 h 919571"/>
                <a:gd name="connsiteX22" fmla="*/ 1134710 w 3146762"/>
                <a:gd name="connsiteY22" fmla="*/ 621006 h 919571"/>
                <a:gd name="connsiteX23" fmla="*/ 1048425 w 3146762"/>
                <a:gd name="connsiteY23" fmla="*/ 537877 h 919571"/>
                <a:gd name="connsiteX24" fmla="*/ 974170 w 3146762"/>
                <a:gd name="connsiteY24" fmla="*/ 465089 h 919571"/>
                <a:gd name="connsiteX25" fmla="*/ 902624 w 3146762"/>
                <a:gd name="connsiteY25" fmla="*/ 414973 h 919571"/>
                <a:gd name="connsiteX26" fmla="*/ 803433 w 3146762"/>
                <a:gd name="connsiteY26" fmla="*/ 395886 h 919571"/>
                <a:gd name="connsiteX27" fmla="*/ 651004 w 3146762"/>
                <a:gd name="connsiteY27" fmla="*/ 319354 h 919571"/>
                <a:gd name="connsiteX28" fmla="*/ 487641 w 3146762"/>
                <a:gd name="connsiteY28" fmla="*/ 231547 h 919571"/>
                <a:gd name="connsiteX29" fmla="*/ 295235 w 3146762"/>
                <a:gd name="connsiteY29" fmla="*/ 143739 h 919571"/>
                <a:gd name="connsiteX30" fmla="*/ 99198 w 3146762"/>
                <a:gd name="connsiteY30" fmla="*/ 41295 h 919571"/>
                <a:gd name="connsiteX31" fmla="*/ 0 w 3146762"/>
                <a:gd name="connsiteY31" fmla="*/ 4040 h 919571"/>
                <a:gd name="connsiteX0" fmla="*/ 3146762 w 3146762"/>
                <a:gd name="connsiteY0" fmla="*/ 839274 h 919571"/>
                <a:gd name="connsiteX1" fmla="*/ 3045397 w 3146762"/>
                <a:gd name="connsiteY1" fmla="*/ 825723 h 919571"/>
                <a:gd name="connsiteX2" fmla="*/ 2982666 w 3146762"/>
                <a:gd name="connsiteY2" fmla="*/ 781293 h 919571"/>
                <a:gd name="connsiteX3" fmla="*/ 2887048 w 3146762"/>
                <a:gd name="connsiteY3" fmla="*/ 814940 h 919571"/>
                <a:gd name="connsiteX4" fmla="*/ 2756912 w 3146762"/>
                <a:gd name="connsiteY4" fmla="*/ 862214 h 919571"/>
                <a:gd name="connsiteX5" fmla="*/ 2655954 w 3146762"/>
                <a:gd name="connsiteY5" fmla="*/ 853115 h 919571"/>
                <a:gd name="connsiteX6" fmla="*/ 2594930 w 3146762"/>
                <a:gd name="connsiteY6" fmla="*/ 876849 h 919571"/>
                <a:gd name="connsiteX7" fmla="*/ 2504863 w 3146762"/>
                <a:gd name="connsiteY7" fmla="*/ 919571 h 919571"/>
                <a:gd name="connsiteX8" fmla="*/ 2408502 w 3146762"/>
                <a:gd name="connsiteY8" fmla="*/ 875764 h 919571"/>
                <a:gd name="connsiteX9" fmla="*/ 2399403 w 3146762"/>
                <a:gd name="connsiteY9" fmla="*/ 816624 h 919571"/>
                <a:gd name="connsiteX10" fmla="*/ 2375041 w 3146762"/>
                <a:gd name="connsiteY10" fmla="*/ 795495 h 919571"/>
                <a:gd name="connsiteX11" fmla="*/ 2340263 w 3146762"/>
                <a:gd name="connsiteY11" fmla="*/ 742519 h 919571"/>
                <a:gd name="connsiteX12" fmla="*/ 2285596 w 3146762"/>
                <a:gd name="connsiteY12" fmla="*/ 696951 h 919571"/>
                <a:gd name="connsiteX13" fmla="*/ 2210175 w 3146762"/>
                <a:gd name="connsiteY13" fmla="*/ 663565 h 919571"/>
                <a:gd name="connsiteX14" fmla="*/ 2093435 w 3146762"/>
                <a:gd name="connsiteY14" fmla="*/ 643603 h 919571"/>
                <a:gd name="connsiteX15" fmla="*/ 1979093 w 3146762"/>
                <a:gd name="connsiteY15" fmla="*/ 600378 h 919571"/>
                <a:gd name="connsiteX16" fmla="*/ 1901697 w 3146762"/>
                <a:gd name="connsiteY16" fmla="*/ 628323 h 919571"/>
                <a:gd name="connsiteX17" fmla="*/ 1748860 w 3146762"/>
                <a:gd name="connsiteY17" fmla="*/ 671048 h 919571"/>
                <a:gd name="connsiteX18" fmla="*/ 1625581 w 3146762"/>
                <a:gd name="connsiteY18" fmla="*/ 672589 h 919571"/>
                <a:gd name="connsiteX19" fmla="*/ 1508049 w 3146762"/>
                <a:gd name="connsiteY19" fmla="*/ 683229 h 919571"/>
                <a:gd name="connsiteX20" fmla="*/ 1316681 w 3146762"/>
                <a:gd name="connsiteY20" fmla="*/ 657400 h 919571"/>
                <a:gd name="connsiteX21" fmla="*/ 1151516 w 3146762"/>
                <a:gd name="connsiteY21" fmla="*/ 652627 h 919571"/>
                <a:gd name="connsiteX22" fmla="*/ 1134710 w 3146762"/>
                <a:gd name="connsiteY22" fmla="*/ 621006 h 919571"/>
                <a:gd name="connsiteX23" fmla="*/ 1048425 w 3146762"/>
                <a:gd name="connsiteY23" fmla="*/ 537877 h 919571"/>
                <a:gd name="connsiteX24" fmla="*/ 974170 w 3146762"/>
                <a:gd name="connsiteY24" fmla="*/ 465089 h 919571"/>
                <a:gd name="connsiteX25" fmla="*/ 888102 w 3146762"/>
                <a:gd name="connsiteY25" fmla="*/ 422290 h 919571"/>
                <a:gd name="connsiteX26" fmla="*/ 803433 w 3146762"/>
                <a:gd name="connsiteY26" fmla="*/ 395886 h 919571"/>
                <a:gd name="connsiteX27" fmla="*/ 651004 w 3146762"/>
                <a:gd name="connsiteY27" fmla="*/ 319354 h 919571"/>
                <a:gd name="connsiteX28" fmla="*/ 487641 w 3146762"/>
                <a:gd name="connsiteY28" fmla="*/ 231547 h 919571"/>
                <a:gd name="connsiteX29" fmla="*/ 295235 w 3146762"/>
                <a:gd name="connsiteY29" fmla="*/ 143739 h 919571"/>
                <a:gd name="connsiteX30" fmla="*/ 99198 w 3146762"/>
                <a:gd name="connsiteY30" fmla="*/ 41295 h 919571"/>
                <a:gd name="connsiteX31" fmla="*/ 0 w 3146762"/>
                <a:gd name="connsiteY31" fmla="*/ 4040 h 919571"/>
                <a:gd name="connsiteX0" fmla="*/ 3146762 w 3146762"/>
                <a:gd name="connsiteY0" fmla="*/ 839274 h 919571"/>
                <a:gd name="connsiteX1" fmla="*/ 3045397 w 3146762"/>
                <a:gd name="connsiteY1" fmla="*/ 825723 h 919571"/>
                <a:gd name="connsiteX2" fmla="*/ 2982666 w 3146762"/>
                <a:gd name="connsiteY2" fmla="*/ 781293 h 919571"/>
                <a:gd name="connsiteX3" fmla="*/ 2887048 w 3146762"/>
                <a:gd name="connsiteY3" fmla="*/ 814940 h 919571"/>
                <a:gd name="connsiteX4" fmla="*/ 2756912 w 3146762"/>
                <a:gd name="connsiteY4" fmla="*/ 862214 h 919571"/>
                <a:gd name="connsiteX5" fmla="*/ 2655954 w 3146762"/>
                <a:gd name="connsiteY5" fmla="*/ 853115 h 919571"/>
                <a:gd name="connsiteX6" fmla="*/ 2594930 w 3146762"/>
                <a:gd name="connsiteY6" fmla="*/ 876849 h 919571"/>
                <a:gd name="connsiteX7" fmla="*/ 2504863 w 3146762"/>
                <a:gd name="connsiteY7" fmla="*/ 919571 h 919571"/>
                <a:gd name="connsiteX8" fmla="*/ 2408502 w 3146762"/>
                <a:gd name="connsiteY8" fmla="*/ 875764 h 919571"/>
                <a:gd name="connsiteX9" fmla="*/ 2399403 w 3146762"/>
                <a:gd name="connsiteY9" fmla="*/ 816624 h 919571"/>
                <a:gd name="connsiteX10" fmla="*/ 2375041 w 3146762"/>
                <a:gd name="connsiteY10" fmla="*/ 795495 h 919571"/>
                <a:gd name="connsiteX11" fmla="*/ 2340263 w 3146762"/>
                <a:gd name="connsiteY11" fmla="*/ 742519 h 919571"/>
                <a:gd name="connsiteX12" fmla="*/ 2285596 w 3146762"/>
                <a:gd name="connsiteY12" fmla="*/ 696951 h 919571"/>
                <a:gd name="connsiteX13" fmla="*/ 2210175 w 3146762"/>
                <a:gd name="connsiteY13" fmla="*/ 663565 h 919571"/>
                <a:gd name="connsiteX14" fmla="*/ 2093435 w 3146762"/>
                <a:gd name="connsiteY14" fmla="*/ 643603 h 919571"/>
                <a:gd name="connsiteX15" fmla="*/ 1979093 w 3146762"/>
                <a:gd name="connsiteY15" fmla="*/ 600378 h 919571"/>
                <a:gd name="connsiteX16" fmla="*/ 1901697 w 3146762"/>
                <a:gd name="connsiteY16" fmla="*/ 628323 h 919571"/>
                <a:gd name="connsiteX17" fmla="*/ 1748860 w 3146762"/>
                <a:gd name="connsiteY17" fmla="*/ 671048 h 919571"/>
                <a:gd name="connsiteX18" fmla="*/ 1625581 w 3146762"/>
                <a:gd name="connsiteY18" fmla="*/ 672589 h 919571"/>
                <a:gd name="connsiteX19" fmla="*/ 1508049 w 3146762"/>
                <a:gd name="connsiteY19" fmla="*/ 683229 h 919571"/>
                <a:gd name="connsiteX20" fmla="*/ 1316681 w 3146762"/>
                <a:gd name="connsiteY20" fmla="*/ 657400 h 919571"/>
                <a:gd name="connsiteX21" fmla="*/ 1151516 w 3146762"/>
                <a:gd name="connsiteY21" fmla="*/ 652627 h 919571"/>
                <a:gd name="connsiteX22" fmla="*/ 1134710 w 3146762"/>
                <a:gd name="connsiteY22" fmla="*/ 621006 h 919571"/>
                <a:gd name="connsiteX23" fmla="*/ 1048425 w 3146762"/>
                <a:gd name="connsiteY23" fmla="*/ 537877 h 919571"/>
                <a:gd name="connsiteX24" fmla="*/ 974170 w 3146762"/>
                <a:gd name="connsiteY24" fmla="*/ 465089 h 919571"/>
                <a:gd name="connsiteX25" fmla="*/ 888102 w 3146762"/>
                <a:gd name="connsiteY25" fmla="*/ 422290 h 919571"/>
                <a:gd name="connsiteX26" fmla="*/ 792543 w 3146762"/>
                <a:gd name="connsiteY26" fmla="*/ 381251 h 919571"/>
                <a:gd name="connsiteX27" fmla="*/ 651004 w 3146762"/>
                <a:gd name="connsiteY27" fmla="*/ 319354 h 919571"/>
                <a:gd name="connsiteX28" fmla="*/ 487641 w 3146762"/>
                <a:gd name="connsiteY28" fmla="*/ 231547 h 919571"/>
                <a:gd name="connsiteX29" fmla="*/ 295235 w 3146762"/>
                <a:gd name="connsiteY29" fmla="*/ 143739 h 919571"/>
                <a:gd name="connsiteX30" fmla="*/ 99198 w 3146762"/>
                <a:gd name="connsiteY30" fmla="*/ 41295 h 919571"/>
                <a:gd name="connsiteX31" fmla="*/ 0 w 3146762"/>
                <a:gd name="connsiteY31" fmla="*/ 4040 h 919571"/>
                <a:gd name="connsiteX0" fmla="*/ 3146762 w 3146762"/>
                <a:gd name="connsiteY0" fmla="*/ 839274 h 919571"/>
                <a:gd name="connsiteX1" fmla="*/ 3045397 w 3146762"/>
                <a:gd name="connsiteY1" fmla="*/ 825723 h 919571"/>
                <a:gd name="connsiteX2" fmla="*/ 2982666 w 3146762"/>
                <a:gd name="connsiteY2" fmla="*/ 781293 h 919571"/>
                <a:gd name="connsiteX3" fmla="*/ 2887048 w 3146762"/>
                <a:gd name="connsiteY3" fmla="*/ 814940 h 919571"/>
                <a:gd name="connsiteX4" fmla="*/ 2756912 w 3146762"/>
                <a:gd name="connsiteY4" fmla="*/ 862214 h 919571"/>
                <a:gd name="connsiteX5" fmla="*/ 2655954 w 3146762"/>
                <a:gd name="connsiteY5" fmla="*/ 853115 h 919571"/>
                <a:gd name="connsiteX6" fmla="*/ 2594930 w 3146762"/>
                <a:gd name="connsiteY6" fmla="*/ 876849 h 919571"/>
                <a:gd name="connsiteX7" fmla="*/ 2504863 w 3146762"/>
                <a:gd name="connsiteY7" fmla="*/ 919571 h 919571"/>
                <a:gd name="connsiteX8" fmla="*/ 2408502 w 3146762"/>
                <a:gd name="connsiteY8" fmla="*/ 875764 h 919571"/>
                <a:gd name="connsiteX9" fmla="*/ 2399403 w 3146762"/>
                <a:gd name="connsiteY9" fmla="*/ 816624 h 919571"/>
                <a:gd name="connsiteX10" fmla="*/ 2375041 w 3146762"/>
                <a:gd name="connsiteY10" fmla="*/ 795495 h 919571"/>
                <a:gd name="connsiteX11" fmla="*/ 2340263 w 3146762"/>
                <a:gd name="connsiteY11" fmla="*/ 742519 h 919571"/>
                <a:gd name="connsiteX12" fmla="*/ 2285596 w 3146762"/>
                <a:gd name="connsiteY12" fmla="*/ 696951 h 919571"/>
                <a:gd name="connsiteX13" fmla="*/ 2210175 w 3146762"/>
                <a:gd name="connsiteY13" fmla="*/ 663565 h 919571"/>
                <a:gd name="connsiteX14" fmla="*/ 2093435 w 3146762"/>
                <a:gd name="connsiteY14" fmla="*/ 643603 h 919571"/>
                <a:gd name="connsiteX15" fmla="*/ 1979093 w 3146762"/>
                <a:gd name="connsiteY15" fmla="*/ 600378 h 919571"/>
                <a:gd name="connsiteX16" fmla="*/ 1901697 w 3146762"/>
                <a:gd name="connsiteY16" fmla="*/ 628323 h 919571"/>
                <a:gd name="connsiteX17" fmla="*/ 1748860 w 3146762"/>
                <a:gd name="connsiteY17" fmla="*/ 671048 h 919571"/>
                <a:gd name="connsiteX18" fmla="*/ 1625581 w 3146762"/>
                <a:gd name="connsiteY18" fmla="*/ 672589 h 919571"/>
                <a:gd name="connsiteX19" fmla="*/ 1508049 w 3146762"/>
                <a:gd name="connsiteY19" fmla="*/ 683229 h 919571"/>
                <a:gd name="connsiteX20" fmla="*/ 1316681 w 3146762"/>
                <a:gd name="connsiteY20" fmla="*/ 657400 h 919571"/>
                <a:gd name="connsiteX21" fmla="*/ 1151516 w 3146762"/>
                <a:gd name="connsiteY21" fmla="*/ 652627 h 919571"/>
                <a:gd name="connsiteX22" fmla="*/ 1134710 w 3146762"/>
                <a:gd name="connsiteY22" fmla="*/ 621006 h 919571"/>
                <a:gd name="connsiteX23" fmla="*/ 1048425 w 3146762"/>
                <a:gd name="connsiteY23" fmla="*/ 537877 h 919571"/>
                <a:gd name="connsiteX24" fmla="*/ 974170 w 3146762"/>
                <a:gd name="connsiteY24" fmla="*/ 465089 h 919571"/>
                <a:gd name="connsiteX25" fmla="*/ 888102 w 3146762"/>
                <a:gd name="connsiteY25" fmla="*/ 422290 h 919571"/>
                <a:gd name="connsiteX26" fmla="*/ 745349 w 3146762"/>
                <a:gd name="connsiteY26" fmla="*/ 377592 h 919571"/>
                <a:gd name="connsiteX27" fmla="*/ 651004 w 3146762"/>
                <a:gd name="connsiteY27" fmla="*/ 319354 h 919571"/>
                <a:gd name="connsiteX28" fmla="*/ 487641 w 3146762"/>
                <a:gd name="connsiteY28" fmla="*/ 231547 h 919571"/>
                <a:gd name="connsiteX29" fmla="*/ 295235 w 3146762"/>
                <a:gd name="connsiteY29" fmla="*/ 143739 h 919571"/>
                <a:gd name="connsiteX30" fmla="*/ 99198 w 3146762"/>
                <a:gd name="connsiteY30" fmla="*/ 41295 h 919571"/>
                <a:gd name="connsiteX31" fmla="*/ 0 w 3146762"/>
                <a:gd name="connsiteY31" fmla="*/ 4040 h 919571"/>
                <a:gd name="connsiteX0" fmla="*/ 3146762 w 3146762"/>
                <a:gd name="connsiteY0" fmla="*/ 839274 h 919571"/>
                <a:gd name="connsiteX1" fmla="*/ 3045397 w 3146762"/>
                <a:gd name="connsiteY1" fmla="*/ 825723 h 919571"/>
                <a:gd name="connsiteX2" fmla="*/ 2982666 w 3146762"/>
                <a:gd name="connsiteY2" fmla="*/ 781293 h 919571"/>
                <a:gd name="connsiteX3" fmla="*/ 2887048 w 3146762"/>
                <a:gd name="connsiteY3" fmla="*/ 814940 h 919571"/>
                <a:gd name="connsiteX4" fmla="*/ 2756912 w 3146762"/>
                <a:gd name="connsiteY4" fmla="*/ 862214 h 919571"/>
                <a:gd name="connsiteX5" fmla="*/ 2655954 w 3146762"/>
                <a:gd name="connsiteY5" fmla="*/ 853115 h 919571"/>
                <a:gd name="connsiteX6" fmla="*/ 2594930 w 3146762"/>
                <a:gd name="connsiteY6" fmla="*/ 876849 h 919571"/>
                <a:gd name="connsiteX7" fmla="*/ 2504863 w 3146762"/>
                <a:gd name="connsiteY7" fmla="*/ 919571 h 919571"/>
                <a:gd name="connsiteX8" fmla="*/ 2408502 w 3146762"/>
                <a:gd name="connsiteY8" fmla="*/ 875764 h 919571"/>
                <a:gd name="connsiteX9" fmla="*/ 2399403 w 3146762"/>
                <a:gd name="connsiteY9" fmla="*/ 816624 h 919571"/>
                <a:gd name="connsiteX10" fmla="*/ 2375041 w 3146762"/>
                <a:gd name="connsiteY10" fmla="*/ 795495 h 919571"/>
                <a:gd name="connsiteX11" fmla="*/ 2340263 w 3146762"/>
                <a:gd name="connsiteY11" fmla="*/ 742519 h 919571"/>
                <a:gd name="connsiteX12" fmla="*/ 2285596 w 3146762"/>
                <a:gd name="connsiteY12" fmla="*/ 696951 h 919571"/>
                <a:gd name="connsiteX13" fmla="*/ 2210175 w 3146762"/>
                <a:gd name="connsiteY13" fmla="*/ 663565 h 919571"/>
                <a:gd name="connsiteX14" fmla="*/ 2093435 w 3146762"/>
                <a:gd name="connsiteY14" fmla="*/ 643603 h 919571"/>
                <a:gd name="connsiteX15" fmla="*/ 1979093 w 3146762"/>
                <a:gd name="connsiteY15" fmla="*/ 600378 h 919571"/>
                <a:gd name="connsiteX16" fmla="*/ 1901697 w 3146762"/>
                <a:gd name="connsiteY16" fmla="*/ 628323 h 919571"/>
                <a:gd name="connsiteX17" fmla="*/ 1748860 w 3146762"/>
                <a:gd name="connsiteY17" fmla="*/ 671048 h 919571"/>
                <a:gd name="connsiteX18" fmla="*/ 1625581 w 3146762"/>
                <a:gd name="connsiteY18" fmla="*/ 672589 h 919571"/>
                <a:gd name="connsiteX19" fmla="*/ 1508049 w 3146762"/>
                <a:gd name="connsiteY19" fmla="*/ 683229 h 919571"/>
                <a:gd name="connsiteX20" fmla="*/ 1316681 w 3146762"/>
                <a:gd name="connsiteY20" fmla="*/ 657400 h 919571"/>
                <a:gd name="connsiteX21" fmla="*/ 1151516 w 3146762"/>
                <a:gd name="connsiteY21" fmla="*/ 652627 h 919571"/>
                <a:gd name="connsiteX22" fmla="*/ 1134710 w 3146762"/>
                <a:gd name="connsiteY22" fmla="*/ 621006 h 919571"/>
                <a:gd name="connsiteX23" fmla="*/ 1048425 w 3146762"/>
                <a:gd name="connsiteY23" fmla="*/ 537877 h 919571"/>
                <a:gd name="connsiteX24" fmla="*/ 974170 w 3146762"/>
                <a:gd name="connsiteY24" fmla="*/ 465089 h 919571"/>
                <a:gd name="connsiteX25" fmla="*/ 877211 w 3146762"/>
                <a:gd name="connsiteY25" fmla="*/ 403997 h 919571"/>
                <a:gd name="connsiteX26" fmla="*/ 745349 w 3146762"/>
                <a:gd name="connsiteY26" fmla="*/ 377592 h 919571"/>
                <a:gd name="connsiteX27" fmla="*/ 651004 w 3146762"/>
                <a:gd name="connsiteY27" fmla="*/ 319354 h 919571"/>
                <a:gd name="connsiteX28" fmla="*/ 487641 w 3146762"/>
                <a:gd name="connsiteY28" fmla="*/ 231547 h 919571"/>
                <a:gd name="connsiteX29" fmla="*/ 295235 w 3146762"/>
                <a:gd name="connsiteY29" fmla="*/ 143739 h 919571"/>
                <a:gd name="connsiteX30" fmla="*/ 99198 w 3146762"/>
                <a:gd name="connsiteY30" fmla="*/ 41295 h 919571"/>
                <a:gd name="connsiteX31" fmla="*/ 0 w 3146762"/>
                <a:gd name="connsiteY31" fmla="*/ 4040 h 919571"/>
                <a:gd name="connsiteX0" fmla="*/ 3146762 w 3146762"/>
                <a:gd name="connsiteY0" fmla="*/ 839274 h 919571"/>
                <a:gd name="connsiteX1" fmla="*/ 3045397 w 3146762"/>
                <a:gd name="connsiteY1" fmla="*/ 825723 h 919571"/>
                <a:gd name="connsiteX2" fmla="*/ 2982666 w 3146762"/>
                <a:gd name="connsiteY2" fmla="*/ 781293 h 919571"/>
                <a:gd name="connsiteX3" fmla="*/ 2887048 w 3146762"/>
                <a:gd name="connsiteY3" fmla="*/ 814940 h 919571"/>
                <a:gd name="connsiteX4" fmla="*/ 2756912 w 3146762"/>
                <a:gd name="connsiteY4" fmla="*/ 862214 h 919571"/>
                <a:gd name="connsiteX5" fmla="*/ 2655954 w 3146762"/>
                <a:gd name="connsiteY5" fmla="*/ 853115 h 919571"/>
                <a:gd name="connsiteX6" fmla="*/ 2594930 w 3146762"/>
                <a:gd name="connsiteY6" fmla="*/ 876849 h 919571"/>
                <a:gd name="connsiteX7" fmla="*/ 2504863 w 3146762"/>
                <a:gd name="connsiteY7" fmla="*/ 919571 h 919571"/>
                <a:gd name="connsiteX8" fmla="*/ 2408502 w 3146762"/>
                <a:gd name="connsiteY8" fmla="*/ 875764 h 919571"/>
                <a:gd name="connsiteX9" fmla="*/ 2399403 w 3146762"/>
                <a:gd name="connsiteY9" fmla="*/ 816624 h 919571"/>
                <a:gd name="connsiteX10" fmla="*/ 2375041 w 3146762"/>
                <a:gd name="connsiteY10" fmla="*/ 795495 h 919571"/>
                <a:gd name="connsiteX11" fmla="*/ 2340263 w 3146762"/>
                <a:gd name="connsiteY11" fmla="*/ 742519 h 919571"/>
                <a:gd name="connsiteX12" fmla="*/ 2285596 w 3146762"/>
                <a:gd name="connsiteY12" fmla="*/ 696951 h 919571"/>
                <a:gd name="connsiteX13" fmla="*/ 2210175 w 3146762"/>
                <a:gd name="connsiteY13" fmla="*/ 663565 h 919571"/>
                <a:gd name="connsiteX14" fmla="*/ 2093435 w 3146762"/>
                <a:gd name="connsiteY14" fmla="*/ 643603 h 919571"/>
                <a:gd name="connsiteX15" fmla="*/ 1979093 w 3146762"/>
                <a:gd name="connsiteY15" fmla="*/ 600378 h 919571"/>
                <a:gd name="connsiteX16" fmla="*/ 1901697 w 3146762"/>
                <a:gd name="connsiteY16" fmla="*/ 628323 h 919571"/>
                <a:gd name="connsiteX17" fmla="*/ 1748860 w 3146762"/>
                <a:gd name="connsiteY17" fmla="*/ 671048 h 919571"/>
                <a:gd name="connsiteX18" fmla="*/ 1625581 w 3146762"/>
                <a:gd name="connsiteY18" fmla="*/ 672589 h 919571"/>
                <a:gd name="connsiteX19" fmla="*/ 1508049 w 3146762"/>
                <a:gd name="connsiteY19" fmla="*/ 683229 h 919571"/>
                <a:gd name="connsiteX20" fmla="*/ 1316681 w 3146762"/>
                <a:gd name="connsiteY20" fmla="*/ 657400 h 919571"/>
                <a:gd name="connsiteX21" fmla="*/ 1151516 w 3146762"/>
                <a:gd name="connsiteY21" fmla="*/ 652627 h 919571"/>
                <a:gd name="connsiteX22" fmla="*/ 1134710 w 3146762"/>
                <a:gd name="connsiteY22" fmla="*/ 621006 h 919571"/>
                <a:gd name="connsiteX23" fmla="*/ 1048425 w 3146762"/>
                <a:gd name="connsiteY23" fmla="*/ 537877 h 919571"/>
                <a:gd name="connsiteX24" fmla="*/ 974170 w 3146762"/>
                <a:gd name="connsiteY24" fmla="*/ 465089 h 919571"/>
                <a:gd name="connsiteX25" fmla="*/ 866320 w 3146762"/>
                <a:gd name="connsiteY25" fmla="*/ 411314 h 919571"/>
                <a:gd name="connsiteX26" fmla="*/ 745349 w 3146762"/>
                <a:gd name="connsiteY26" fmla="*/ 377592 h 919571"/>
                <a:gd name="connsiteX27" fmla="*/ 651004 w 3146762"/>
                <a:gd name="connsiteY27" fmla="*/ 319354 h 919571"/>
                <a:gd name="connsiteX28" fmla="*/ 487641 w 3146762"/>
                <a:gd name="connsiteY28" fmla="*/ 231547 h 919571"/>
                <a:gd name="connsiteX29" fmla="*/ 295235 w 3146762"/>
                <a:gd name="connsiteY29" fmla="*/ 143739 h 919571"/>
                <a:gd name="connsiteX30" fmla="*/ 99198 w 3146762"/>
                <a:gd name="connsiteY30" fmla="*/ 41295 h 919571"/>
                <a:gd name="connsiteX31" fmla="*/ 0 w 3146762"/>
                <a:gd name="connsiteY31" fmla="*/ 4040 h 919571"/>
                <a:gd name="connsiteX0" fmla="*/ 3146762 w 3146762"/>
                <a:gd name="connsiteY0" fmla="*/ 839274 h 919571"/>
                <a:gd name="connsiteX1" fmla="*/ 3045397 w 3146762"/>
                <a:gd name="connsiteY1" fmla="*/ 825723 h 919571"/>
                <a:gd name="connsiteX2" fmla="*/ 2982666 w 3146762"/>
                <a:gd name="connsiteY2" fmla="*/ 781293 h 919571"/>
                <a:gd name="connsiteX3" fmla="*/ 2887048 w 3146762"/>
                <a:gd name="connsiteY3" fmla="*/ 814940 h 919571"/>
                <a:gd name="connsiteX4" fmla="*/ 2756912 w 3146762"/>
                <a:gd name="connsiteY4" fmla="*/ 862214 h 919571"/>
                <a:gd name="connsiteX5" fmla="*/ 2655954 w 3146762"/>
                <a:gd name="connsiteY5" fmla="*/ 853115 h 919571"/>
                <a:gd name="connsiteX6" fmla="*/ 2594930 w 3146762"/>
                <a:gd name="connsiteY6" fmla="*/ 876849 h 919571"/>
                <a:gd name="connsiteX7" fmla="*/ 2504863 w 3146762"/>
                <a:gd name="connsiteY7" fmla="*/ 919571 h 919571"/>
                <a:gd name="connsiteX8" fmla="*/ 2408502 w 3146762"/>
                <a:gd name="connsiteY8" fmla="*/ 875764 h 919571"/>
                <a:gd name="connsiteX9" fmla="*/ 2399403 w 3146762"/>
                <a:gd name="connsiteY9" fmla="*/ 816624 h 919571"/>
                <a:gd name="connsiteX10" fmla="*/ 2375041 w 3146762"/>
                <a:gd name="connsiteY10" fmla="*/ 795495 h 919571"/>
                <a:gd name="connsiteX11" fmla="*/ 2340263 w 3146762"/>
                <a:gd name="connsiteY11" fmla="*/ 742519 h 919571"/>
                <a:gd name="connsiteX12" fmla="*/ 2285596 w 3146762"/>
                <a:gd name="connsiteY12" fmla="*/ 696951 h 919571"/>
                <a:gd name="connsiteX13" fmla="*/ 2210175 w 3146762"/>
                <a:gd name="connsiteY13" fmla="*/ 663565 h 919571"/>
                <a:gd name="connsiteX14" fmla="*/ 2093435 w 3146762"/>
                <a:gd name="connsiteY14" fmla="*/ 643603 h 919571"/>
                <a:gd name="connsiteX15" fmla="*/ 1979093 w 3146762"/>
                <a:gd name="connsiteY15" fmla="*/ 600378 h 919571"/>
                <a:gd name="connsiteX16" fmla="*/ 1901697 w 3146762"/>
                <a:gd name="connsiteY16" fmla="*/ 628323 h 919571"/>
                <a:gd name="connsiteX17" fmla="*/ 1748860 w 3146762"/>
                <a:gd name="connsiteY17" fmla="*/ 671048 h 919571"/>
                <a:gd name="connsiteX18" fmla="*/ 1625581 w 3146762"/>
                <a:gd name="connsiteY18" fmla="*/ 672589 h 919571"/>
                <a:gd name="connsiteX19" fmla="*/ 1508049 w 3146762"/>
                <a:gd name="connsiteY19" fmla="*/ 683229 h 919571"/>
                <a:gd name="connsiteX20" fmla="*/ 1316681 w 3146762"/>
                <a:gd name="connsiteY20" fmla="*/ 657400 h 919571"/>
                <a:gd name="connsiteX21" fmla="*/ 1151516 w 3146762"/>
                <a:gd name="connsiteY21" fmla="*/ 652627 h 919571"/>
                <a:gd name="connsiteX22" fmla="*/ 1134710 w 3146762"/>
                <a:gd name="connsiteY22" fmla="*/ 621006 h 919571"/>
                <a:gd name="connsiteX23" fmla="*/ 1026643 w 3146762"/>
                <a:gd name="connsiteY23" fmla="*/ 534218 h 919571"/>
                <a:gd name="connsiteX24" fmla="*/ 974170 w 3146762"/>
                <a:gd name="connsiteY24" fmla="*/ 465089 h 919571"/>
                <a:gd name="connsiteX25" fmla="*/ 866320 w 3146762"/>
                <a:gd name="connsiteY25" fmla="*/ 411314 h 919571"/>
                <a:gd name="connsiteX26" fmla="*/ 745349 w 3146762"/>
                <a:gd name="connsiteY26" fmla="*/ 377592 h 919571"/>
                <a:gd name="connsiteX27" fmla="*/ 651004 w 3146762"/>
                <a:gd name="connsiteY27" fmla="*/ 319354 h 919571"/>
                <a:gd name="connsiteX28" fmla="*/ 487641 w 3146762"/>
                <a:gd name="connsiteY28" fmla="*/ 231547 h 919571"/>
                <a:gd name="connsiteX29" fmla="*/ 295235 w 3146762"/>
                <a:gd name="connsiteY29" fmla="*/ 143739 h 919571"/>
                <a:gd name="connsiteX30" fmla="*/ 99198 w 3146762"/>
                <a:gd name="connsiteY30" fmla="*/ 41295 h 919571"/>
                <a:gd name="connsiteX31" fmla="*/ 0 w 3146762"/>
                <a:gd name="connsiteY31" fmla="*/ 4040 h 919571"/>
                <a:gd name="connsiteX0" fmla="*/ 3146762 w 3146762"/>
                <a:gd name="connsiteY0" fmla="*/ 839274 h 919571"/>
                <a:gd name="connsiteX1" fmla="*/ 3045397 w 3146762"/>
                <a:gd name="connsiteY1" fmla="*/ 825723 h 919571"/>
                <a:gd name="connsiteX2" fmla="*/ 2982666 w 3146762"/>
                <a:gd name="connsiteY2" fmla="*/ 781293 h 919571"/>
                <a:gd name="connsiteX3" fmla="*/ 2887048 w 3146762"/>
                <a:gd name="connsiteY3" fmla="*/ 814940 h 919571"/>
                <a:gd name="connsiteX4" fmla="*/ 2756912 w 3146762"/>
                <a:gd name="connsiteY4" fmla="*/ 862214 h 919571"/>
                <a:gd name="connsiteX5" fmla="*/ 2655954 w 3146762"/>
                <a:gd name="connsiteY5" fmla="*/ 853115 h 919571"/>
                <a:gd name="connsiteX6" fmla="*/ 2594930 w 3146762"/>
                <a:gd name="connsiteY6" fmla="*/ 876849 h 919571"/>
                <a:gd name="connsiteX7" fmla="*/ 2504863 w 3146762"/>
                <a:gd name="connsiteY7" fmla="*/ 919571 h 919571"/>
                <a:gd name="connsiteX8" fmla="*/ 2408502 w 3146762"/>
                <a:gd name="connsiteY8" fmla="*/ 875764 h 919571"/>
                <a:gd name="connsiteX9" fmla="*/ 2399403 w 3146762"/>
                <a:gd name="connsiteY9" fmla="*/ 816624 h 919571"/>
                <a:gd name="connsiteX10" fmla="*/ 2375041 w 3146762"/>
                <a:gd name="connsiteY10" fmla="*/ 795495 h 919571"/>
                <a:gd name="connsiteX11" fmla="*/ 2340263 w 3146762"/>
                <a:gd name="connsiteY11" fmla="*/ 742519 h 919571"/>
                <a:gd name="connsiteX12" fmla="*/ 2285596 w 3146762"/>
                <a:gd name="connsiteY12" fmla="*/ 696951 h 919571"/>
                <a:gd name="connsiteX13" fmla="*/ 2210175 w 3146762"/>
                <a:gd name="connsiteY13" fmla="*/ 663565 h 919571"/>
                <a:gd name="connsiteX14" fmla="*/ 2093435 w 3146762"/>
                <a:gd name="connsiteY14" fmla="*/ 643603 h 919571"/>
                <a:gd name="connsiteX15" fmla="*/ 1979093 w 3146762"/>
                <a:gd name="connsiteY15" fmla="*/ 600378 h 919571"/>
                <a:gd name="connsiteX16" fmla="*/ 1901697 w 3146762"/>
                <a:gd name="connsiteY16" fmla="*/ 628323 h 919571"/>
                <a:gd name="connsiteX17" fmla="*/ 1748860 w 3146762"/>
                <a:gd name="connsiteY17" fmla="*/ 671048 h 919571"/>
                <a:gd name="connsiteX18" fmla="*/ 1625581 w 3146762"/>
                <a:gd name="connsiteY18" fmla="*/ 672589 h 919571"/>
                <a:gd name="connsiteX19" fmla="*/ 1508049 w 3146762"/>
                <a:gd name="connsiteY19" fmla="*/ 683229 h 919571"/>
                <a:gd name="connsiteX20" fmla="*/ 1316681 w 3146762"/>
                <a:gd name="connsiteY20" fmla="*/ 657400 h 919571"/>
                <a:gd name="connsiteX21" fmla="*/ 1151516 w 3146762"/>
                <a:gd name="connsiteY21" fmla="*/ 652627 h 919571"/>
                <a:gd name="connsiteX22" fmla="*/ 1134710 w 3146762"/>
                <a:gd name="connsiteY22" fmla="*/ 621006 h 919571"/>
                <a:gd name="connsiteX23" fmla="*/ 1026643 w 3146762"/>
                <a:gd name="connsiteY23" fmla="*/ 534218 h 919571"/>
                <a:gd name="connsiteX24" fmla="*/ 956018 w 3146762"/>
                <a:gd name="connsiteY24" fmla="*/ 465089 h 919571"/>
                <a:gd name="connsiteX25" fmla="*/ 866320 w 3146762"/>
                <a:gd name="connsiteY25" fmla="*/ 411314 h 919571"/>
                <a:gd name="connsiteX26" fmla="*/ 745349 w 3146762"/>
                <a:gd name="connsiteY26" fmla="*/ 377592 h 919571"/>
                <a:gd name="connsiteX27" fmla="*/ 651004 w 3146762"/>
                <a:gd name="connsiteY27" fmla="*/ 319354 h 919571"/>
                <a:gd name="connsiteX28" fmla="*/ 487641 w 3146762"/>
                <a:gd name="connsiteY28" fmla="*/ 231547 h 919571"/>
                <a:gd name="connsiteX29" fmla="*/ 295235 w 3146762"/>
                <a:gd name="connsiteY29" fmla="*/ 143739 h 919571"/>
                <a:gd name="connsiteX30" fmla="*/ 99198 w 3146762"/>
                <a:gd name="connsiteY30" fmla="*/ 41295 h 919571"/>
                <a:gd name="connsiteX31" fmla="*/ 0 w 3146762"/>
                <a:gd name="connsiteY31" fmla="*/ 4040 h 919571"/>
                <a:gd name="connsiteX0" fmla="*/ 3146762 w 3146762"/>
                <a:gd name="connsiteY0" fmla="*/ 839274 h 919571"/>
                <a:gd name="connsiteX1" fmla="*/ 3045397 w 3146762"/>
                <a:gd name="connsiteY1" fmla="*/ 825723 h 919571"/>
                <a:gd name="connsiteX2" fmla="*/ 2982666 w 3146762"/>
                <a:gd name="connsiteY2" fmla="*/ 781293 h 919571"/>
                <a:gd name="connsiteX3" fmla="*/ 2887048 w 3146762"/>
                <a:gd name="connsiteY3" fmla="*/ 814940 h 919571"/>
                <a:gd name="connsiteX4" fmla="*/ 2756912 w 3146762"/>
                <a:gd name="connsiteY4" fmla="*/ 862214 h 919571"/>
                <a:gd name="connsiteX5" fmla="*/ 2655954 w 3146762"/>
                <a:gd name="connsiteY5" fmla="*/ 853115 h 919571"/>
                <a:gd name="connsiteX6" fmla="*/ 2594930 w 3146762"/>
                <a:gd name="connsiteY6" fmla="*/ 876849 h 919571"/>
                <a:gd name="connsiteX7" fmla="*/ 2504863 w 3146762"/>
                <a:gd name="connsiteY7" fmla="*/ 919571 h 919571"/>
                <a:gd name="connsiteX8" fmla="*/ 2408502 w 3146762"/>
                <a:gd name="connsiteY8" fmla="*/ 875764 h 919571"/>
                <a:gd name="connsiteX9" fmla="*/ 2399403 w 3146762"/>
                <a:gd name="connsiteY9" fmla="*/ 816624 h 919571"/>
                <a:gd name="connsiteX10" fmla="*/ 2375041 w 3146762"/>
                <a:gd name="connsiteY10" fmla="*/ 795495 h 919571"/>
                <a:gd name="connsiteX11" fmla="*/ 2340263 w 3146762"/>
                <a:gd name="connsiteY11" fmla="*/ 742519 h 919571"/>
                <a:gd name="connsiteX12" fmla="*/ 2285596 w 3146762"/>
                <a:gd name="connsiteY12" fmla="*/ 696951 h 919571"/>
                <a:gd name="connsiteX13" fmla="*/ 2210175 w 3146762"/>
                <a:gd name="connsiteY13" fmla="*/ 663565 h 919571"/>
                <a:gd name="connsiteX14" fmla="*/ 2093435 w 3146762"/>
                <a:gd name="connsiteY14" fmla="*/ 643603 h 919571"/>
                <a:gd name="connsiteX15" fmla="*/ 1979093 w 3146762"/>
                <a:gd name="connsiteY15" fmla="*/ 600378 h 919571"/>
                <a:gd name="connsiteX16" fmla="*/ 1901697 w 3146762"/>
                <a:gd name="connsiteY16" fmla="*/ 628323 h 919571"/>
                <a:gd name="connsiteX17" fmla="*/ 1748860 w 3146762"/>
                <a:gd name="connsiteY17" fmla="*/ 671048 h 919571"/>
                <a:gd name="connsiteX18" fmla="*/ 1625581 w 3146762"/>
                <a:gd name="connsiteY18" fmla="*/ 672589 h 919571"/>
                <a:gd name="connsiteX19" fmla="*/ 1508049 w 3146762"/>
                <a:gd name="connsiteY19" fmla="*/ 683229 h 919571"/>
                <a:gd name="connsiteX20" fmla="*/ 1316681 w 3146762"/>
                <a:gd name="connsiteY20" fmla="*/ 657400 h 919571"/>
                <a:gd name="connsiteX21" fmla="*/ 1151516 w 3146762"/>
                <a:gd name="connsiteY21" fmla="*/ 652627 h 919571"/>
                <a:gd name="connsiteX22" fmla="*/ 1109298 w 3146762"/>
                <a:gd name="connsiteY22" fmla="*/ 621006 h 919571"/>
                <a:gd name="connsiteX23" fmla="*/ 1026643 w 3146762"/>
                <a:gd name="connsiteY23" fmla="*/ 534218 h 919571"/>
                <a:gd name="connsiteX24" fmla="*/ 956018 w 3146762"/>
                <a:gd name="connsiteY24" fmla="*/ 465089 h 919571"/>
                <a:gd name="connsiteX25" fmla="*/ 866320 w 3146762"/>
                <a:gd name="connsiteY25" fmla="*/ 411314 h 919571"/>
                <a:gd name="connsiteX26" fmla="*/ 745349 w 3146762"/>
                <a:gd name="connsiteY26" fmla="*/ 377592 h 919571"/>
                <a:gd name="connsiteX27" fmla="*/ 651004 w 3146762"/>
                <a:gd name="connsiteY27" fmla="*/ 319354 h 919571"/>
                <a:gd name="connsiteX28" fmla="*/ 487641 w 3146762"/>
                <a:gd name="connsiteY28" fmla="*/ 231547 h 919571"/>
                <a:gd name="connsiteX29" fmla="*/ 295235 w 3146762"/>
                <a:gd name="connsiteY29" fmla="*/ 143739 h 919571"/>
                <a:gd name="connsiteX30" fmla="*/ 99198 w 3146762"/>
                <a:gd name="connsiteY30" fmla="*/ 41295 h 919571"/>
                <a:gd name="connsiteX31" fmla="*/ 0 w 3146762"/>
                <a:gd name="connsiteY31" fmla="*/ 4040 h 919571"/>
                <a:gd name="connsiteX0" fmla="*/ 3146762 w 3146762"/>
                <a:gd name="connsiteY0" fmla="*/ 839274 h 919571"/>
                <a:gd name="connsiteX1" fmla="*/ 3045397 w 3146762"/>
                <a:gd name="connsiteY1" fmla="*/ 825723 h 919571"/>
                <a:gd name="connsiteX2" fmla="*/ 2982666 w 3146762"/>
                <a:gd name="connsiteY2" fmla="*/ 781293 h 919571"/>
                <a:gd name="connsiteX3" fmla="*/ 2887048 w 3146762"/>
                <a:gd name="connsiteY3" fmla="*/ 814940 h 919571"/>
                <a:gd name="connsiteX4" fmla="*/ 2756912 w 3146762"/>
                <a:gd name="connsiteY4" fmla="*/ 862214 h 919571"/>
                <a:gd name="connsiteX5" fmla="*/ 2655954 w 3146762"/>
                <a:gd name="connsiteY5" fmla="*/ 853115 h 919571"/>
                <a:gd name="connsiteX6" fmla="*/ 2594930 w 3146762"/>
                <a:gd name="connsiteY6" fmla="*/ 876849 h 919571"/>
                <a:gd name="connsiteX7" fmla="*/ 2504863 w 3146762"/>
                <a:gd name="connsiteY7" fmla="*/ 919571 h 919571"/>
                <a:gd name="connsiteX8" fmla="*/ 2408502 w 3146762"/>
                <a:gd name="connsiteY8" fmla="*/ 875764 h 919571"/>
                <a:gd name="connsiteX9" fmla="*/ 2399403 w 3146762"/>
                <a:gd name="connsiteY9" fmla="*/ 816624 h 919571"/>
                <a:gd name="connsiteX10" fmla="*/ 2375041 w 3146762"/>
                <a:gd name="connsiteY10" fmla="*/ 795495 h 919571"/>
                <a:gd name="connsiteX11" fmla="*/ 2340263 w 3146762"/>
                <a:gd name="connsiteY11" fmla="*/ 742519 h 919571"/>
                <a:gd name="connsiteX12" fmla="*/ 2285596 w 3146762"/>
                <a:gd name="connsiteY12" fmla="*/ 696951 h 919571"/>
                <a:gd name="connsiteX13" fmla="*/ 2210175 w 3146762"/>
                <a:gd name="connsiteY13" fmla="*/ 663565 h 919571"/>
                <a:gd name="connsiteX14" fmla="*/ 2093435 w 3146762"/>
                <a:gd name="connsiteY14" fmla="*/ 643603 h 919571"/>
                <a:gd name="connsiteX15" fmla="*/ 1979093 w 3146762"/>
                <a:gd name="connsiteY15" fmla="*/ 600378 h 919571"/>
                <a:gd name="connsiteX16" fmla="*/ 1901697 w 3146762"/>
                <a:gd name="connsiteY16" fmla="*/ 628323 h 919571"/>
                <a:gd name="connsiteX17" fmla="*/ 1748860 w 3146762"/>
                <a:gd name="connsiteY17" fmla="*/ 671048 h 919571"/>
                <a:gd name="connsiteX18" fmla="*/ 1625581 w 3146762"/>
                <a:gd name="connsiteY18" fmla="*/ 672589 h 919571"/>
                <a:gd name="connsiteX19" fmla="*/ 1508049 w 3146762"/>
                <a:gd name="connsiteY19" fmla="*/ 683229 h 919571"/>
                <a:gd name="connsiteX20" fmla="*/ 1313051 w 3146762"/>
                <a:gd name="connsiteY20" fmla="*/ 668376 h 919571"/>
                <a:gd name="connsiteX21" fmla="*/ 1151516 w 3146762"/>
                <a:gd name="connsiteY21" fmla="*/ 652627 h 919571"/>
                <a:gd name="connsiteX22" fmla="*/ 1109298 w 3146762"/>
                <a:gd name="connsiteY22" fmla="*/ 621006 h 919571"/>
                <a:gd name="connsiteX23" fmla="*/ 1026643 w 3146762"/>
                <a:gd name="connsiteY23" fmla="*/ 534218 h 919571"/>
                <a:gd name="connsiteX24" fmla="*/ 956018 w 3146762"/>
                <a:gd name="connsiteY24" fmla="*/ 465089 h 919571"/>
                <a:gd name="connsiteX25" fmla="*/ 866320 w 3146762"/>
                <a:gd name="connsiteY25" fmla="*/ 411314 h 919571"/>
                <a:gd name="connsiteX26" fmla="*/ 745349 w 3146762"/>
                <a:gd name="connsiteY26" fmla="*/ 377592 h 919571"/>
                <a:gd name="connsiteX27" fmla="*/ 651004 w 3146762"/>
                <a:gd name="connsiteY27" fmla="*/ 319354 h 919571"/>
                <a:gd name="connsiteX28" fmla="*/ 487641 w 3146762"/>
                <a:gd name="connsiteY28" fmla="*/ 231547 h 919571"/>
                <a:gd name="connsiteX29" fmla="*/ 295235 w 3146762"/>
                <a:gd name="connsiteY29" fmla="*/ 143739 h 919571"/>
                <a:gd name="connsiteX30" fmla="*/ 99198 w 3146762"/>
                <a:gd name="connsiteY30" fmla="*/ 41295 h 919571"/>
                <a:gd name="connsiteX31" fmla="*/ 0 w 3146762"/>
                <a:gd name="connsiteY31" fmla="*/ 4040 h 919571"/>
                <a:gd name="connsiteX0" fmla="*/ 3146762 w 3146762"/>
                <a:gd name="connsiteY0" fmla="*/ 839274 h 919571"/>
                <a:gd name="connsiteX1" fmla="*/ 3045397 w 3146762"/>
                <a:gd name="connsiteY1" fmla="*/ 825723 h 919571"/>
                <a:gd name="connsiteX2" fmla="*/ 2982666 w 3146762"/>
                <a:gd name="connsiteY2" fmla="*/ 781293 h 919571"/>
                <a:gd name="connsiteX3" fmla="*/ 2887048 w 3146762"/>
                <a:gd name="connsiteY3" fmla="*/ 814940 h 919571"/>
                <a:gd name="connsiteX4" fmla="*/ 2756912 w 3146762"/>
                <a:gd name="connsiteY4" fmla="*/ 862214 h 919571"/>
                <a:gd name="connsiteX5" fmla="*/ 2655954 w 3146762"/>
                <a:gd name="connsiteY5" fmla="*/ 853115 h 919571"/>
                <a:gd name="connsiteX6" fmla="*/ 2594930 w 3146762"/>
                <a:gd name="connsiteY6" fmla="*/ 876849 h 919571"/>
                <a:gd name="connsiteX7" fmla="*/ 2504863 w 3146762"/>
                <a:gd name="connsiteY7" fmla="*/ 919571 h 919571"/>
                <a:gd name="connsiteX8" fmla="*/ 2408502 w 3146762"/>
                <a:gd name="connsiteY8" fmla="*/ 875764 h 919571"/>
                <a:gd name="connsiteX9" fmla="*/ 2399403 w 3146762"/>
                <a:gd name="connsiteY9" fmla="*/ 816624 h 919571"/>
                <a:gd name="connsiteX10" fmla="*/ 2375041 w 3146762"/>
                <a:gd name="connsiteY10" fmla="*/ 795495 h 919571"/>
                <a:gd name="connsiteX11" fmla="*/ 2340263 w 3146762"/>
                <a:gd name="connsiteY11" fmla="*/ 742519 h 919571"/>
                <a:gd name="connsiteX12" fmla="*/ 2285596 w 3146762"/>
                <a:gd name="connsiteY12" fmla="*/ 696951 h 919571"/>
                <a:gd name="connsiteX13" fmla="*/ 2210175 w 3146762"/>
                <a:gd name="connsiteY13" fmla="*/ 663565 h 919571"/>
                <a:gd name="connsiteX14" fmla="*/ 2093435 w 3146762"/>
                <a:gd name="connsiteY14" fmla="*/ 643603 h 919571"/>
                <a:gd name="connsiteX15" fmla="*/ 1979093 w 3146762"/>
                <a:gd name="connsiteY15" fmla="*/ 600378 h 919571"/>
                <a:gd name="connsiteX16" fmla="*/ 1901697 w 3146762"/>
                <a:gd name="connsiteY16" fmla="*/ 628323 h 919571"/>
                <a:gd name="connsiteX17" fmla="*/ 1748860 w 3146762"/>
                <a:gd name="connsiteY17" fmla="*/ 671048 h 919571"/>
                <a:gd name="connsiteX18" fmla="*/ 1625581 w 3146762"/>
                <a:gd name="connsiteY18" fmla="*/ 672589 h 919571"/>
                <a:gd name="connsiteX19" fmla="*/ 1497158 w 3146762"/>
                <a:gd name="connsiteY19" fmla="*/ 694205 h 919571"/>
                <a:gd name="connsiteX20" fmla="*/ 1313051 w 3146762"/>
                <a:gd name="connsiteY20" fmla="*/ 668376 h 919571"/>
                <a:gd name="connsiteX21" fmla="*/ 1151516 w 3146762"/>
                <a:gd name="connsiteY21" fmla="*/ 652627 h 919571"/>
                <a:gd name="connsiteX22" fmla="*/ 1109298 w 3146762"/>
                <a:gd name="connsiteY22" fmla="*/ 621006 h 919571"/>
                <a:gd name="connsiteX23" fmla="*/ 1026643 w 3146762"/>
                <a:gd name="connsiteY23" fmla="*/ 534218 h 919571"/>
                <a:gd name="connsiteX24" fmla="*/ 956018 w 3146762"/>
                <a:gd name="connsiteY24" fmla="*/ 465089 h 919571"/>
                <a:gd name="connsiteX25" fmla="*/ 866320 w 3146762"/>
                <a:gd name="connsiteY25" fmla="*/ 411314 h 919571"/>
                <a:gd name="connsiteX26" fmla="*/ 745349 w 3146762"/>
                <a:gd name="connsiteY26" fmla="*/ 377592 h 919571"/>
                <a:gd name="connsiteX27" fmla="*/ 651004 w 3146762"/>
                <a:gd name="connsiteY27" fmla="*/ 319354 h 919571"/>
                <a:gd name="connsiteX28" fmla="*/ 487641 w 3146762"/>
                <a:gd name="connsiteY28" fmla="*/ 231547 h 919571"/>
                <a:gd name="connsiteX29" fmla="*/ 295235 w 3146762"/>
                <a:gd name="connsiteY29" fmla="*/ 143739 h 919571"/>
                <a:gd name="connsiteX30" fmla="*/ 99198 w 3146762"/>
                <a:gd name="connsiteY30" fmla="*/ 41295 h 919571"/>
                <a:gd name="connsiteX31" fmla="*/ 0 w 3146762"/>
                <a:gd name="connsiteY31" fmla="*/ 4040 h 919571"/>
                <a:gd name="connsiteX0" fmla="*/ 3146762 w 3146762"/>
                <a:gd name="connsiteY0" fmla="*/ 839274 h 919571"/>
                <a:gd name="connsiteX1" fmla="*/ 3045397 w 3146762"/>
                <a:gd name="connsiteY1" fmla="*/ 825723 h 919571"/>
                <a:gd name="connsiteX2" fmla="*/ 2982666 w 3146762"/>
                <a:gd name="connsiteY2" fmla="*/ 781293 h 919571"/>
                <a:gd name="connsiteX3" fmla="*/ 2887048 w 3146762"/>
                <a:gd name="connsiteY3" fmla="*/ 814940 h 919571"/>
                <a:gd name="connsiteX4" fmla="*/ 2756912 w 3146762"/>
                <a:gd name="connsiteY4" fmla="*/ 862214 h 919571"/>
                <a:gd name="connsiteX5" fmla="*/ 2655954 w 3146762"/>
                <a:gd name="connsiteY5" fmla="*/ 853115 h 919571"/>
                <a:gd name="connsiteX6" fmla="*/ 2594930 w 3146762"/>
                <a:gd name="connsiteY6" fmla="*/ 876849 h 919571"/>
                <a:gd name="connsiteX7" fmla="*/ 2504863 w 3146762"/>
                <a:gd name="connsiteY7" fmla="*/ 919571 h 919571"/>
                <a:gd name="connsiteX8" fmla="*/ 2408502 w 3146762"/>
                <a:gd name="connsiteY8" fmla="*/ 875764 h 919571"/>
                <a:gd name="connsiteX9" fmla="*/ 2399403 w 3146762"/>
                <a:gd name="connsiteY9" fmla="*/ 816624 h 919571"/>
                <a:gd name="connsiteX10" fmla="*/ 2375041 w 3146762"/>
                <a:gd name="connsiteY10" fmla="*/ 795495 h 919571"/>
                <a:gd name="connsiteX11" fmla="*/ 2340263 w 3146762"/>
                <a:gd name="connsiteY11" fmla="*/ 742519 h 919571"/>
                <a:gd name="connsiteX12" fmla="*/ 2285596 w 3146762"/>
                <a:gd name="connsiteY12" fmla="*/ 696951 h 919571"/>
                <a:gd name="connsiteX13" fmla="*/ 2210175 w 3146762"/>
                <a:gd name="connsiteY13" fmla="*/ 663565 h 919571"/>
                <a:gd name="connsiteX14" fmla="*/ 2093435 w 3146762"/>
                <a:gd name="connsiteY14" fmla="*/ 643603 h 919571"/>
                <a:gd name="connsiteX15" fmla="*/ 1979093 w 3146762"/>
                <a:gd name="connsiteY15" fmla="*/ 600378 h 919571"/>
                <a:gd name="connsiteX16" fmla="*/ 1901697 w 3146762"/>
                <a:gd name="connsiteY16" fmla="*/ 628323 h 919571"/>
                <a:gd name="connsiteX17" fmla="*/ 1748860 w 3146762"/>
                <a:gd name="connsiteY17" fmla="*/ 671048 h 919571"/>
                <a:gd name="connsiteX18" fmla="*/ 1625582 w 3146762"/>
                <a:gd name="connsiteY18" fmla="*/ 683565 h 919571"/>
                <a:gd name="connsiteX19" fmla="*/ 1497158 w 3146762"/>
                <a:gd name="connsiteY19" fmla="*/ 694205 h 919571"/>
                <a:gd name="connsiteX20" fmla="*/ 1313051 w 3146762"/>
                <a:gd name="connsiteY20" fmla="*/ 668376 h 919571"/>
                <a:gd name="connsiteX21" fmla="*/ 1151516 w 3146762"/>
                <a:gd name="connsiteY21" fmla="*/ 652627 h 919571"/>
                <a:gd name="connsiteX22" fmla="*/ 1109298 w 3146762"/>
                <a:gd name="connsiteY22" fmla="*/ 621006 h 919571"/>
                <a:gd name="connsiteX23" fmla="*/ 1026643 w 3146762"/>
                <a:gd name="connsiteY23" fmla="*/ 534218 h 919571"/>
                <a:gd name="connsiteX24" fmla="*/ 956018 w 3146762"/>
                <a:gd name="connsiteY24" fmla="*/ 465089 h 919571"/>
                <a:gd name="connsiteX25" fmla="*/ 866320 w 3146762"/>
                <a:gd name="connsiteY25" fmla="*/ 411314 h 919571"/>
                <a:gd name="connsiteX26" fmla="*/ 745349 w 3146762"/>
                <a:gd name="connsiteY26" fmla="*/ 377592 h 919571"/>
                <a:gd name="connsiteX27" fmla="*/ 651004 w 3146762"/>
                <a:gd name="connsiteY27" fmla="*/ 319354 h 919571"/>
                <a:gd name="connsiteX28" fmla="*/ 487641 w 3146762"/>
                <a:gd name="connsiteY28" fmla="*/ 231547 h 919571"/>
                <a:gd name="connsiteX29" fmla="*/ 295235 w 3146762"/>
                <a:gd name="connsiteY29" fmla="*/ 143739 h 919571"/>
                <a:gd name="connsiteX30" fmla="*/ 99198 w 3146762"/>
                <a:gd name="connsiteY30" fmla="*/ 41295 h 919571"/>
                <a:gd name="connsiteX31" fmla="*/ 0 w 3146762"/>
                <a:gd name="connsiteY31" fmla="*/ 4040 h 919571"/>
                <a:gd name="connsiteX0" fmla="*/ 3146762 w 3146762"/>
                <a:gd name="connsiteY0" fmla="*/ 839274 h 919571"/>
                <a:gd name="connsiteX1" fmla="*/ 3045397 w 3146762"/>
                <a:gd name="connsiteY1" fmla="*/ 825723 h 919571"/>
                <a:gd name="connsiteX2" fmla="*/ 2982666 w 3146762"/>
                <a:gd name="connsiteY2" fmla="*/ 781293 h 919571"/>
                <a:gd name="connsiteX3" fmla="*/ 2887048 w 3146762"/>
                <a:gd name="connsiteY3" fmla="*/ 814940 h 919571"/>
                <a:gd name="connsiteX4" fmla="*/ 2756912 w 3146762"/>
                <a:gd name="connsiteY4" fmla="*/ 862214 h 919571"/>
                <a:gd name="connsiteX5" fmla="*/ 2655954 w 3146762"/>
                <a:gd name="connsiteY5" fmla="*/ 853115 h 919571"/>
                <a:gd name="connsiteX6" fmla="*/ 2594930 w 3146762"/>
                <a:gd name="connsiteY6" fmla="*/ 876849 h 919571"/>
                <a:gd name="connsiteX7" fmla="*/ 2504863 w 3146762"/>
                <a:gd name="connsiteY7" fmla="*/ 919571 h 919571"/>
                <a:gd name="connsiteX8" fmla="*/ 2408502 w 3146762"/>
                <a:gd name="connsiteY8" fmla="*/ 875764 h 919571"/>
                <a:gd name="connsiteX9" fmla="*/ 2399403 w 3146762"/>
                <a:gd name="connsiteY9" fmla="*/ 816624 h 919571"/>
                <a:gd name="connsiteX10" fmla="*/ 2375041 w 3146762"/>
                <a:gd name="connsiteY10" fmla="*/ 795495 h 919571"/>
                <a:gd name="connsiteX11" fmla="*/ 2340263 w 3146762"/>
                <a:gd name="connsiteY11" fmla="*/ 742519 h 919571"/>
                <a:gd name="connsiteX12" fmla="*/ 2285596 w 3146762"/>
                <a:gd name="connsiteY12" fmla="*/ 696951 h 919571"/>
                <a:gd name="connsiteX13" fmla="*/ 2210175 w 3146762"/>
                <a:gd name="connsiteY13" fmla="*/ 663565 h 919571"/>
                <a:gd name="connsiteX14" fmla="*/ 2093435 w 3146762"/>
                <a:gd name="connsiteY14" fmla="*/ 643603 h 919571"/>
                <a:gd name="connsiteX15" fmla="*/ 1979093 w 3146762"/>
                <a:gd name="connsiteY15" fmla="*/ 600378 h 919571"/>
                <a:gd name="connsiteX16" fmla="*/ 1901697 w 3146762"/>
                <a:gd name="connsiteY16" fmla="*/ 628323 h 919571"/>
                <a:gd name="connsiteX17" fmla="*/ 1752490 w 3146762"/>
                <a:gd name="connsiteY17" fmla="*/ 693000 h 919571"/>
                <a:gd name="connsiteX18" fmla="*/ 1625582 w 3146762"/>
                <a:gd name="connsiteY18" fmla="*/ 683565 h 919571"/>
                <a:gd name="connsiteX19" fmla="*/ 1497158 w 3146762"/>
                <a:gd name="connsiteY19" fmla="*/ 694205 h 919571"/>
                <a:gd name="connsiteX20" fmla="*/ 1313051 w 3146762"/>
                <a:gd name="connsiteY20" fmla="*/ 668376 h 919571"/>
                <a:gd name="connsiteX21" fmla="*/ 1151516 w 3146762"/>
                <a:gd name="connsiteY21" fmla="*/ 652627 h 919571"/>
                <a:gd name="connsiteX22" fmla="*/ 1109298 w 3146762"/>
                <a:gd name="connsiteY22" fmla="*/ 621006 h 919571"/>
                <a:gd name="connsiteX23" fmla="*/ 1026643 w 3146762"/>
                <a:gd name="connsiteY23" fmla="*/ 534218 h 919571"/>
                <a:gd name="connsiteX24" fmla="*/ 956018 w 3146762"/>
                <a:gd name="connsiteY24" fmla="*/ 465089 h 919571"/>
                <a:gd name="connsiteX25" fmla="*/ 866320 w 3146762"/>
                <a:gd name="connsiteY25" fmla="*/ 411314 h 919571"/>
                <a:gd name="connsiteX26" fmla="*/ 745349 w 3146762"/>
                <a:gd name="connsiteY26" fmla="*/ 377592 h 919571"/>
                <a:gd name="connsiteX27" fmla="*/ 651004 w 3146762"/>
                <a:gd name="connsiteY27" fmla="*/ 319354 h 919571"/>
                <a:gd name="connsiteX28" fmla="*/ 487641 w 3146762"/>
                <a:gd name="connsiteY28" fmla="*/ 231547 h 919571"/>
                <a:gd name="connsiteX29" fmla="*/ 295235 w 3146762"/>
                <a:gd name="connsiteY29" fmla="*/ 143739 h 919571"/>
                <a:gd name="connsiteX30" fmla="*/ 99198 w 3146762"/>
                <a:gd name="connsiteY30" fmla="*/ 41295 h 919571"/>
                <a:gd name="connsiteX31" fmla="*/ 0 w 3146762"/>
                <a:gd name="connsiteY31" fmla="*/ 4040 h 919571"/>
                <a:gd name="connsiteX0" fmla="*/ 3146762 w 3146762"/>
                <a:gd name="connsiteY0" fmla="*/ 839274 h 919571"/>
                <a:gd name="connsiteX1" fmla="*/ 3045397 w 3146762"/>
                <a:gd name="connsiteY1" fmla="*/ 825723 h 919571"/>
                <a:gd name="connsiteX2" fmla="*/ 2982666 w 3146762"/>
                <a:gd name="connsiteY2" fmla="*/ 781293 h 919571"/>
                <a:gd name="connsiteX3" fmla="*/ 2887048 w 3146762"/>
                <a:gd name="connsiteY3" fmla="*/ 814940 h 919571"/>
                <a:gd name="connsiteX4" fmla="*/ 2756912 w 3146762"/>
                <a:gd name="connsiteY4" fmla="*/ 862214 h 919571"/>
                <a:gd name="connsiteX5" fmla="*/ 2655954 w 3146762"/>
                <a:gd name="connsiteY5" fmla="*/ 853115 h 919571"/>
                <a:gd name="connsiteX6" fmla="*/ 2594930 w 3146762"/>
                <a:gd name="connsiteY6" fmla="*/ 876849 h 919571"/>
                <a:gd name="connsiteX7" fmla="*/ 2504863 w 3146762"/>
                <a:gd name="connsiteY7" fmla="*/ 919571 h 919571"/>
                <a:gd name="connsiteX8" fmla="*/ 2408502 w 3146762"/>
                <a:gd name="connsiteY8" fmla="*/ 875764 h 919571"/>
                <a:gd name="connsiteX9" fmla="*/ 2399403 w 3146762"/>
                <a:gd name="connsiteY9" fmla="*/ 816624 h 919571"/>
                <a:gd name="connsiteX10" fmla="*/ 2375041 w 3146762"/>
                <a:gd name="connsiteY10" fmla="*/ 795495 h 919571"/>
                <a:gd name="connsiteX11" fmla="*/ 2340263 w 3146762"/>
                <a:gd name="connsiteY11" fmla="*/ 742519 h 919571"/>
                <a:gd name="connsiteX12" fmla="*/ 2285596 w 3146762"/>
                <a:gd name="connsiteY12" fmla="*/ 696951 h 919571"/>
                <a:gd name="connsiteX13" fmla="*/ 2210175 w 3146762"/>
                <a:gd name="connsiteY13" fmla="*/ 663565 h 919571"/>
                <a:gd name="connsiteX14" fmla="*/ 2093435 w 3146762"/>
                <a:gd name="connsiteY14" fmla="*/ 643603 h 919571"/>
                <a:gd name="connsiteX15" fmla="*/ 1979093 w 3146762"/>
                <a:gd name="connsiteY15" fmla="*/ 600378 h 919571"/>
                <a:gd name="connsiteX16" fmla="*/ 1901697 w 3146762"/>
                <a:gd name="connsiteY16" fmla="*/ 628323 h 919571"/>
                <a:gd name="connsiteX17" fmla="*/ 1770642 w 3146762"/>
                <a:gd name="connsiteY17" fmla="*/ 678365 h 919571"/>
                <a:gd name="connsiteX18" fmla="*/ 1625582 w 3146762"/>
                <a:gd name="connsiteY18" fmla="*/ 683565 h 919571"/>
                <a:gd name="connsiteX19" fmla="*/ 1497158 w 3146762"/>
                <a:gd name="connsiteY19" fmla="*/ 694205 h 919571"/>
                <a:gd name="connsiteX20" fmla="*/ 1313051 w 3146762"/>
                <a:gd name="connsiteY20" fmla="*/ 668376 h 919571"/>
                <a:gd name="connsiteX21" fmla="*/ 1151516 w 3146762"/>
                <a:gd name="connsiteY21" fmla="*/ 652627 h 919571"/>
                <a:gd name="connsiteX22" fmla="*/ 1109298 w 3146762"/>
                <a:gd name="connsiteY22" fmla="*/ 621006 h 919571"/>
                <a:gd name="connsiteX23" fmla="*/ 1026643 w 3146762"/>
                <a:gd name="connsiteY23" fmla="*/ 534218 h 919571"/>
                <a:gd name="connsiteX24" fmla="*/ 956018 w 3146762"/>
                <a:gd name="connsiteY24" fmla="*/ 465089 h 919571"/>
                <a:gd name="connsiteX25" fmla="*/ 866320 w 3146762"/>
                <a:gd name="connsiteY25" fmla="*/ 411314 h 919571"/>
                <a:gd name="connsiteX26" fmla="*/ 745349 w 3146762"/>
                <a:gd name="connsiteY26" fmla="*/ 377592 h 919571"/>
                <a:gd name="connsiteX27" fmla="*/ 651004 w 3146762"/>
                <a:gd name="connsiteY27" fmla="*/ 319354 h 919571"/>
                <a:gd name="connsiteX28" fmla="*/ 487641 w 3146762"/>
                <a:gd name="connsiteY28" fmla="*/ 231547 h 919571"/>
                <a:gd name="connsiteX29" fmla="*/ 295235 w 3146762"/>
                <a:gd name="connsiteY29" fmla="*/ 143739 h 919571"/>
                <a:gd name="connsiteX30" fmla="*/ 99198 w 3146762"/>
                <a:gd name="connsiteY30" fmla="*/ 41295 h 919571"/>
                <a:gd name="connsiteX31" fmla="*/ 0 w 3146762"/>
                <a:gd name="connsiteY31" fmla="*/ 4040 h 919571"/>
                <a:gd name="connsiteX0" fmla="*/ 3146762 w 3146762"/>
                <a:gd name="connsiteY0" fmla="*/ 839274 h 919571"/>
                <a:gd name="connsiteX1" fmla="*/ 3045397 w 3146762"/>
                <a:gd name="connsiteY1" fmla="*/ 825723 h 919571"/>
                <a:gd name="connsiteX2" fmla="*/ 2982666 w 3146762"/>
                <a:gd name="connsiteY2" fmla="*/ 781293 h 919571"/>
                <a:gd name="connsiteX3" fmla="*/ 2887048 w 3146762"/>
                <a:gd name="connsiteY3" fmla="*/ 814940 h 919571"/>
                <a:gd name="connsiteX4" fmla="*/ 2756912 w 3146762"/>
                <a:gd name="connsiteY4" fmla="*/ 862214 h 919571"/>
                <a:gd name="connsiteX5" fmla="*/ 2655954 w 3146762"/>
                <a:gd name="connsiteY5" fmla="*/ 853115 h 919571"/>
                <a:gd name="connsiteX6" fmla="*/ 2594930 w 3146762"/>
                <a:gd name="connsiteY6" fmla="*/ 876849 h 919571"/>
                <a:gd name="connsiteX7" fmla="*/ 2504863 w 3146762"/>
                <a:gd name="connsiteY7" fmla="*/ 919571 h 919571"/>
                <a:gd name="connsiteX8" fmla="*/ 2408502 w 3146762"/>
                <a:gd name="connsiteY8" fmla="*/ 875764 h 919571"/>
                <a:gd name="connsiteX9" fmla="*/ 2399403 w 3146762"/>
                <a:gd name="connsiteY9" fmla="*/ 816624 h 919571"/>
                <a:gd name="connsiteX10" fmla="*/ 2375041 w 3146762"/>
                <a:gd name="connsiteY10" fmla="*/ 795495 h 919571"/>
                <a:gd name="connsiteX11" fmla="*/ 2340263 w 3146762"/>
                <a:gd name="connsiteY11" fmla="*/ 742519 h 919571"/>
                <a:gd name="connsiteX12" fmla="*/ 2285596 w 3146762"/>
                <a:gd name="connsiteY12" fmla="*/ 696951 h 919571"/>
                <a:gd name="connsiteX13" fmla="*/ 2210175 w 3146762"/>
                <a:gd name="connsiteY13" fmla="*/ 663565 h 919571"/>
                <a:gd name="connsiteX14" fmla="*/ 2093435 w 3146762"/>
                <a:gd name="connsiteY14" fmla="*/ 643603 h 919571"/>
                <a:gd name="connsiteX15" fmla="*/ 1979093 w 3146762"/>
                <a:gd name="connsiteY15" fmla="*/ 600378 h 919571"/>
                <a:gd name="connsiteX16" fmla="*/ 1908957 w 3146762"/>
                <a:gd name="connsiteY16" fmla="*/ 646616 h 919571"/>
                <a:gd name="connsiteX17" fmla="*/ 1770642 w 3146762"/>
                <a:gd name="connsiteY17" fmla="*/ 678365 h 919571"/>
                <a:gd name="connsiteX18" fmla="*/ 1625582 w 3146762"/>
                <a:gd name="connsiteY18" fmla="*/ 683565 h 919571"/>
                <a:gd name="connsiteX19" fmla="*/ 1497158 w 3146762"/>
                <a:gd name="connsiteY19" fmla="*/ 694205 h 919571"/>
                <a:gd name="connsiteX20" fmla="*/ 1313051 w 3146762"/>
                <a:gd name="connsiteY20" fmla="*/ 668376 h 919571"/>
                <a:gd name="connsiteX21" fmla="*/ 1151516 w 3146762"/>
                <a:gd name="connsiteY21" fmla="*/ 652627 h 919571"/>
                <a:gd name="connsiteX22" fmla="*/ 1109298 w 3146762"/>
                <a:gd name="connsiteY22" fmla="*/ 621006 h 919571"/>
                <a:gd name="connsiteX23" fmla="*/ 1026643 w 3146762"/>
                <a:gd name="connsiteY23" fmla="*/ 534218 h 919571"/>
                <a:gd name="connsiteX24" fmla="*/ 956018 w 3146762"/>
                <a:gd name="connsiteY24" fmla="*/ 465089 h 919571"/>
                <a:gd name="connsiteX25" fmla="*/ 866320 w 3146762"/>
                <a:gd name="connsiteY25" fmla="*/ 411314 h 919571"/>
                <a:gd name="connsiteX26" fmla="*/ 745349 w 3146762"/>
                <a:gd name="connsiteY26" fmla="*/ 377592 h 919571"/>
                <a:gd name="connsiteX27" fmla="*/ 651004 w 3146762"/>
                <a:gd name="connsiteY27" fmla="*/ 319354 h 919571"/>
                <a:gd name="connsiteX28" fmla="*/ 487641 w 3146762"/>
                <a:gd name="connsiteY28" fmla="*/ 231547 h 919571"/>
                <a:gd name="connsiteX29" fmla="*/ 295235 w 3146762"/>
                <a:gd name="connsiteY29" fmla="*/ 143739 h 919571"/>
                <a:gd name="connsiteX30" fmla="*/ 99198 w 3146762"/>
                <a:gd name="connsiteY30" fmla="*/ 41295 h 919571"/>
                <a:gd name="connsiteX31" fmla="*/ 0 w 3146762"/>
                <a:gd name="connsiteY31" fmla="*/ 4040 h 919571"/>
                <a:gd name="connsiteX0" fmla="*/ 3146762 w 3146762"/>
                <a:gd name="connsiteY0" fmla="*/ 839274 h 919571"/>
                <a:gd name="connsiteX1" fmla="*/ 3045397 w 3146762"/>
                <a:gd name="connsiteY1" fmla="*/ 825723 h 919571"/>
                <a:gd name="connsiteX2" fmla="*/ 2982666 w 3146762"/>
                <a:gd name="connsiteY2" fmla="*/ 781293 h 919571"/>
                <a:gd name="connsiteX3" fmla="*/ 2887048 w 3146762"/>
                <a:gd name="connsiteY3" fmla="*/ 814940 h 919571"/>
                <a:gd name="connsiteX4" fmla="*/ 2756912 w 3146762"/>
                <a:gd name="connsiteY4" fmla="*/ 862214 h 919571"/>
                <a:gd name="connsiteX5" fmla="*/ 2655954 w 3146762"/>
                <a:gd name="connsiteY5" fmla="*/ 853115 h 919571"/>
                <a:gd name="connsiteX6" fmla="*/ 2594930 w 3146762"/>
                <a:gd name="connsiteY6" fmla="*/ 876849 h 919571"/>
                <a:gd name="connsiteX7" fmla="*/ 2504863 w 3146762"/>
                <a:gd name="connsiteY7" fmla="*/ 919571 h 919571"/>
                <a:gd name="connsiteX8" fmla="*/ 2408502 w 3146762"/>
                <a:gd name="connsiteY8" fmla="*/ 875764 h 919571"/>
                <a:gd name="connsiteX9" fmla="*/ 2399403 w 3146762"/>
                <a:gd name="connsiteY9" fmla="*/ 816624 h 919571"/>
                <a:gd name="connsiteX10" fmla="*/ 2375041 w 3146762"/>
                <a:gd name="connsiteY10" fmla="*/ 795495 h 919571"/>
                <a:gd name="connsiteX11" fmla="*/ 2340263 w 3146762"/>
                <a:gd name="connsiteY11" fmla="*/ 742519 h 919571"/>
                <a:gd name="connsiteX12" fmla="*/ 2285596 w 3146762"/>
                <a:gd name="connsiteY12" fmla="*/ 696951 h 919571"/>
                <a:gd name="connsiteX13" fmla="*/ 2210175 w 3146762"/>
                <a:gd name="connsiteY13" fmla="*/ 663565 h 919571"/>
                <a:gd name="connsiteX14" fmla="*/ 2093435 w 3146762"/>
                <a:gd name="connsiteY14" fmla="*/ 643603 h 919571"/>
                <a:gd name="connsiteX15" fmla="*/ 1993614 w 3146762"/>
                <a:gd name="connsiteY15" fmla="*/ 611353 h 919571"/>
                <a:gd name="connsiteX16" fmla="*/ 1908957 w 3146762"/>
                <a:gd name="connsiteY16" fmla="*/ 646616 h 919571"/>
                <a:gd name="connsiteX17" fmla="*/ 1770642 w 3146762"/>
                <a:gd name="connsiteY17" fmla="*/ 678365 h 919571"/>
                <a:gd name="connsiteX18" fmla="*/ 1625582 w 3146762"/>
                <a:gd name="connsiteY18" fmla="*/ 683565 h 919571"/>
                <a:gd name="connsiteX19" fmla="*/ 1497158 w 3146762"/>
                <a:gd name="connsiteY19" fmla="*/ 694205 h 919571"/>
                <a:gd name="connsiteX20" fmla="*/ 1313051 w 3146762"/>
                <a:gd name="connsiteY20" fmla="*/ 668376 h 919571"/>
                <a:gd name="connsiteX21" fmla="*/ 1151516 w 3146762"/>
                <a:gd name="connsiteY21" fmla="*/ 652627 h 919571"/>
                <a:gd name="connsiteX22" fmla="*/ 1109298 w 3146762"/>
                <a:gd name="connsiteY22" fmla="*/ 621006 h 919571"/>
                <a:gd name="connsiteX23" fmla="*/ 1026643 w 3146762"/>
                <a:gd name="connsiteY23" fmla="*/ 534218 h 919571"/>
                <a:gd name="connsiteX24" fmla="*/ 956018 w 3146762"/>
                <a:gd name="connsiteY24" fmla="*/ 465089 h 919571"/>
                <a:gd name="connsiteX25" fmla="*/ 866320 w 3146762"/>
                <a:gd name="connsiteY25" fmla="*/ 411314 h 919571"/>
                <a:gd name="connsiteX26" fmla="*/ 745349 w 3146762"/>
                <a:gd name="connsiteY26" fmla="*/ 377592 h 919571"/>
                <a:gd name="connsiteX27" fmla="*/ 651004 w 3146762"/>
                <a:gd name="connsiteY27" fmla="*/ 319354 h 919571"/>
                <a:gd name="connsiteX28" fmla="*/ 487641 w 3146762"/>
                <a:gd name="connsiteY28" fmla="*/ 231547 h 919571"/>
                <a:gd name="connsiteX29" fmla="*/ 295235 w 3146762"/>
                <a:gd name="connsiteY29" fmla="*/ 143739 h 919571"/>
                <a:gd name="connsiteX30" fmla="*/ 99198 w 3146762"/>
                <a:gd name="connsiteY30" fmla="*/ 41295 h 919571"/>
                <a:gd name="connsiteX31" fmla="*/ 0 w 3146762"/>
                <a:gd name="connsiteY31" fmla="*/ 4040 h 919571"/>
                <a:gd name="connsiteX0" fmla="*/ 3146762 w 3146762"/>
                <a:gd name="connsiteY0" fmla="*/ 839274 h 919571"/>
                <a:gd name="connsiteX1" fmla="*/ 3045397 w 3146762"/>
                <a:gd name="connsiteY1" fmla="*/ 825723 h 919571"/>
                <a:gd name="connsiteX2" fmla="*/ 2982666 w 3146762"/>
                <a:gd name="connsiteY2" fmla="*/ 781293 h 919571"/>
                <a:gd name="connsiteX3" fmla="*/ 2887048 w 3146762"/>
                <a:gd name="connsiteY3" fmla="*/ 814940 h 919571"/>
                <a:gd name="connsiteX4" fmla="*/ 2756912 w 3146762"/>
                <a:gd name="connsiteY4" fmla="*/ 862214 h 919571"/>
                <a:gd name="connsiteX5" fmla="*/ 2655954 w 3146762"/>
                <a:gd name="connsiteY5" fmla="*/ 853115 h 919571"/>
                <a:gd name="connsiteX6" fmla="*/ 2594930 w 3146762"/>
                <a:gd name="connsiteY6" fmla="*/ 876849 h 919571"/>
                <a:gd name="connsiteX7" fmla="*/ 2504863 w 3146762"/>
                <a:gd name="connsiteY7" fmla="*/ 919571 h 919571"/>
                <a:gd name="connsiteX8" fmla="*/ 2408502 w 3146762"/>
                <a:gd name="connsiteY8" fmla="*/ 875764 h 919571"/>
                <a:gd name="connsiteX9" fmla="*/ 2399403 w 3146762"/>
                <a:gd name="connsiteY9" fmla="*/ 816624 h 919571"/>
                <a:gd name="connsiteX10" fmla="*/ 2375041 w 3146762"/>
                <a:gd name="connsiteY10" fmla="*/ 795495 h 919571"/>
                <a:gd name="connsiteX11" fmla="*/ 2340263 w 3146762"/>
                <a:gd name="connsiteY11" fmla="*/ 742519 h 919571"/>
                <a:gd name="connsiteX12" fmla="*/ 2285596 w 3146762"/>
                <a:gd name="connsiteY12" fmla="*/ 696951 h 919571"/>
                <a:gd name="connsiteX13" fmla="*/ 2210175 w 3146762"/>
                <a:gd name="connsiteY13" fmla="*/ 663565 h 919571"/>
                <a:gd name="connsiteX14" fmla="*/ 2093435 w 3146762"/>
                <a:gd name="connsiteY14" fmla="*/ 643603 h 919571"/>
                <a:gd name="connsiteX15" fmla="*/ 1982723 w 3146762"/>
                <a:gd name="connsiteY15" fmla="*/ 604037 h 919571"/>
                <a:gd name="connsiteX16" fmla="*/ 1908957 w 3146762"/>
                <a:gd name="connsiteY16" fmla="*/ 646616 h 919571"/>
                <a:gd name="connsiteX17" fmla="*/ 1770642 w 3146762"/>
                <a:gd name="connsiteY17" fmla="*/ 678365 h 919571"/>
                <a:gd name="connsiteX18" fmla="*/ 1625582 w 3146762"/>
                <a:gd name="connsiteY18" fmla="*/ 683565 h 919571"/>
                <a:gd name="connsiteX19" fmla="*/ 1497158 w 3146762"/>
                <a:gd name="connsiteY19" fmla="*/ 694205 h 919571"/>
                <a:gd name="connsiteX20" fmla="*/ 1313051 w 3146762"/>
                <a:gd name="connsiteY20" fmla="*/ 668376 h 919571"/>
                <a:gd name="connsiteX21" fmla="*/ 1151516 w 3146762"/>
                <a:gd name="connsiteY21" fmla="*/ 652627 h 919571"/>
                <a:gd name="connsiteX22" fmla="*/ 1109298 w 3146762"/>
                <a:gd name="connsiteY22" fmla="*/ 621006 h 919571"/>
                <a:gd name="connsiteX23" fmla="*/ 1026643 w 3146762"/>
                <a:gd name="connsiteY23" fmla="*/ 534218 h 919571"/>
                <a:gd name="connsiteX24" fmla="*/ 956018 w 3146762"/>
                <a:gd name="connsiteY24" fmla="*/ 465089 h 919571"/>
                <a:gd name="connsiteX25" fmla="*/ 866320 w 3146762"/>
                <a:gd name="connsiteY25" fmla="*/ 411314 h 919571"/>
                <a:gd name="connsiteX26" fmla="*/ 745349 w 3146762"/>
                <a:gd name="connsiteY26" fmla="*/ 377592 h 919571"/>
                <a:gd name="connsiteX27" fmla="*/ 651004 w 3146762"/>
                <a:gd name="connsiteY27" fmla="*/ 319354 h 919571"/>
                <a:gd name="connsiteX28" fmla="*/ 487641 w 3146762"/>
                <a:gd name="connsiteY28" fmla="*/ 231547 h 919571"/>
                <a:gd name="connsiteX29" fmla="*/ 295235 w 3146762"/>
                <a:gd name="connsiteY29" fmla="*/ 143739 h 919571"/>
                <a:gd name="connsiteX30" fmla="*/ 99198 w 3146762"/>
                <a:gd name="connsiteY30" fmla="*/ 41295 h 919571"/>
                <a:gd name="connsiteX31" fmla="*/ 0 w 3146762"/>
                <a:gd name="connsiteY31" fmla="*/ 4040 h 919571"/>
                <a:gd name="connsiteX0" fmla="*/ 3146762 w 3146762"/>
                <a:gd name="connsiteY0" fmla="*/ 839274 h 919571"/>
                <a:gd name="connsiteX1" fmla="*/ 3045397 w 3146762"/>
                <a:gd name="connsiteY1" fmla="*/ 825723 h 919571"/>
                <a:gd name="connsiteX2" fmla="*/ 2982666 w 3146762"/>
                <a:gd name="connsiteY2" fmla="*/ 781293 h 919571"/>
                <a:gd name="connsiteX3" fmla="*/ 2887048 w 3146762"/>
                <a:gd name="connsiteY3" fmla="*/ 814940 h 919571"/>
                <a:gd name="connsiteX4" fmla="*/ 2756912 w 3146762"/>
                <a:gd name="connsiteY4" fmla="*/ 862214 h 919571"/>
                <a:gd name="connsiteX5" fmla="*/ 2655954 w 3146762"/>
                <a:gd name="connsiteY5" fmla="*/ 853115 h 919571"/>
                <a:gd name="connsiteX6" fmla="*/ 2594930 w 3146762"/>
                <a:gd name="connsiteY6" fmla="*/ 876849 h 919571"/>
                <a:gd name="connsiteX7" fmla="*/ 2504863 w 3146762"/>
                <a:gd name="connsiteY7" fmla="*/ 919571 h 919571"/>
                <a:gd name="connsiteX8" fmla="*/ 2408502 w 3146762"/>
                <a:gd name="connsiteY8" fmla="*/ 875764 h 919571"/>
                <a:gd name="connsiteX9" fmla="*/ 2399403 w 3146762"/>
                <a:gd name="connsiteY9" fmla="*/ 816624 h 919571"/>
                <a:gd name="connsiteX10" fmla="*/ 2375041 w 3146762"/>
                <a:gd name="connsiteY10" fmla="*/ 795495 h 919571"/>
                <a:gd name="connsiteX11" fmla="*/ 2340263 w 3146762"/>
                <a:gd name="connsiteY11" fmla="*/ 742519 h 919571"/>
                <a:gd name="connsiteX12" fmla="*/ 2285596 w 3146762"/>
                <a:gd name="connsiteY12" fmla="*/ 696951 h 919571"/>
                <a:gd name="connsiteX13" fmla="*/ 2210175 w 3146762"/>
                <a:gd name="connsiteY13" fmla="*/ 663565 h 919571"/>
                <a:gd name="connsiteX14" fmla="*/ 2093435 w 3146762"/>
                <a:gd name="connsiteY14" fmla="*/ 643603 h 919571"/>
                <a:gd name="connsiteX15" fmla="*/ 1982723 w 3146762"/>
                <a:gd name="connsiteY15" fmla="*/ 604037 h 919571"/>
                <a:gd name="connsiteX16" fmla="*/ 1901697 w 3146762"/>
                <a:gd name="connsiteY16" fmla="*/ 642958 h 919571"/>
                <a:gd name="connsiteX17" fmla="*/ 1770642 w 3146762"/>
                <a:gd name="connsiteY17" fmla="*/ 678365 h 919571"/>
                <a:gd name="connsiteX18" fmla="*/ 1625582 w 3146762"/>
                <a:gd name="connsiteY18" fmla="*/ 683565 h 919571"/>
                <a:gd name="connsiteX19" fmla="*/ 1497158 w 3146762"/>
                <a:gd name="connsiteY19" fmla="*/ 694205 h 919571"/>
                <a:gd name="connsiteX20" fmla="*/ 1313051 w 3146762"/>
                <a:gd name="connsiteY20" fmla="*/ 668376 h 919571"/>
                <a:gd name="connsiteX21" fmla="*/ 1151516 w 3146762"/>
                <a:gd name="connsiteY21" fmla="*/ 652627 h 919571"/>
                <a:gd name="connsiteX22" fmla="*/ 1109298 w 3146762"/>
                <a:gd name="connsiteY22" fmla="*/ 621006 h 919571"/>
                <a:gd name="connsiteX23" fmla="*/ 1026643 w 3146762"/>
                <a:gd name="connsiteY23" fmla="*/ 534218 h 919571"/>
                <a:gd name="connsiteX24" fmla="*/ 956018 w 3146762"/>
                <a:gd name="connsiteY24" fmla="*/ 465089 h 919571"/>
                <a:gd name="connsiteX25" fmla="*/ 866320 w 3146762"/>
                <a:gd name="connsiteY25" fmla="*/ 411314 h 919571"/>
                <a:gd name="connsiteX26" fmla="*/ 745349 w 3146762"/>
                <a:gd name="connsiteY26" fmla="*/ 377592 h 919571"/>
                <a:gd name="connsiteX27" fmla="*/ 651004 w 3146762"/>
                <a:gd name="connsiteY27" fmla="*/ 319354 h 919571"/>
                <a:gd name="connsiteX28" fmla="*/ 487641 w 3146762"/>
                <a:gd name="connsiteY28" fmla="*/ 231547 h 919571"/>
                <a:gd name="connsiteX29" fmla="*/ 295235 w 3146762"/>
                <a:gd name="connsiteY29" fmla="*/ 143739 h 919571"/>
                <a:gd name="connsiteX30" fmla="*/ 99198 w 3146762"/>
                <a:gd name="connsiteY30" fmla="*/ 41295 h 919571"/>
                <a:gd name="connsiteX31" fmla="*/ 0 w 3146762"/>
                <a:gd name="connsiteY31" fmla="*/ 4040 h 919571"/>
                <a:gd name="connsiteX0" fmla="*/ 3146762 w 3146762"/>
                <a:gd name="connsiteY0" fmla="*/ 839274 h 919571"/>
                <a:gd name="connsiteX1" fmla="*/ 3045397 w 3146762"/>
                <a:gd name="connsiteY1" fmla="*/ 825723 h 919571"/>
                <a:gd name="connsiteX2" fmla="*/ 2982666 w 3146762"/>
                <a:gd name="connsiteY2" fmla="*/ 781293 h 919571"/>
                <a:gd name="connsiteX3" fmla="*/ 2887048 w 3146762"/>
                <a:gd name="connsiteY3" fmla="*/ 814940 h 919571"/>
                <a:gd name="connsiteX4" fmla="*/ 2756912 w 3146762"/>
                <a:gd name="connsiteY4" fmla="*/ 862214 h 919571"/>
                <a:gd name="connsiteX5" fmla="*/ 2655954 w 3146762"/>
                <a:gd name="connsiteY5" fmla="*/ 853115 h 919571"/>
                <a:gd name="connsiteX6" fmla="*/ 2594930 w 3146762"/>
                <a:gd name="connsiteY6" fmla="*/ 876849 h 919571"/>
                <a:gd name="connsiteX7" fmla="*/ 2504863 w 3146762"/>
                <a:gd name="connsiteY7" fmla="*/ 919571 h 919571"/>
                <a:gd name="connsiteX8" fmla="*/ 2408502 w 3146762"/>
                <a:gd name="connsiteY8" fmla="*/ 875764 h 919571"/>
                <a:gd name="connsiteX9" fmla="*/ 2399403 w 3146762"/>
                <a:gd name="connsiteY9" fmla="*/ 816624 h 919571"/>
                <a:gd name="connsiteX10" fmla="*/ 2375041 w 3146762"/>
                <a:gd name="connsiteY10" fmla="*/ 795495 h 919571"/>
                <a:gd name="connsiteX11" fmla="*/ 2340263 w 3146762"/>
                <a:gd name="connsiteY11" fmla="*/ 742519 h 919571"/>
                <a:gd name="connsiteX12" fmla="*/ 2285596 w 3146762"/>
                <a:gd name="connsiteY12" fmla="*/ 696951 h 919571"/>
                <a:gd name="connsiteX13" fmla="*/ 2210175 w 3146762"/>
                <a:gd name="connsiteY13" fmla="*/ 663565 h 919571"/>
                <a:gd name="connsiteX14" fmla="*/ 2093435 w 3146762"/>
                <a:gd name="connsiteY14" fmla="*/ 643603 h 919571"/>
                <a:gd name="connsiteX15" fmla="*/ 2063193 w 3146762"/>
                <a:gd name="connsiteY15" fmla="*/ 633999 h 919571"/>
                <a:gd name="connsiteX16" fmla="*/ 1982723 w 3146762"/>
                <a:gd name="connsiteY16" fmla="*/ 604037 h 919571"/>
                <a:gd name="connsiteX17" fmla="*/ 1901697 w 3146762"/>
                <a:gd name="connsiteY17" fmla="*/ 642958 h 919571"/>
                <a:gd name="connsiteX18" fmla="*/ 1770642 w 3146762"/>
                <a:gd name="connsiteY18" fmla="*/ 678365 h 919571"/>
                <a:gd name="connsiteX19" fmla="*/ 1625582 w 3146762"/>
                <a:gd name="connsiteY19" fmla="*/ 683565 h 919571"/>
                <a:gd name="connsiteX20" fmla="*/ 1497158 w 3146762"/>
                <a:gd name="connsiteY20" fmla="*/ 694205 h 919571"/>
                <a:gd name="connsiteX21" fmla="*/ 1313051 w 3146762"/>
                <a:gd name="connsiteY21" fmla="*/ 668376 h 919571"/>
                <a:gd name="connsiteX22" fmla="*/ 1151516 w 3146762"/>
                <a:gd name="connsiteY22" fmla="*/ 652627 h 919571"/>
                <a:gd name="connsiteX23" fmla="*/ 1109298 w 3146762"/>
                <a:gd name="connsiteY23" fmla="*/ 621006 h 919571"/>
                <a:gd name="connsiteX24" fmla="*/ 1026643 w 3146762"/>
                <a:gd name="connsiteY24" fmla="*/ 534218 h 919571"/>
                <a:gd name="connsiteX25" fmla="*/ 956018 w 3146762"/>
                <a:gd name="connsiteY25" fmla="*/ 465089 h 919571"/>
                <a:gd name="connsiteX26" fmla="*/ 866320 w 3146762"/>
                <a:gd name="connsiteY26" fmla="*/ 411314 h 919571"/>
                <a:gd name="connsiteX27" fmla="*/ 745349 w 3146762"/>
                <a:gd name="connsiteY27" fmla="*/ 377592 h 919571"/>
                <a:gd name="connsiteX28" fmla="*/ 651004 w 3146762"/>
                <a:gd name="connsiteY28" fmla="*/ 319354 h 919571"/>
                <a:gd name="connsiteX29" fmla="*/ 487641 w 3146762"/>
                <a:gd name="connsiteY29" fmla="*/ 231547 h 919571"/>
                <a:gd name="connsiteX30" fmla="*/ 295235 w 3146762"/>
                <a:gd name="connsiteY30" fmla="*/ 143739 h 919571"/>
                <a:gd name="connsiteX31" fmla="*/ 99198 w 3146762"/>
                <a:gd name="connsiteY31" fmla="*/ 41295 h 919571"/>
                <a:gd name="connsiteX32" fmla="*/ 0 w 3146762"/>
                <a:gd name="connsiteY32" fmla="*/ 4040 h 919571"/>
                <a:gd name="connsiteX0" fmla="*/ 3132443 w 3132443"/>
                <a:gd name="connsiteY0" fmla="*/ 959942 h 1040239"/>
                <a:gd name="connsiteX1" fmla="*/ 3031078 w 3132443"/>
                <a:gd name="connsiteY1" fmla="*/ 946391 h 1040239"/>
                <a:gd name="connsiteX2" fmla="*/ 2968347 w 3132443"/>
                <a:gd name="connsiteY2" fmla="*/ 901961 h 1040239"/>
                <a:gd name="connsiteX3" fmla="*/ 2872729 w 3132443"/>
                <a:gd name="connsiteY3" fmla="*/ 935608 h 1040239"/>
                <a:gd name="connsiteX4" fmla="*/ 2742593 w 3132443"/>
                <a:gd name="connsiteY4" fmla="*/ 982882 h 1040239"/>
                <a:gd name="connsiteX5" fmla="*/ 2641635 w 3132443"/>
                <a:gd name="connsiteY5" fmla="*/ 973783 h 1040239"/>
                <a:gd name="connsiteX6" fmla="*/ 2580611 w 3132443"/>
                <a:gd name="connsiteY6" fmla="*/ 997517 h 1040239"/>
                <a:gd name="connsiteX7" fmla="*/ 2490544 w 3132443"/>
                <a:gd name="connsiteY7" fmla="*/ 1040239 h 1040239"/>
                <a:gd name="connsiteX8" fmla="*/ 2394183 w 3132443"/>
                <a:gd name="connsiteY8" fmla="*/ 996432 h 1040239"/>
                <a:gd name="connsiteX9" fmla="*/ 2385084 w 3132443"/>
                <a:gd name="connsiteY9" fmla="*/ 937292 h 1040239"/>
                <a:gd name="connsiteX10" fmla="*/ 2360722 w 3132443"/>
                <a:gd name="connsiteY10" fmla="*/ 916163 h 1040239"/>
                <a:gd name="connsiteX11" fmla="*/ 2325944 w 3132443"/>
                <a:gd name="connsiteY11" fmla="*/ 863187 h 1040239"/>
                <a:gd name="connsiteX12" fmla="*/ 2271277 w 3132443"/>
                <a:gd name="connsiteY12" fmla="*/ 817619 h 1040239"/>
                <a:gd name="connsiteX13" fmla="*/ 2195856 w 3132443"/>
                <a:gd name="connsiteY13" fmla="*/ 784233 h 1040239"/>
                <a:gd name="connsiteX14" fmla="*/ 2079116 w 3132443"/>
                <a:gd name="connsiteY14" fmla="*/ 764271 h 1040239"/>
                <a:gd name="connsiteX15" fmla="*/ 2048874 w 3132443"/>
                <a:gd name="connsiteY15" fmla="*/ 754667 h 1040239"/>
                <a:gd name="connsiteX16" fmla="*/ 1968404 w 3132443"/>
                <a:gd name="connsiteY16" fmla="*/ 724705 h 1040239"/>
                <a:gd name="connsiteX17" fmla="*/ 1887378 w 3132443"/>
                <a:gd name="connsiteY17" fmla="*/ 763626 h 1040239"/>
                <a:gd name="connsiteX18" fmla="*/ 1756323 w 3132443"/>
                <a:gd name="connsiteY18" fmla="*/ 799033 h 1040239"/>
                <a:gd name="connsiteX19" fmla="*/ 1611263 w 3132443"/>
                <a:gd name="connsiteY19" fmla="*/ 804233 h 1040239"/>
                <a:gd name="connsiteX20" fmla="*/ 1482839 w 3132443"/>
                <a:gd name="connsiteY20" fmla="*/ 814873 h 1040239"/>
                <a:gd name="connsiteX21" fmla="*/ 1298732 w 3132443"/>
                <a:gd name="connsiteY21" fmla="*/ 789044 h 1040239"/>
                <a:gd name="connsiteX22" fmla="*/ 1137197 w 3132443"/>
                <a:gd name="connsiteY22" fmla="*/ 773295 h 1040239"/>
                <a:gd name="connsiteX23" fmla="*/ 1094979 w 3132443"/>
                <a:gd name="connsiteY23" fmla="*/ 741674 h 1040239"/>
                <a:gd name="connsiteX24" fmla="*/ 1012324 w 3132443"/>
                <a:gd name="connsiteY24" fmla="*/ 654886 h 1040239"/>
                <a:gd name="connsiteX25" fmla="*/ 941699 w 3132443"/>
                <a:gd name="connsiteY25" fmla="*/ 585757 h 1040239"/>
                <a:gd name="connsiteX26" fmla="*/ 852001 w 3132443"/>
                <a:gd name="connsiteY26" fmla="*/ 531982 h 1040239"/>
                <a:gd name="connsiteX27" fmla="*/ 731030 w 3132443"/>
                <a:gd name="connsiteY27" fmla="*/ 498260 h 1040239"/>
                <a:gd name="connsiteX28" fmla="*/ 636685 w 3132443"/>
                <a:gd name="connsiteY28" fmla="*/ 440022 h 1040239"/>
                <a:gd name="connsiteX29" fmla="*/ 473322 w 3132443"/>
                <a:gd name="connsiteY29" fmla="*/ 352215 h 1040239"/>
                <a:gd name="connsiteX30" fmla="*/ 280916 w 3132443"/>
                <a:gd name="connsiteY30" fmla="*/ 264407 h 1040239"/>
                <a:gd name="connsiteX31" fmla="*/ 84879 w 3132443"/>
                <a:gd name="connsiteY31" fmla="*/ 161963 h 1040239"/>
                <a:gd name="connsiteX32" fmla="*/ 8179 w 3132443"/>
                <a:gd name="connsiteY32" fmla="*/ 0 h 1040239"/>
                <a:gd name="connsiteX0" fmla="*/ 3124264 w 3124264"/>
                <a:gd name="connsiteY0" fmla="*/ 959942 h 1040239"/>
                <a:gd name="connsiteX1" fmla="*/ 3022899 w 3124264"/>
                <a:gd name="connsiteY1" fmla="*/ 946391 h 1040239"/>
                <a:gd name="connsiteX2" fmla="*/ 2960168 w 3124264"/>
                <a:gd name="connsiteY2" fmla="*/ 901961 h 1040239"/>
                <a:gd name="connsiteX3" fmla="*/ 2864550 w 3124264"/>
                <a:gd name="connsiteY3" fmla="*/ 935608 h 1040239"/>
                <a:gd name="connsiteX4" fmla="*/ 2734414 w 3124264"/>
                <a:gd name="connsiteY4" fmla="*/ 982882 h 1040239"/>
                <a:gd name="connsiteX5" fmla="*/ 2633456 w 3124264"/>
                <a:gd name="connsiteY5" fmla="*/ 973783 h 1040239"/>
                <a:gd name="connsiteX6" fmla="*/ 2572432 w 3124264"/>
                <a:gd name="connsiteY6" fmla="*/ 997517 h 1040239"/>
                <a:gd name="connsiteX7" fmla="*/ 2482365 w 3124264"/>
                <a:gd name="connsiteY7" fmla="*/ 1040239 h 1040239"/>
                <a:gd name="connsiteX8" fmla="*/ 2386004 w 3124264"/>
                <a:gd name="connsiteY8" fmla="*/ 996432 h 1040239"/>
                <a:gd name="connsiteX9" fmla="*/ 2376905 w 3124264"/>
                <a:gd name="connsiteY9" fmla="*/ 937292 h 1040239"/>
                <a:gd name="connsiteX10" fmla="*/ 2352543 w 3124264"/>
                <a:gd name="connsiteY10" fmla="*/ 916163 h 1040239"/>
                <a:gd name="connsiteX11" fmla="*/ 2317765 w 3124264"/>
                <a:gd name="connsiteY11" fmla="*/ 863187 h 1040239"/>
                <a:gd name="connsiteX12" fmla="*/ 2263098 w 3124264"/>
                <a:gd name="connsiteY12" fmla="*/ 817619 h 1040239"/>
                <a:gd name="connsiteX13" fmla="*/ 2187677 w 3124264"/>
                <a:gd name="connsiteY13" fmla="*/ 784233 h 1040239"/>
                <a:gd name="connsiteX14" fmla="*/ 2070937 w 3124264"/>
                <a:gd name="connsiteY14" fmla="*/ 764271 h 1040239"/>
                <a:gd name="connsiteX15" fmla="*/ 2040695 w 3124264"/>
                <a:gd name="connsiteY15" fmla="*/ 754667 h 1040239"/>
                <a:gd name="connsiteX16" fmla="*/ 1960225 w 3124264"/>
                <a:gd name="connsiteY16" fmla="*/ 724705 h 1040239"/>
                <a:gd name="connsiteX17" fmla="*/ 1879199 w 3124264"/>
                <a:gd name="connsiteY17" fmla="*/ 763626 h 1040239"/>
                <a:gd name="connsiteX18" fmla="*/ 1748144 w 3124264"/>
                <a:gd name="connsiteY18" fmla="*/ 799033 h 1040239"/>
                <a:gd name="connsiteX19" fmla="*/ 1603084 w 3124264"/>
                <a:gd name="connsiteY19" fmla="*/ 804233 h 1040239"/>
                <a:gd name="connsiteX20" fmla="*/ 1474660 w 3124264"/>
                <a:gd name="connsiteY20" fmla="*/ 814873 h 1040239"/>
                <a:gd name="connsiteX21" fmla="*/ 1290553 w 3124264"/>
                <a:gd name="connsiteY21" fmla="*/ 789044 h 1040239"/>
                <a:gd name="connsiteX22" fmla="*/ 1129018 w 3124264"/>
                <a:gd name="connsiteY22" fmla="*/ 773295 h 1040239"/>
                <a:gd name="connsiteX23" fmla="*/ 1086800 w 3124264"/>
                <a:gd name="connsiteY23" fmla="*/ 741674 h 1040239"/>
                <a:gd name="connsiteX24" fmla="*/ 1004145 w 3124264"/>
                <a:gd name="connsiteY24" fmla="*/ 654886 h 1040239"/>
                <a:gd name="connsiteX25" fmla="*/ 933520 w 3124264"/>
                <a:gd name="connsiteY25" fmla="*/ 585757 h 1040239"/>
                <a:gd name="connsiteX26" fmla="*/ 843822 w 3124264"/>
                <a:gd name="connsiteY26" fmla="*/ 531982 h 1040239"/>
                <a:gd name="connsiteX27" fmla="*/ 722851 w 3124264"/>
                <a:gd name="connsiteY27" fmla="*/ 498260 h 1040239"/>
                <a:gd name="connsiteX28" fmla="*/ 628506 w 3124264"/>
                <a:gd name="connsiteY28" fmla="*/ 440022 h 1040239"/>
                <a:gd name="connsiteX29" fmla="*/ 465143 w 3124264"/>
                <a:gd name="connsiteY29" fmla="*/ 352215 h 1040239"/>
                <a:gd name="connsiteX30" fmla="*/ 272737 w 3124264"/>
                <a:gd name="connsiteY30" fmla="*/ 264407 h 1040239"/>
                <a:gd name="connsiteX31" fmla="*/ 155444 w 3124264"/>
                <a:gd name="connsiteY31" fmla="*/ 105278 h 1040239"/>
                <a:gd name="connsiteX32" fmla="*/ 0 w 3124264"/>
                <a:gd name="connsiteY32" fmla="*/ 0 h 1040239"/>
                <a:gd name="connsiteX0" fmla="*/ 3124264 w 3124264"/>
                <a:gd name="connsiteY0" fmla="*/ 959942 h 1040239"/>
                <a:gd name="connsiteX1" fmla="*/ 3022899 w 3124264"/>
                <a:gd name="connsiteY1" fmla="*/ 946391 h 1040239"/>
                <a:gd name="connsiteX2" fmla="*/ 2960168 w 3124264"/>
                <a:gd name="connsiteY2" fmla="*/ 901961 h 1040239"/>
                <a:gd name="connsiteX3" fmla="*/ 2864550 w 3124264"/>
                <a:gd name="connsiteY3" fmla="*/ 935608 h 1040239"/>
                <a:gd name="connsiteX4" fmla="*/ 2734414 w 3124264"/>
                <a:gd name="connsiteY4" fmla="*/ 982882 h 1040239"/>
                <a:gd name="connsiteX5" fmla="*/ 2633456 w 3124264"/>
                <a:gd name="connsiteY5" fmla="*/ 973783 h 1040239"/>
                <a:gd name="connsiteX6" fmla="*/ 2572432 w 3124264"/>
                <a:gd name="connsiteY6" fmla="*/ 997517 h 1040239"/>
                <a:gd name="connsiteX7" fmla="*/ 2482365 w 3124264"/>
                <a:gd name="connsiteY7" fmla="*/ 1040239 h 1040239"/>
                <a:gd name="connsiteX8" fmla="*/ 2386004 w 3124264"/>
                <a:gd name="connsiteY8" fmla="*/ 996432 h 1040239"/>
                <a:gd name="connsiteX9" fmla="*/ 2376905 w 3124264"/>
                <a:gd name="connsiteY9" fmla="*/ 937292 h 1040239"/>
                <a:gd name="connsiteX10" fmla="*/ 2352543 w 3124264"/>
                <a:gd name="connsiteY10" fmla="*/ 916163 h 1040239"/>
                <a:gd name="connsiteX11" fmla="*/ 2317765 w 3124264"/>
                <a:gd name="connsiteY11" fmla="*/ 863187 h 1040239"/>
                <a:gd name="connsiteX12" fmla="*/ 2263098 w 3124264"/>
                <a:gd name="connsiteY12" fmla="*/ 817619 h 1040239"/>
                <a:gd name="connsiteX13" fmla="*/ 2187677 w 3124264"/>
                <a:gd name="connsiteY13" fmla="*/ 784233 h 1040239"/>
                <a:gd name="connsiteX14" fmla="*/ 2070937 w 3124264"/>
                <a:gd name="connsiteY14" fmla="*/ 764271 h 1040239"/>
                <a:gd name="connsiteX15" fmla="*/ 2040695 w 3124264"/>
                <a:gd name="connsiteY15" fmla="*/ 754667 h 1040239"/>
                <a:gd name="connsiteX16" fmla="*/ 1960225 w 3124264"/>
                <a:gd name="connsiteY16" fmla="*/ 724705 h 1040239"/>
                <a:gd name="connsiteX17" fmla="*/ 1879199 w 3124264"/>
                <a:gd name="connsiteY17" fmla="*/ 763626 h 1040239"/>
                <a:gd name="connsiteX18" fmla="*/ 1748144 w 3124264"/>
                <a:gd name="connsiteY18" fmla="*/ 799033 h 1040239"/>
                <a:gd name="connsiteX19" fmla="*/ 1603084 w 3124264"/>
                <a:gd name="connsiteY19" fmla="*/ 804233 h 1040239"/>
                <a:gd name="connsiteX20" fmla="*/ 1474660 w 3124264"/>
                <a:gd name="connsiteY20" fmla="*/ 814873 h 1040239"/>
                <a:gd name="connsiteX21" fmla="*/ 1290553 w 3124264"/>
                <a:gd name="connsiteY21" fmla="*/ 789044 h 1040239"/>
                <a:gd name="connsiteX22" fmla="*/ 1129018 w 3124264"/>
                <a:gd name="connsiteY22" fmla="*/ 773295 h 1040239"/>
                <a:gd name="connsiteX23" fmla="*/ 1086800 w 3124264"/>
                <a:gd name="connsiteY23" fmla="*/ 741674 h 1040239"/>
                <a:gd name="connsiteX24" fmla="*/ 1004145 w 3124264"/>
                <a:gd name="connsiteY24" fmla="*/ 654886 h 1040239"/>
                <a:gd name="connsiteX25" fmla="*/ 933520 w 3124264"/>
                <a:gd name="connsiteY25" fmla="*/ 585757 h 1040239"/>
                <a:gd name="connsiteX26" fmla="*/ 843822 w 3124264"/>
                <a:gd name="connsiteY26" fmla="*/ 531982 h 1040239"/>
                <a:gd name="connsiteX27" fmla="*/ 722851 w 3124264"/>
                <a:gd name="connsiteY27" fmla="*/ 498260 h 1040239"/>
                <a:gd name="connsiteX28" fmla="*/ 628506 w 3124264"/>
                <a:gd name="connsiteY28" fmla="*/ 440022 h 1040239"/>
                <a:gd name="connsiteX29" fmla="*/ 465143 w 3124264"/>
                <a:gd name="connsiteY29" fmla="*/ 352215 h 1040239"/>
                <a:gd name="connsiteX30" fmla="*/ 328984 w 3124264"/>
                <a:gd name="connsiteY30" fmla="*/ 219058 h 1040239"/>
                <a:gd name="connsiteX31" fmla="*/ 155444 w 3124264"/>
                <a:gd name="connsiteY31" fmla="*/ 105278 h 1040239"/>
                <a:gd name="connsiteX32" fmla="*/ 0 w 3124264"/>
                <a:gd name="connsiteY32" fmla="*/ 0 h 1040239"/>
                <a:gd name="connsiteX0" fmla="*/ 3124264 w 3124264"/>
                <a:gd name="connsiteY0" fmla="*/ 959942 h 1040239"/>
                <a:gd name="connsiteX1" fmla="*/ 3022899 w 3124264"/>
                <a:gd name="connsiteY1" fmla="*/ 946391 h 1040239"/>
                <a:gd name="connsiteX2" fmla="*/ 2960168 w 3124264"/>
                <a:gd name="connsiteY2" fmla="*/ 901961 h 1040239"/>
                <a:gd name="connsiteX3" fmla="*/ 2864550 w 3124264"/>
                <a:gd name="connsiteY3" fmla="*/ 935608 h 1040239"/>
                <a:gd name="connsiteX4" fmla="*/ 2734414 w 3124264"/>
                <a:gd name="connsiteY4" fmla="*/ 982882 h 1040239"/>
                <a:gd name="connsiteX5" fmla="*/ 2633456 w 3124264"/>
                <a:gd name="connsiteY5" fmla="*/ 973783 h 1040239"/>
                <a:gd name="connsiteX6" fmla="*/ 2572432 w 3124264"/>
                <a:gd name="connsiteY6" fmla="*/ 997517 h 1040239"/>
                <a:gd name="connsiteX7" fmla="*/ 2482365 w 3124264"/>
                <a:gd name="connsiteY7" fmla="*/ 1040239 h 1040239"/>
                <a:gd name="connsiteX8" fmla="*/ 2386004 w 3124264"/>
                <a:gd name="connsiteY8" fmla="*/ 996432 h 1040239"/>
                <a:gd name="connsiteX9" fmla="*/ 2376905 w 3124264"/>
                <a:gd name="connsiteY9" fmla="*/ 937292 h 1040239"/>
                <a:gd name="connsiteX10" fmla="*/ 2352543 w 3124264"/>
                <a:gd name="connsiteY10" fmla="*/ 916163 h 1040239"/>
                <a:gd name="connsiteX11" fmla="*/ 2317765 w 3124264"/>
                <a:gd name="connsiteY11" fmla="*/ 863187 h 1040239"/>
                <a:gd name="connsiteX12" fmla="*/ 2263098 w 3124264"/>
                <a:gd name="connsiteY12" fmla="*/ 817619 h 1040239"/>
                <a:gd name="connsiteX13" fmla="*/ 2187677 w 3124264"/>
                <a:gd name="connsiteY13" fmla="*/ 784233 h 1040239"/>
                <a:gd name="connsiteX14" fmla="*/ 2070937 w 3124264"/>
                <a:gd name="connsiteY14" fmla="*/ 764271 h 1040239"/>
                <a:gd name="connsiteX15" fmla="*/ 2040695 w 3124264"/>
                <a:gd name="connsiteY15" fmla="*/ 754667 h 1040239"/>
                <a:gd name="connsiteX16" fmla="*/ 1960225 w 3124264"/>
                <a:gd name="connsiteY16" fmla="*/ 724705 h 1040239"/>
                <a:gd name="connsiteX17" fmla="*/ 1879199 w 3124264"/>
                <a:gd name="connsiteY17" fmla="*/ 763626 h 1040239"/>
                <a:gd name="connsiteX18" fmla="*/ 1748144 w 3124264"/>
                <a:gd name="connsiteY18" fmla="*/ 799033 h 1040239"/>
                <a:gd name="connsiteX19" fmla="*/ 1603084 w 3124264"/>
                <a:gd name="connsiteY19" fmla="*/ 804233 h 1040239"/>
                <a:gd name="connsiteX20" fmla="*/ 1474660 w 3124264"/>
                <a:gd name="connsiteY20" fmla="*/ 814873 h 1040239"/>
                <a:gd name="connsiteX21" fmla="*/ 1290553 w 3124264"/>
                <a:gd name="connsiteY21" fmla="*/ 789044 h 1040239"/>
                <a:gd name="connsiteX22" fmla="*/ 1129018 w 3124264"/>
                <a:gd name="connsiteY22" fmla="*/ 773295 h 1040239"/>
                <a:gd name="connsiteX23" fmla="*/ 1086800 w 3124264"/>
                <a:gd name="connsiteY23" fmla="*/ 741674 h 1040239"/>
                <a:gd name="connsiteX24" fmla="*/ 1004145 w 3124264"/>
                <a:gd name="connsiteY24" fmla="*/ 654886 h 1040239"/>
                <a:gd name="connsiteX25" fmla="*/ 933520 w 3124264"/>
                <a:gd name="connsiteY25" fmla="*/ 585757 h 1040239"/>
                <a:gd name="connsiteX26" fmla="*/ 843822 w 3124264"/>
                <a:gd name="connsiteY26" fmla="*/ 531982 h 1040239"/>
                <a:gd name="connsiteX27" fmla="*/ 722851 w 3124264"/>
                <a:gd name="connsiteY27" fmla="*/ 498260 h 1040239"/>
                <a:gd name="connsiteX28" fmla="*/ 628506 w 3124264"/>
                <a:gd name="connsiteY28" fmla="*/ 440022 h 1040239"/>
                <a:gd name="connsiteX29" fmla="*/ 510140 w 3124264"/>
                <a:gd name="connsiteY29" fmla="*/ 306866 h 1040239"/>
                <a:gd name="connsiteX30" fmla="*/ 328984 w 3124264"/>
                <a:gd name="connsiteY30" fmla="*/ 219058 h 1040239"/>
                <a:gd name="connsiteX31" fmla="*/ 155444 w 3124264"/>
                <a:gd name="connsiteY31" fmla="*/ 105278 h 1040239"/>
                <a:gd name="connsiteX32" fmla="*/ 0 w 3124264"/>
                <a:gd name="connsiteY32" fmla="*/ 0 h 1040239"/>
                <a:gd name="connsiteX0" fmla="*/ 3124264 w 3124264"/>
                <a:gd name="connsiteY0" fmla="*/ 959942 h 1040239"/>
                <a:gd name="connsiteX1" fmla="*/ 3022899 w 3124264"/>
                <a:gd name="connsiteY1" fmla="*/ 946391 h 1040239"/>
                <a:gd name="connsiteX2" fmla="*/ 2960168 w 3124264"/>
                <a:gd name="connsiteY2" fmla="*/ 901961 h 1040239"/>
                <a:gd name="connsiteX3" fmla="*/ 2864550 w 3124264"/>
                <a:gd name="connsiteY3" fmla="*/ 935608 h 1040239"/>
                <a:gd name="connsiteX4" fmla="*/ 2734414 w 3124264"/>
                <a:gd name="connsiteY4" fmla="*/ 982882 h 1040239"/>
                <a:gd name="connsiteX5" fmla="*/ 2633456 w 3124264"/>
                <a:gd name="connsiteY5" fmla="*/ 973783 h 1040239"/>
                <a:gd name="connsiteX6" fmla="*/ 2572432 w 3124264"/>
                <a:gd name="connsiteY6" fmla="*/ 997517 h 1040239"/>
                <a:gd name="connsiteX7" fmla="*/ 2482365 w 3124264"/>
                <a:gd name="connsiteY7" fmla="*/ 1040239 h 1040239"/>
                <a:gd name="connsiteX8" fmla="*/ 2386004 w 3124264"/>
                <a:gd name="connsiteY8" fmla="*/ 996432 h 1040239"/>
                <a:gd name="connsiteX9" fmla="*/ 2376905 w 3124264"/>
                <a:gd name="connsiteY9" fmla="*/ 937292 h 1040239"/>
                <a:gd name="connsiteX10" fmla="*/ 2352543 w 3124264"/>
                <a:gd name="connsiteY10" fmla="*/ 916163 h 1040239"/>
                <a:gd name="connsiteX11" fmla="*/ 2317765 w 3124264"/>
                <a:gd name="connsiteY11" fmla="*/ 863187 h 1040239"/>
                <a:gd name="connsiteX12" fmla="*/ 2263098 w 3124264"/>
                <a:gd name="connsiteY12" fmla="*/ 817619 h 1040239"/>
                <a:gd name="connsiteX13" fmla="*/ 2187677 w 3124264"/>
                <a:gd name="connsiteY13" fmla="*/ 784233 h 1040239"/>
                <a:gd name="connsiteX14" fmla="*/ 2070937 w 3124264"/>
                <a:gd name="connsiteY14" fmla="*/ 764271 h 1040239"/>
                <a:gd name="connsiteX15" fmla="*/ 2040695 w 3124264"/>
                <a:gd name="connsiteY15" fmla="*/ 754667 h 1040239"/>
                <a:gd name="connsiteX16" fmla="*/ 1960225 w 3124264"/>
                <a:gd name="connsiteY16" fmla="*/ 724705 h 1040239"/>
                <a:gd name="connsiteX17" fmla="*/ 1879199 w 3124264"/>
                <a:gd name="connsiteY17" fmla="*/ 763626 h 1040239"/>
                <a:gd name="connsiteX18" fmla="*/ 1748144 w 3124264"/>
                <a:gd name="connsiteY18" fmla="*/ 799033 h 1040239"/>
                <a:gd name="connsiteX19" fmla="*/ 1603084 w 3124264"/>
                <a:gd name="connsiteY19" fmla="*/ 804233 h 1040239"/>
                <a:gd name="connsiteX20" fmla="*/ 1474660 w 3124264"/>
                <a:gd name="connsiteY20" fmla="*/ 814873 h 1040239"/>
                <a:gd name="connsiteX21" fmla="*/ 1290553 w 3124264"/>
                <a:gd name="connsiteY21" fmla="*/ 789044 h 1040239"/>
                <a:gd name="connsiteX22" fmla="*/ 1129018 w 3124264"/>
                <a:gd name="connsiteY22" fmla="*/ 773295 h 1040239"/>
                <a:gd name="connsiteX23" fmla="*/ 1086800 w 3124264"/>
                <a:gd name="connsiteY23" fmla="*/ 741674 h 1040239"/>
                <a:gd name="connsiteX24" fmla="*/ 1004145 w 3124264"/>
                <a:gd name="connsiteY24" fmla="*/ 654886 h 1040239"/>
                <a:gd name="connsiteX25" fmla="*/ 933520 w 3124264"/>
                <a:gd name="connsiteY25" fmla="*/ 585757 h 1040239"/>
                <a:gd name="connsiteX26" fmla="*/ 843822 w 3124264"/>
                <a:gd name="connsiteY26" fmla="*/ 531982 h 1040239"/>
                <a:gd name="connsiteX27" fmla="*/ 722851 w 3124264"/>
                <a:gd name="connsiteY27" fmla="*/ 498260 h 1040239"/>
                <a:gd name="connsiteX28" fmla="*/ 628506 w 3124264"/>
                <a:gd name="connsiteY28" fmla="*/ 440022 h 1040239"/>
                <a:gd name="connsiteX29" fmla="*/ 510140 w 3124264"/>
                <a:gd name="connsiteY29" fmla="*/ 306866 h 1040239"/>
                <a:gd name="connsiteX30" fmla="*/ 328984 w 3124264"/>
                <a:gd name="connsiteY30" fmla="*/ 219058 h 1040239"/>
                <a:gd name="connsiteX31" fmla="*/ 155444 w 3124264"/>
                <a:gd name="connsiteY31" fmla="*/ 105278 h 1040239"/>
                <a:gd name="connsiteX32" fmla="*/ 0 w 3124264"/>
                <a:gd name="connsiteY32" fmla="*/ 0 h 1040239"/>
                <a:gd name="connsiteX0" fmla="*/ 3112471 w 3112471"/>
                <a:gd name="connsiteY0" fmla="*/ 955981 h 1040239"/>
                <a:gd name="connsiteX1" fmla="*/ 3022899 w 3112471"/>
                <a:gd name="connsiteY1" fmla="*/ 946391 h 1040239"/>
                <a:gd name="connsiteX2" fmla="*/ 2960168 w 3112471"/>
                <a:gd name="connsiteY2" fmla="*/ 901961 h 1040239"/>
                <a:gd name="connsiteX3" fmla="*/ 2864550 w 3112471"/>
                <a:gd name="connsiteY3" fmla="*/ 935608 h 1040239"/>
                <a:gd name="connsiteX4" fmla="*/ 2734414 w 3112471"/>
                <a:gd name="connsiteY4" fmla="*/ 982882 h 1040239"/>
                <a:gd name="connsiteX5" fmla="*/ 2633456 w 3112471"/>
                <a:gd name="connsiteY5" fmla="*/ 973783 h 1040239"/>
                <a:gd name="connsiteX6" fmla="*/ 2572432 w 3112471"/>
                <a:gd name="connsiteY6" fmla="*/ 997517 h 1040239"/>
                <a:gd name="connsiteX7" fmla="*/ 2482365 w 3112471"/>
                <a:gd name="connsiteY7" fmla="*/ 1040239 h 1040239"/>
                <a:gd name="connsiteX8" fmla="*/ 2386004 w 3112471"/>
                <a:gd name="connsiteY8" fmla="*/ 996432 h 1040239"/>
                <a:gd name="connsiteX9" fmla="*/ 2376905 w 3112471"/>
                <a:gd name="connsiteY9" fmla="*/ 937292 h 1040239"/>
                <a:gd name="connsiteX10" fmla="*/ 2352543 w 3112471"/>
                <a:gd name="connsiteY10" fmla="*/ 916163 h 1040239"/>
                <a:gd name="connsiteX11" fmla="*/ 2317765 w 3112471"/>
                <a:gd name="connsiteY11" fmla="*/ 863187 h 1040239"/>
                <a:gd name="connsiteX12" fmla="*/ 2263098 w 3112471"/>
                <a:gd name="connsiteY12" fmla="*/ 817619 h 1040239"/>
                <a:gd name="connsiteX13" fmla="*/ 2187677 w 3112471"/>
                <a:gd name="connsiteY13" fmla="*/ 784233 h 1040239"/>
                <a:gd name="connsiteX14" fmla="*/ 2070937 w 3112471"/>
                <a:gd name="connsiteY14" fmla="*/ 764271 h 1040239"/>
                <a:gd name="connsiteX15" fmla="*/ 2040695 w 3112471"/>
                <a:gd name="connsiteY15" fmla="*/ 754667 h 1040239"/>
                <a:gd name="connsiteX16" fmla="*/ 1960225 w 3112471"/>
                <a:gd name="connsiteY16" fmla="*/ 724705 h 1040239"/>
                <a:gd name="connsiteX17" fmla="*/ 1879199 w 3112471"/>
                <a:gd name="connsiteY17" fmla="*/ 763626 h 1040239"/>
                <a:gd name="connsiteX18" fmla="*/ 1748144 w 3112471"/>
                <a:gd name="connsiteY18" fmla="*/ 799033 h 1040239"/>
                <a:gd name="connsiteX19" fmla="*/ 1603084 w 3112471"/>
                <a:gd name="connsiteY19" fmla="*/ 804233 h 1040239"/>
                <a:gd name="connsiteX20" fmla="*/ 1474660 w 3112471"/>
                <a:gd name="connsiteY20" fmla="*/ 814873 h 1040239"/>
                <a:gd name="connsiteX21" fmla="*/ 1290553 w 3112471"/>
                <a:gd name="connsiteY21" fmla="*/ 789044 h 1040239"/>
                <a:gd name="connsiteX22" fmla="*/ 1129018 w 3112471"/>
                <a:gd name="connsiteY22" fmla="*/ 773295 h 1040239"/>
                <a:gd name="connsiteX23" fmla="*/ 1086800 w 3112471"/>
                <a:gd name="connsiteY23" fmla="*/ 741674 h 1040239"/>
                <a:gd name="connsiteX24" fmla="*/ 1004145 w 3112471"/>
                <a:gd name="connsiteY24" fmla="*/ 654886 h 1040239"/>
                <a:gd name="connsiteX25" fmla="*/ 933520 w 3112471"/>
                <a:gd name="connsiteY25" fmla="*/ 585757 h 1040239"/>
                <a:gd name="connsiteX26" fmla="*/ 843822 w 3112471"/>
                <a:gd name="connsiteY26" fmla="*/ 531982 h 1040239"/>
                <a:gd name="connsiteX27" fmla="*/ 722851 w 3112471"/>
                <a:gd name="connsiteY27" fmla="*/ 498260 h 1040239"/>
                <a:gd name="connsiteX28" fmla="*/ 628506 w 3112471"/>
                <a:gd name="connsiteY28" fmla="*/ 440022 h 1040239"/>
                <a:gd name="connsiteX29" fmla="*/ 510140 w 3112471"/>
                <a:gd name="connsiteY29" fmla="*/ 306866 h 1040239"/>
                <a:gd name="connsiteX30" fmla="*/ 328984 w 3112471"/>
                <a:gd name="connsiteY30" fmla="*/ 219058 h 1040239"/>
                <a:gd name="connsiteX31" fmla="*/ 155444 w 3112471"/>
                <a:gd name="connsiteY31" fmla="*/ 105278 h 1040239"/>
                <a:gd name="connsiteX32" fmla="*/ 0 w 3112471"/>
                <a:gd name="connsiteY32" fmla="*/ 0 h 1040239"/>
                <a:gd name="connsiteX0" fmla="*/ 3112471 w 3112471"/>
                <a:gd name="connsiteY0" fmla="*/ 955981 h 1040451"/>
                <a:gd name="connsiteX1" fmla="*/ 3022899 w 3112471"/>
                <a:gd name="connsiteY1" fmla="*/ 946391 h 1040451"/>
                <a:gd name="connsiteX2" fmla="*/ 2960168 w 3112471"/>
                <a:gd name="connsiteY2" fmla="*/ 901961 h 1040451"/>
                <a:gd name="connsiteX3" fmla="*/ 2864550 w 3112471"/>
                <a:gd name="connsiteY3" fmla="*/ 935608 h 1040451"/>
                <a:gd name="connsiteX4" fmla="*/ 2734414 w 3112471"/>
                <a:gd name="connsiteY4" fmla="*/ 982882 h 1040451"/>
                <a:gd name="connsiteX5" fmla="*/ 2633456 w 3112471"/>
                <a:gd name="connsiteY5" fmla="*/ 973783 h 1040451"/>
                <a:gd name="connsiteX6" fmla="*/ 2565051 w 3112471"/>
                <a:gd name="connsiteY6" fmla="*/ 978365 h 1040451"/>
                <a:gd name="connsiteX7" fmla="*/ 2482365 w 3112471"/>
                <a:gd name="connsiteY7" fmla="*/ 1040239 h 1040451"/>
                <a:gd name="connsiteX8" fmla="*/ 2386004 w 3112471"/>
                <a:gd name="connsiteY8" fmla="*/ 996432 h 1040451"/>
                <a:gd name="connsiteX9" fmla="*/ 2376905 w 3112471"/>
                <a:gd name="connsiteY9" fmla="*/ 937292 h 1040451"/>
                <a:gd name="connsiteX10" fmla="*/ 2352543 w 3112471"/>
                <a:gd name="connsiteY10" fmla="*/ 916163 h 1040451"/>
                <a:gd name="connsiteX11" fmla="*/ 2317765 w 3112471"/>
                <a:gd name="connsiteY11" fmla="*/ 863187 h 1040451"/>
                <a:gd name="connsiteX12" fmla="*/ 2263098 w 3112471"/>
                <a:gd name="connsiteY12" fmla="*/ 817619 h 1040451"/>
                <a:gd name="connsiteX13" fmla="*/ 2187677 w 3112471"/>
                <a:gd name="connsiteY13" fmla="*/ 784233 h 1040451"/>
                <a:gd name="connsiteX14" fmla="*/ 2070937 w 3112471"/>
                <a:gd name="connsiteY14" fmla="*/ 764271 h 1040451"/>
                <a:gd name="connsiteX15" fmla="*/ 2040695 w 3112471"/>
                <a:gd name="connsiteY15" fmla="*/ 754667 h 1040451"/>
                <a:gd name="connsiteX16" fmla="*/ 1960225 w 3112471"/>
                <a:gd name="connsiteY16" fmla="*/ 724705 h 1040451"/>
                <a:gd name="connsiteX17" fmla="*/ 1879199 w 3112471"/>
                <a:gd name="connsiteY17" fmla="*/ 763626 h 1040451"/>
                <a:gd name="connsiteX18" fmla="*/ 1748144 w 3112471"/>
                <a:gd name="connsiteY18" fmla="*/ 799033 h 1040451"/>
                <a:gd name="connsiteX19" fmla="*/ 1603084 w 3112471"/>
                <a:gd name="connsiteY19" fmla="*/ 804233 h 1040451"/>
                <a:gd name="connsiteX20" fmla="*/ 1474660 w 3112471"/>
                <a:gd name="connsiteY20" fmla="*/ 814873 h 1040451"/>
                <a:gd name="connsiteX21" fmla="*/ 1290553 w 3112471"/>
                <a:gd name="connsiteY21" fmla="*/ 789044 h 1040451"/>
                <a:gd name="connsiteX22" fmla="*/ 1129018 w 3112471"/>
                <a:gd name="connsiteY22" fmla="*/ 773295 h 1040451"/>
                <a:gd name="connsiteX23" fmla="*/ 1086800 w 3112471"/>
                <a:gd name="connsiteY23" fmla="*/ 741674 h 1040451"/>
                <a:gd name="connsiteX24" fmla="*/ 1004145 w 3112471"/>
                <a:gd name="connsiteY24" fmla="*/ 654886 h 1040451"/>
                <a:gd name="connsiteX25" fmla="*/ 933520 w 3112471"/>
                <a:gd name="connsiteY25" fmla="*/ 585757 h 1040451"/>
                <a:gd name="connsiteX26" fmla="*/ 843822 w 3112471"/>
                <a:gd name="connsiteY26" fmla="*/ 531982 h 1040451"/>
                <a:gd name="connsiteX27" fmla="*/ 722851 w 3112471"/>
                <a:gd name="connsiteY27" fmla="*/ 498260 h 1040451"/>
                <a:gd name="connsiteX28" fmla="*/ 628506 w 3112471"/>
                <a:gd name="connsiteY28" fmla="*/ 440022 h 1040451"/>
                <a:gd name="connsiteX29" fmla="*/ 510140 w 3112471"/>
                <a:gd name="connsiteY29" fmla="*/ 306866 h 1040451"/>
                <a:gd name="connsiteX30" fmla="*/ 328984 w 3112471"/>
                <a:gd name="connsiteY30" fmla="*/ 219058 h 1040451"/>
                <a:gd name="connsiteX31" fmla="*/ 155444 w 3112471"/>
                <a:gd name="connsiteY31" fmla="*/ 105278 h 1040451"/>
                <a:gd name="connsiteX32" fmla="*/ 0 w 3112471"/>
                <a:gd name="connsiteY32" fmla="*/ 0 h 1040451"/>
                <a:gd name="connsiteX0" fmla="*/ 3112471 w 3112471"/>
                <a:gd name="connsiteY0" fmla="*/ 955981 h 1041094"/>
                <a:gd name="connsiteX1" fmla="*/ 3022899 w 3112471"/>
                <a:gd name="connsiteY1" fmla="*/ 946391 h 1041094"/>
                <a:gd name="connsiteX2" fmla="*/ 2960168 w 3112471"/>
                <a:gd name="connsiteY2" fmla="*/ 901961 h 1041094"/>
                <a:gd name="connsiteX3" fmla="*/ 2864550 w 3112471"/>
                <a:gd name="connsiteY3" fmla="*/ 935608 h 1041094"/>
                <a:gd name="connsiteX4" fmla="*/ 2734414 w 3112471"/>
                <a:gd name="connsiteY4" fmla="*/ 982882 h 1041094"/>
                <a:gd name="connsiteX5" fmla="*/ 2633456 w 3112471"/>
                <a:gd name="connsiteY5" fmla="*/ 973783 h 1041094"/>
                <a:gd name="connsiteX6" fmla="*/ 2584734 w 3112471"/>
                <a:gd name="connsiteY6" fmla="*/ 956818 h 1041094"/>
                <a:gd name="connsiteX7" fmla="*/ 2482365 w 3112471"/>
                <a:gd name="connsiteY7" fmla="*/ 1040239 h 1041094"/>
                <a:gd name="connsiteX8" fmla="*/ 2386004 w 3112471"/>
                <a:gd name="connsiteY8" fmla="*/ 996432 h 1041094"/>
                <a:gd name="connsiteX9" fmla="*/ 2376905 w 3112471"/>
                <a:gd name="connsiteY9" fmla="*/ 937292 h 1041094"/>
                <a:gd name="connsiteX10" fmla="*/ 2352543 w 3112471"/>
                <a:gd name="connsiteY10" fmla="*/ 916163 h 1041094"/>
                <a:gd name="connsiteX11" fmla="*/ 2317765 w 3112471"/>
                <a:gd name="connsiteY11" fmla="*/ 863187 h 1041094"/>
                <a:gd name="connsiteX12" fmla="*/ 2263098 w 3112471"/>
                <a:gd name="connsiteY12" fmla="*/ 817619 h 1041094"/>
                <a:gd name="connsiteX13" fmla="*/ 2187677 w 3112471"/>
                <a:gd name="connsiteY13" fmla="*/ 784233 h 1041094"/>
                <a:gd name="connsiteX14" fmla="*/ 2070937 w 3112471"/>
                <a:gd name="connsiteY14" fmla="*/ 764271 h 1041094"/>
                <a:gd name="connsiteX15" fmla="*/ 2040695 w 3112471"/>
                <a:gd name="connsiteY15" fmla="*/ 754667 h 1041094"/>
                <a:gd name="connsiteX16" fmla="*/ 1960225 w 3112471"/>
                <a:gd name="connsiteY16" fmla="*/ 724705 h 1041094"/>
                <a:gd name="connsiteX17" fmla="*/ 1879199 w 3112471"/>
                <a:gd name="connsiteY17" fmla="*/ 763626 h 1041094"/>
                <a:gd name="connsiteX18" fmla="*/ 1748144 w 3112471"/>
                <a:gd name="connsiteY18" fmla="*/ 799033 h 1041094"/>
                <a:gd name="connsiteX19" fmla="*/ 1603084 w 3112471"/>
                <a:gd name="connsiteY19" fmla="*/ 804233 h 1041094"/>
                <a:gd name="connsiteX20" fmla="*/ 1474660 w 3112471"/>
                <a:gd name="connsiteY20" fmla="*/ 814873 h 1041094"/>
                <a:gd name="connsiteX21" fmla="*/ 1290553 w 3112471"/>
                <a:gd name="connsiteY21" fmla="*/ 789044 h 1041094"/>
                <a:gd name="connsiteX22" fmla="*/ 1129018 w 3112471"/>
                <a:gd name="connsiteY22" fmla="*/ 773295 h 1041094"/>
                <a:gd name="connsiteX23" fmla="*/ 1086800 w 3112471"/>
                <a:gd name="connsiteY23" fmla="*/ 741674 h 1041094"/>
                <a:gd name="connsiteX24" fmla="*/ 1004145 w 3112471"/>
                <a:gd name="connsiteY24" fmla="*/ 654886 h 1041094"/>
                <a:gd name="connsiteX25" fmla="*/ 933520 w 3112471"/>
                <a:gd name="connsiteY25" fmla="*/ 585757 h 1041094"/>
                <a:gd name="connsiteX26" fmla="*/ 843822 w 3112471"/>
                <a:gd name="connsiteY26" fmla="*/ 531982 h 1041094"/>
                <a:gd name="connsiteX27" fmla="*/ 722851 w 3112471"/>
                <a:gd name="connsiteY27" fmla="*/ 498260 h 1041094"/>
                <a:gd name="connsiteX28" fmla="*/ 628506 w 3112471"/>
                <a:gd name="connsiteY28" fmla="*/ 440022 h 1041094"/>
                <a:gd name="connsiteX29" fmla="*/ 510140 w 3112471"/>
                <a:gd name="connsiteY29" fmla="*/ 306866 h 1041094"/>
                <a:gd name="connsiteX30" fmla="*/ 328984 w 3112471"/>
                <a:gd name="connsiteY30" fmla="*/ 219058 h 1041094"/>
                <a:gd name="connsiteX31" fmla="*/ 155444 w 3112471"/>
                <a:gd name="connsiteY31" fmla="*/ 105278 h 1041094"/>
                <a:gd name="connsiteX32" fmla="*/ 0 w 3112471"/>
                <a:gd name="connsiteY32" fmla="*/ 0 h 1041094"/>
                <a:gd name="connsiteX0" fmla="*/ 3112471 w 3112471"/>
                <a:gd name="connsiteY0" fmla="*/ 955981 h 1041094"/>
                <a:gd name="connsiteX1" fmla="*/ 3022899 w 3112471"/>
                <a:gd name="connsiteY1" fmla="*/ 946391 h 1041094"/>
                <a:gd name="connsiteX2" fmla="*/ 2960168 w 3112471"/>
                <a:gd name="connsiteY2" fmla="*/ 901961 h 1041094"/>
                <a:gd name="connsiteX3" fmla="*/ 2864550 w 3112471"/>
                <a:gd name="connsiteY3" fmla="*/ 935608 h 1041094"/>
                <a:gd name="connsiteX4" fmla="*/ 2734414 w 3112471"/>
                <a:gd name="connsiteY4" fmla="*/ 982882 h 1041094"/>
                <a:gd name="connsiteX5" fmla="*/ 2645758 w 3112471"/>
                <a:gd name="connsiteY5" fmla="*/ 964207 h 1041094"/>
                <a:gd name="connsiteX6" fmla="*/ 2584734 w 3112471"/>
                <a:gd name="connsiteY6" fmla="*/ 956818 h 1041094"/>
                <a:gd name="connsiteX7" fmla="*/ 2482365 w 3112471"/>
                <a:gd name="connsiteY7" fmla="*/ 1040239 h 1041094"/>
                <a:gd name="connsiteX8" fmla="*/ 2386004 w 3112471"/>
                <a:gd name="connsiteY8" fmla="*/ 996432 h 1041094"/>
                <a:gd name="connsiteX9" fmla="*/ 2376905 w 3112471"/>
                <a:gd name="connsiteY9" fmla="*/ 937292 h 1041094"/>
                <a:gd name="connsiteX10" fmla="*/ 2352543 w 3112471"/>
                <a:gd name="connsiteY10" fmla="*/ 916163 h 1041094"/>
                <a:gd name="connsiteX11" fmla="*/ 2317765 w 3112471"/>
                <a:gd name="connsiteY11" fmla="*/ 863187 h 1041094"/>
                <a:gd name="connsiteX12" fmla="*/ 2263098 w 3112471"/>
                <a:gd name="connsiteY12" fmla="*/ 817619 h 1041094"/>
                <a:gd name="connsiteX13" fmla="*/ 2187677 w 3112471"/>
                <a:gd name="connsiteY13" fmla="*/ 784233 h 1041094"/>
                <a:gd name="connsiteX14" fmla="*/ 2070937 w 3112471"/>
                <a:gd name="connsiteY14" fmla="*/ 764271 h 1041094"/>
                <a:gd name="connsiteX15" fmla="*/ 2040695 w 3112471"/>
                <a:gd name="connsiteY15" fmla="*/ 754667 h 1041094"/>
                <a:gd name="connsiteX16" fmla="*/ 1960225 w 3112471"/>
                <a:gd name="connsiteY16" fmla="*/ 724705 h 1041094"/>
                <a:gd name="connsiteX17" fmla="*/ 1879199 w 3112471"/>
                <a:gd name="connsiteY17" fmla="*/ 763626 h 1041094"/>
                <a:gd name="connsiteX18" fmla="*/ 1748144 w 3112471"/>
                <a:gd name="connsiteY18" fmla="*/ 799033 h 1041094"/>
                <a:gd name="connsiteX19" fmla="*/ 1603084 w 3112471"/>
                <a:gd name="connsiteY19" fmla="*/ 804233 h 1041094"/>
                <a:gd name="connsiteX20" fmla="*/ 1474660 w 3112471"/>
                <a:gd name="connsiteY20" fmla="*/ 814873 h 1041094"/>
                <a:gd name="connsiteX21" fmla="*/ 1290553 w 3112471"/>
                <a:gd name="connsiteY21" fmla="*/ 789044 h 1041094"/>
                <a:gd name="connsiteX22" fmla="*/ 1129018 w 3112471"/>
                <a:gd name="connsiteY22" fmla="*/ 773295 h 1041094"/>
                <a:gd name="connsiteX23" fmla="*/ 1086800 w 3112471"/>
                <a:gd name="connsiteY23" fmla="*/ 741674 h 1041094"/>
                <a:gd name="connsiteX24" fmla="*/ 1004145 w 3112471"/>
                <a:gd name="connsiteY24" fmla="*/ 654886 h 1041094"/>
                <a:gd name="connsiteX25" fmla="*/ 933520 w 3112471"/>
                <a:gd name="connsiteY25" fmla="*/ 585757 h 1041094"/>
                <a:gd name="connsiteX26" fmla="*/ 843822 w 3112471"/>
                <a:gd name="connsiteY26" fmla="*/ 531982 h 1041094"/>
                <a:gd name="connsiteX27" fmla="*/ 722851 w 3112471"/>
                <a:gd name="connsiteY27" fmla="*/ 498260 h 1041094"/>
                <a:gd name="connsiteX28" fmla="*/ 628506 w 3112471"/>
                <a:gd name="connsiteY28" fmla="*/ 440022 h 1041094"/>
                <a:gd name="connsiteX29" fmla="*/ 510140 w 3112471"/>
                <a:gd name="connsiteY29" fmla="*/ 306866 h 1041094"/>
                <a:gd name="connsiteX30" fmla="*/ 328984 w 3112471"/>
                <a:gd name="connsiteY30" fmla="*/ 219058 h 1041094"/>
                <a:gd name="connsiteX31" fmla="*/ 155444 w 3112471"/>
                <a:gd name="connsiteY31" fmla="*/ 105278 h 1041094"/>
                <a:gd name="connsiteX32" fmla="*/ 0 w 3112471"/>
                <a:gd name="connsiteY32" fmla="*/ 0 h 1041094"/>
                <a:gd name="connsiteX0" fmla="*/ 3112471 w 3112471"/>
                <a:gd name="connsiteY0" fmla="*/ 955981 h 1041094"/>
                <a:gd name="connsiteX1" fmla="*/ 3030280 w 3112471"/>
                <a:gd name="connsiteY1" fmla="*/ 939209 h 1041094"/>
                <a:gd name="connsiteX2" fmla="*/ 2960168 w 3112471"/>
                <a:gd name="connsiteY2" fmla="*/ 901961 h 1041094"/>
                <a:gd name="connsiteX3" fmla="*/ 2864550 w 3112471"/>
                <a:gd name="connsiteY3" fmla="*/ 935608 h 1041094"/>
                <a:gd name="connsiteX4" fmla="*/ 2734414 w 3112471"/>
                <a:gd name="connsiteY4" fmla="*/ 982882 h 1041094"/>
                <a:gd name="connsiteX5" fmla="*/ 2645758 w 3112471"/>
                <a:gd name="connsiteY5" fmla="*/ 964207 h 1041094"/>
                <a:gd name="connsiteX6" fmla="*/ 2584734 w 3112471"/>
                <a:gd name="connsiteY6" fmla="*/ 956818 h 1041094"/>
                <a:gd name="connsiteX7" fmla="*/ 2482365 w 3112471"/>
                <a:gd name="connsiteY7" fmla="*/ 1040239 h 1041094"/>
                <a:gd name="connsiteX8" fmla="*/ 2386004 w 3112471"/>
                <a:gd name="connsiteY8" fmla="*/ 996432 h 1041094"/>
                <a:gd name="connsiteX9" fmla="*/ 2376905 w 3112471"/>
                <a:gd name="connsiteY9" fmla="*/ 937292 h 1041094"/>
                <a:gd name="connsiteX10" fmla="*/ 2352543 w 3112471"/>
                <a:gd name="connsiteY10" fmla="*/ 916163 h 1041094"/>
                <a:gd name="connsiteX11" fmla="*/ 2317765 w 3112471"/>
                <a:gd name="connsiteY11" fmla="*/ 863187 h 1041094"/>
                <a:gd name="connsiteX12" fmla="*/ 2263098 w 3112471"/>
                <a:gd name="connsiteY12" fmla="*/ 817619 h 1041094"/>
                <a:gd name="connsiteX13" fmla="*/ 2187677 w 3112471"/>
                <a:gd name="connsiteY13" fmla="*/ 784233 h 1041094"/>
                <a:gd name="connsiteX14" fmla="*/ 2070937 w 3112471"/>
                <a:gd name="connsiteY14" fmla="*/ 764271 h 1041094"/>
                <a:gd name="connsiteX15" fmla="*/ 2040695 w 3112471"/>
                <a:gd name="connsiteY15" fmla="*/ 754667 h 1041094"/>
                <a:gd name="connsiteX16" fmla="*/ 1960225 w 3112471"/>
                <a:gd name="connsiteY16" fmla="*/ 724705 h 1041094"/>
                <a:gd name="connsiteX17" fmla="*/ 1879199 w 3112471"/>
                <a:gd name="connsiteY17" fmla="*/ 763626 h 1041094"/>
                <a:gd name="connsiteX18" fmla="*/ 1748144 w 3112471"/>
                <a:gd name="connsiteY18" fmla="*/ 799033 h 1041094"/>
                <a:gd name="connsiteX19" fmla="*/ 1603084 w 3112471"/>
                <a:gd name="connsiteY19" fmla="*/ 804233 h 1041094"/>
                <a:gd name="connsiteX20" fmla="*/ 1474660 w 3112471"/>
                <a:gd name="connsiteY20" fmla="*/ 814873 h 1041094"/>
                <a:gd name="connsiteX21" fmla="*/ 1290553 w 3112471"/>
                <a:gd name="connsiteY21" fmla="*/ 789044 h 1041094"/>
                <a:gd name="connsiteX22" fmla="*/ 1129018 w 3112471"/>
                <a:gd name="connsiteY22" fmla="*/ 773295 h 1041094"/>
                <a:gd name="connsiteX23" fmla="*/ 1086800 w 3112471"/>
                <a:gd name="connsiteY23" fmla="*/ 741674 h 1041094"/>
                <a:gd name="connsiteX24" fmla="*/ 1004145 w 3112471"/>
                <a:gd name="connsiteY24" fmla="*/ 654886 h 1041094"/>
                <a:gd name="connsiteX25" fmla="*/ 933520 w 3112471"/>
                <a:gd name="connsiteY25" fmla="*/ 585757 h 1041094"/>
                <a:gd name="connsiteX26" fmla="*/ 843822 w 3112471"/>
                <a:gd name="connsiteY26" fmla="*/ 531982 h 1041094"/>
                <a:gd name="connsiteX27" fmla="*/ 722851 w 3112471"/>
                <a:gd name="connsiteY27" fmla="*/ 498260 h 1041094"/>
                <a:gd name="connsiteX28" fmla="*/ 628506 w 3112471"/>
                <a:gd name="connsiteY28" fmla="*/ 440022 h 1041094"/>
                <a:gd name="connsiteX29" fmla="*/ 510140 w 3112471"/>
                <a:gd name="connsiteY29" fmla="*/ 306866 h 1041094"/>
                <a:gd name="connsiteX30" fmla="*/ 328984 w 3112471"/>
                <a:gd name="connsiteY30" fmla="*/ 219058 h 1041094"/>
                <a:gd name="connsiteX31" fmla="*/ 155444 w 3112471"/>
                <a:gd name="connsiteY31" fmla="*/ 105278 h 1041094"/>
                <a:gd name="connsiteX32" fmla="*/ 0 w 3112471"/>
                <a:gd name="connsiteY32" fmla="*/ 0 h 1041094"/>
                <a:gd name="connsiteX0" fmla="*/ 3112471 w 3112471"/>
                <a:gd name="connsiteY0" fmla="*/ 955981 h 1041069"/>
                <a:gd name="connsiteX1" fmla="*/ 3030280 w 3112471"/>
                <a:gd name="connsiteY1" fmla="*/ 939209 h 1041069"/>
                <a:gd name="connsiteX2" fmla="*/ 2960168 w 3112471"/>
                <a:gd name="connsiteY2" fmla="*/ 901961 h 1041069"/>
                <a:gd name="connsiteX3" fmla="*/ 2864550 w 3112471"/>
                <a:gd name="connsiteY3" fmla="*/ 935608 h 1041069"/>
                <a:gd name="connsiteX4" fmla="*/ 2734414 w 3112471"/>
                <a:gd name="connsiteY4" fmla="*/ 982882 h 1041069"/>
                <a:gd name="connsiteX5" fmla="*/ 2645758 w 3112471"/>
                <a:gd name="connsiteY5" fmla="*/ 964207 h 1041069"/>
                <a:gd name="connsiteX6" fmla="*/ 2584734 w 3112471"/>
                <a:gd name="connsiteY6" fmla="*/ 956818 h 1041069"/>
                <a:gd name="connsiteX7" fmla="*/ 2482365 w 3112471"/>
                <a:gd name="connsiteY7" fmla="*/ 1040239 h 1041069"/>
                <a:gd name="connsiteX8" fmla="*/ 2386004 w 3112471"/>
                <a:gd name="connsiteY8" fmla="*/ 996432 h 1041069"/>
                <a:gd name="connsiteX9" fmla="*/ 2408890 w 3112471"/>
                <a:gd name="connsiteY9" fmla="*/ 944474 h 1041069"/>
                <a:gd name="connsiteX10" fmla="*/ 2352543 w 3112471"/>
                <a:gd name="connsiteY10" fmla="*/ 916163 h 1041069"/>
                <a:gd name="connsiteX11" fmla="*/ 2317765 w 3112471"/>
                <a:gd name="connsiteY11" fmla="*/ 863187 h 1041069"/>
                <a:gd name="connsiteX12" fmla="*/ 2263098 w 3112471"/>
                <a:gd name="connsiteY12" fmla="*/ 817619 h 1041069"/>
                <a:gd name="connsiteX13" fmla="*/ 2187677 w 3112471"/>
                <a:gd name="connsiteY13" fmla="*/ 784233 h 1041069"/>
                <a:gd name="connsiteX14" fmla="*/ 2070937 w 3112471"/>
                <a:gd name="connsiteY14" fmla="*/ 764271 h 1041069"/>
                <a:gd name="connsiteX15" fmla="*/ 2040695 w 3112471"/>
                <a:gd name="connsiteY15" fmla="*/ 754667 h 1041069"/>
                <a:gd name="connsiteX16" fmla="*/ 1960225 w 3112471"/>
                <a:gd name="connsiteY16" fmla="*/ 724705 h 1041069"/>
                <a:gd name="connsiteX17" fmla="*/ 1879199 w 3112471"/>
                <a:gd name="connsiteY17" fmla="*/ 763626 h 1041069"/>
                <a:gd name="connsiteX18" fmla="*/ 1748144 w 3112471"/>
                <a:gd name="connsiteY18" fmla="*/ 799033 h 1041069"/>
                <a:gd name="connsiteX19" fmla="*/ 1603084 w 3112471"/>
                <a:gd name="connsiteY19" fmla="*/ 804233 h 1041069"/>
                <a:gd name="connsiteX20" fmla="*/ 1474660 w 3112471"/>
                <a:gd name="connsiteY20" fmla="*/ 814873 h 1041069"/>
                <a:gd name="connsiteX21" fmla="*/ 1290553 w 3112471"/>
                <a:gd name="connsiteY21" fmla="*/ 789044 h 1041069"/>
                <a:gd name="connsiteX22" fmla="*/ 1129018 w 3112471"/>
                <a:gd name="connsiteY22" fmla="*/ 773295 h 1041069"/>
                <a:gd name="connsiteX23" fmla="*/ 1086800 w 3112471"/>
                <a:gd name="connsiteY23" fmla="*/ 741674 h 1041069"/>
                <a:gd name="connsiteX24" fmla="*/ 1004145 w 3112471"/>
                <a:gd name="connsiteY24" fmla="*/ 654886 h 1041069"/>
                <a:gd name="connsiteX25" fmla="*/ 933520 w 3112471"/>
                <a:gd name="connsiteY25" fmla="*/ 585757 h 1041069"/>
                <a:gd name="connsiteX26" fmla="*/ 843822 w 3112471"/>
                <a:gd name="connsiteY26" fmla="*/ 531982 h 1041069"/>
                <a:gd name="connsiteX27" fmla="*/ 722851 w 3112471"/>
                <a:gd name="connsiteY27" fmla="*/ 498260 h 1041069"/>
                <a:gd name="connsiteX28" fmla="*/ 628506 w 3112471"/>
                <a:gd name="connsiteY28" fmla="*/ 440022 h 1041069"/>
                <a:gd name="connsiteX29" fmla="*/ 510140 w 3112471"/>
                <a:gd name="connsiteY29" fmla="*/ 306866 h 1041069"/>
                <a:gd name="connsiteX30" fmla="*/ 328984 w 3112471"/>
                <a:gd name="connsiteY30" fmla="*/ 219058 h 1041069"/>
                <a:gd name="connsiteX31" fmla="*/ 155444 w 3112471"/>
                <a:gd name="connsiteY31" fmla="*/ 105278 h 1041069"/>
                <a:gd name="connsiteX32" fmla="*/ 0 w 3112471"/>
                <a:gd name="connsiteY32" fmla="*/ 0 h 1041069"/>
                <a:gd name="connsiteX0" fmla="*/ 3112471 w 3112471"/>
                <a:gd name="connsiteY0" fmla="*/ 955981 h 1041069"/>
                <a:gd name="connsiteX1" fmla="*/ 3030280 w 3112471"/>
                <a:gd name="connsiteY1" fmla="*/ 939209 h 1041069"/>
                <a:gd name="connsiteX2" fmla="*/ 2960168 w 3112471"/>
                <a:gd name="connsiteY2" fmla="*/ 901961 h 1041069"/>
                <a:gd name="connsiteX3" fmla="*/ 2864550 w 3112471"/>
                <a:gd name="connsiteY3" fmla="*/ 935608 h 1041069"/>
                <a:gd name="connsiteX4" fmla="*/ 2734414 w 3112471"/>
                <a:gd name="connsiteY4" fmla="*/ 982882 h 1041069"/>
                <a:gd name="connsiteX5" fmla="*/ 2645758 w 3112471"/>
                <a:gd name="connsiteY5" fmla="*/ 964207 h 1041069"/>
                <a:gd name="connsiteX6" fmla="*/ 2584734 w 3112471"/>
                <a:gd name="connsiteY6" fmla="*/ 956818 h 1041069"/>
                <a:gd name="connsiteX7" fmla="*/ 2482365 w 3112471"/>
                <a:gd name="connsiteY7" fmla="*/ 1040239 h 1041069"/>
                <a:gd name="connsiteX8" fmla="*/ 2386004 w 3112471"/>
                <a:gd name="connsiteY8" fmla="*/ 996432 h 1041069"/>
                <a:gd name="connsiteX9" fmla="*/ 2408890 w 3112471"/>
                <a:gd name="connsiteY9" fmla="*/ 944474 h 1041069"/>
                <a:gd name="connsiteX10" fmla="*/ 2361602 w 3112471"/>
                <a:gd name="connsiteY10" fmla="*/ 902312 h 1041069"/>
                <a:gd name="connsiteX11" fmla="*/ 2352543 w 3112471"/>
                <a:gd name="connsiteY11" fmla="*/ 916163 h 1041069"/>
                <a:gd name="connsiteX12" fmla="*/ 2317765 w 3112471"/>
                <a:gd name="connsiteY12" fmla="*/ 863187 h 1041069"/>
                <a:gd name="connsiteX13" fmla="*/ 2263098 w 3112471"/>
                <a:gd name="connsiteY13" fmla="*/ 817619 h 1041069"/>
                <a:gd name="connsiteX14" fmla="*/ 2187677 w 3112471"/>
                <a:gd name="connsiteY14" fmla="*/ 784233 h 1041069"/>
                <a:gd name="connsiteX15" fmla="*/ 2070937 w 3112471"/>
                <a:gd name="connsiteY15" fmla="*/ 764271 h 1041069"/>
                <a:gd name="connsiteX16" fmla="*/ 2040695 w 3112471"/>
                <a:gd name="connsiteY16" fmla="*/ 754667 h 1041069"/>
                <a:gd name="connsiteX17" fmla="*/ 1960225 w 3112471"/>
                <a:gd name="connsiteY17" fmla="*/ 724705 h 1041069"/>
                <a:gd name="connsiteX18" fmla="*/ 1879199 w 3112471"/>
                <a:gd name="connsiteY18" fmla="*/ 763626 h 1041069"/>
                <a:gd name="connsiteX19" fmla="*/ 1748144 w 3112471"/>
                <a:gd name="connsiteY19" fmla="*/ 799033 h 1041069"/>
                <a:gd name="connsiteX20" fmla="*/ 1603084 w 3112471"/>
                <a:gd name="connsiteY20" fmla="*/ 804233 h 1041069"/>
                <a:gd name="connsiteX21" fmla="*/ 1474660 w 3112471"/>
                <a:gd name="connsiteY21" fmla="*/ 814873 h 1041069"/>
                <a:gd name="connsiteX22" fmla="*/ 1290553 w 3112471"/>
                <a:gd name="connsiteY22" fmla="*/ 789044 h 1041069"/>
                <a:gd name="connsiteX23" fmla="*/ 1129018 w 3112471"/>
                <a:gd name="connsiteY23" fmla="*/ 773295 h 1041069"/>
                <a:gd name="connsiteX24" fmla="*/ 1086800 w 3112471"/>
                <a:gd name="connsiteY24" fmla="*/ 741674 h 1041069"/>
                <a:gd name="connsiteX25" fmla="*/ 1004145 w 3112471"/>
                <a:gd name="connsiteY25" fmla="*/ 654886 h 1041069"/>
                <a:gd name="connsiteX26" fmla="*/ 933520 w 3112471"/>
                <a:gd name="connsiteY26" fmla="*/ 585757 h 1041069"/>
                <a:gd name="connsiteX27" fmla="*/ 843822 w 3112471"/>
                <a:gd name="connsiteY27" fmla="*/ 531982 h 1041069"/>
                <a:gd name="connsiteX28" fmla="*/ 722851 w 3112471"/>
                <a:gd name="connsiteY28" fmla="*/ 498260 h 1041069"/>
                <a:gd name="connsiteX29" fmla="*/ 628506 w 3112471"/>
                <a:gd name="connsiteY29" fmla="*/ 440022 h 1041069"/>
                <a:gd name="connsiteX30" fmla="*/ 510140 w 3112471"/>
                <a:gd name="connsiteY30" fmla="*/ 306866 h 1041069"/>
                <a:gd name="connsiteX31" fmla="*/ 328984 w 3112471"/>
                <a:gd name="connsiteY31" fmla="*/ 219058 h 1041069"/>
                <a:gd name="connsiteX32" fmla="*/ 155444 w 3112471"/>
                <a:gd name="connsiteY32" fmla="*/ 105278 h 1041069"/>
                <a:gd name="connsiteX33" fmla="*/ 0 w 3112471"/>
                <a:gd name="connsiteY33" fmla="*/ 0 h 1041069"/>
                <a:gd name="connsiteX0" fmla="*/ 3112471 w 3112471"/>
                <a:gd name="connsiteY0" fmla="*/ 955981 h 1041069"/>
                <a:gd name="connsiteX1" fmla="*/ 3030280 w 3112471"/>
                <a:gd name="connsiteY1" fmla="*/ 939209 h 1041069"/>
                <a:gd name="connsiteX2" fmla="*/ 2960168 w 3112471"/>
                <a:gd name="connsiteY2" fmla="*/ 901961 h 1041069"/>
                <a:gd name="connsiteX3" fmla="*/ 2864550 w 3112471"/>
                <a:gd name="connsiteY3" fmla="*/ 935608 h 1041069"/>
                <a:gd name="connsiteX4" fmla="*/ 2734414 w 3112471"/>
                <a:gd name="connsiteY4" fmla="*/ 982882 h 1041069"/>
                <a:gd name="connsiteX5" fmla="*/ 2645758 w 3112471"/>
                <a:gd name="connsiteY5" fmla="*/ 964207 h 1041069"/>
                <a:gd name="connsiteX6" fmla="*/ 2584734 w 3112471"/>
                <a:gd name="connsiteY6" fmla="*/ 956818 h 1041069"/>
                <a:gd name="connsiteX7" fmla="*/ 2482365 w 3112471"/>
                <a:gd name="connsiteY7" fmla="*/ 1040239 h 1041069"/>
                <a:gd name="connsiteX8" fmla="*/ 2386004 w 3112471"/>
                <a:gd name="connsiteY8" fmla="*/ 996432 h 1041069"/>
                <a:gd name="connsiteX9" fmla="*/ 2408890 w 3112471"/>
                <a:gd name="connsiteY9" fmla="*/ 944474 h 1041069"/>
                <a:gd name="connsiteX10" fmla="*/ 2361602 w 3112471"/>
                <a:gd name="connsiteY10" fmla="*/ 902312 h 1041069"/>
                <a:gd name="connsiteX11" fmla="*/ 2352543 w 3112471"/>
                <a:gd name="connsiteY11" fmla="*/ 916163 h 1041069"/>
                <a:gd name="connsiteX12" fmla="*/ 2317765 w 3112471"/>
                <a:gd name="connsiteY12" fmla="*/ 863187 h 1041069"/>
                <a:gd name="connsiteX13" fmla="*/ 2263098 w 3112471"/>
                <a:gd name="connsiteY13" fmla="*/ 817619 h 1041069"/>
                <a:gd name="connsiteX14" fmla="*/ 2187677 w 3112471"/>
                <a:gd name="connsiteY14" fmla="*/ 784233 h 1041069"/>
                <a:gd name="connsiteX15" fmla="*/ 2070937 w 3112471"/>
                <a:gd name="connsiteY15" fmla="*/ 764271 h 1041069"/>
                <a:gd name="connsiteX16" fmla="*/ 2040695 w 3112471"/>
                <a:gd name="connsiteY16" fmla="*/ 754667 h 1041069"/>
                <a:gd name="connsiteX17" fmla="*/ 1960225 w 3112471"/>
                <a:gd name="connsiteY17" fmla="*/ 724705 h 1041069"/>
                <a:gd name="connsiteX18" fmla="*/ 1879199 w 3112471"/>
                <a:gd name="connsiteY18" fmla="*/ 763626 h 1041069"/>
                <a:gd name="connsiteX19" fmla="*/ 1748144 w 3112471"/>
                <a:gd name="connsiteY19" fmla="*/ 799033 h 1041069"/>
                <a:gd name="connsiteX20" fmla="*/ 1603084 w 3112471"/>
                <a:gd name="connsiteY20" fmla="*/ 804233 h 1041069"/>
                <a:gd name="connsiteX21" fmla="*/ 1474660 w 3112471"/>
                <a:gd name="connsiteY21" fmla="*/ 814873 h 1041069"/>
                <a:gd name="connsiteX22" fmla="*/ 1290553 w 3112471"/>
                <a:gd name="connsiteY22" fmla="*/ 789044 h 1041069"/>
                <a:gd name="connsiteX23" fmla="*/ 1129018 w 3112471"/>
                <a:gd name="connsiteY23" fmla="*/ 773295 h 1041069"/>
                <a:gd name="connsiteX24" fmla="*/ 1086800 w 3112471"/>
                <a:gd name="connsiteY24" fmla="*/ 741674 h 1041069"/>
                <a:gd name="connsiteX25" fmla="*/ 1004145 w 3112471"/>
                <a:gd name="connsiteY25" fmla="*/ 654886 h 1041069"/>
                <a:gd name="connsiteX26" fmla="*/ 933520 w 3112471"/>
                <a:gd name="connsiteY26" fmla="*/ 585757 h 1041069"/>
                <a:gd name="connsiteX27" fmla="*/ 843822 w 3112471"/>
                <a:gd name="connsiteY27" fmla="*/ 531982 h 1041069"/>
                <a:gd name="connsiteX28" fmla="*/ 722851 w 3112471"/>
                <a:gd name="connsiteY28" fmla="*/ 498260 h 1041069"/>
                <a:gd name="connsiteX29" fmla="*/ 628506 w 3112471"/>
                <a:gd name="connsiteY29" fmla="*/ 440022 h 1041069"/>
                <a:gd name="connsiteX30" fmla="*/ 510140 w 3112471"/>
                <a:gd name="connsiteY30" fmla="*/ 306866 h 1041069"/>
                <a:gd name="connsiteX31" fmla="*/ 328984 w 3112471"/>
                <a:gd name="connsiteY31" fmla="*/ 219058 h 1041069"/>
                <a:gd name="connsiteX32" fmla="*/ 155444 w 3112471"/>
                <a:gd name="connsiteY32" fmla="*/ 105278 h 1041069"/>
                <a:gd name="connsiteX33" fmla="*/ 0 w 3112471"/>
                <a:gd name="connsiteY33" fmla="*/ 0 h 1041069"/>
                <a:gd name="connsiteX0" fmla="*/ 3112471 w 3112471"/>
                <a:gd name="connsiteY0" fmla="*/ 955981 h 1041069"/>
                <a:gd name="connsiteX1" fmla="*/ 3030280 w 3112471"/>
                <a:gd name="connsiteY1" fmla="*/ 939209 h 1041069"/>
                <a:gd name="connsiteX2" fmla="*/ 2960168 w 3112471"/>
                <a:gd name="connsiteY2" fmla="*/ 901961 h 1041069"/>
                <a:gd name="connsiteX3" fmla="*/ 2864550 w 3112471"/>
                <a:gd name="connsiteY3" fmla="*/ 935608 h 1041069"/>
                <a:gd name="connsiteX4" fmla="*/ 2734414 w 3112471"/>
                <a:gd name="connsiteY4" fmla="*/ 982882 h 1041069"/>
                <a:gd name="connsiteX5" fmla="*/ 2645758 w 3112471"/>
                <a:gd name="connsiteY5" fmla="*/ 964207 h 1041069"/>
                <a:gd name="connsiteX6" fmla="*/ 2584734 w 3112471"/>
                <a:gd name="connsiteY6" fmla="*/ 956818 h 1041069"/>
                <a:gd name="connsiteX7" fmla="*/ 2482365 w 3112471"/>
                <a:gd name="connsiteY7" fmla="*/ 1040239 h 1041069"/>
                <a:gd name="connsiteX8" fmla="*/ 2386004 w 3112471"/>
                <a:gd name="connsiteY8" fmla="*/ 996432 h 1041069"/>
                <a:gd name="connsiteX9" fmla="*/ 2408890 w 3112471"/>
                <a:gd name="connsiteY9" fmla="*/ 944474 h 1041069"/>
                <a:gd name="connsiteX10" fmla="*/ 2361602 w 3112471"/>
                <a:gd name="connsiteY10" fmla="*/ 902312 h 1041069"/>
                <a:gd name="connsiteX11" fmla="*/ 2352543 w 3112471"/>
                <a:gd name="connsiteY11" fmla="*/ 916163 h 1041069"/>
                <a:gd name="connsiteX12" fmla="*/ 2317765 w 3112471"/>
                <a:gd name="connsiteY12" fmla="*/ 863187 h 1041069"/>
                <a:gd name="connsiteX13" fmla="*/ 2263098 w 3112471"/>
                <a:gd name="connsiteY13" fmla="*/ 817619 h 1041069"/>
                <a:gd name="connsiteX14" fmla="*/ 2187677 w 3112471"/>
                <a:gd name="connsiteY14" fmla="*/ 784233 h 1041069"/>
                <a:gd name="connsiteX15" fmla="*/ 2070937 w 3112471"/>
                <a:gd name="connsiteY15" fmla="*/ 764271 h 1041069"/>
                <a:gd name="connsiteX16" fmla="*/ 2040695 w 3112471"/>
                <a:gd name="connsiteY16" fmla="*/ 754667 h 1041069"/>
                <a:gd name="connsiteX17" fmla="*/ 1960225 w 3112471"/>
                <a:gd name="connsiteY17" fmla="*/ 724705 h 1041069"/>
                <a:gd name="connsiteX18" fmla="*/ 1879199 w 3112471"/>
                <a:gd name="connsiteY18" fmla="*/ 763626 h 1041069"/>
                <a:gd name="connsiteX19" fmla="*/ 1748144 w 3112471"/>
                <a:gd name="connsiteY19" fmla="*/ 799033 h 1041069"/>
                <a:gd name="connsiteX20" fmla="*/ 1603084 w 3112471"/>
                <a:gd name="connsiteY20" fmla="*/ 804233 h 1041069"/>
                <a:gd name="connsiteX21" fmla="*/ 1474660 w 3112471"/>
                <a:gd name="connsiteY21" fmla="*/ 814873 h 1041069"/>
                <a:gd name="connsiteX22" fmla="*/ 1290553 w 3112471"/>
                <a:gd name="connsiteY22" fmla="*/ 789044 h 1041069"/>
                <a:gd name="connsiteX23" fmla="*/ 1129018 w 3112471"/>
                <a:gd name="connsiteY23" fmla="*/ 773295 h 1041069"/>
                <a:gd name="connsiteX24" fmla="*/ 1086800 w 3112471"/>
                <a:gd name="connsiteY24" fmla="*/ 741674 h 1041069"/>
                <a:gd name="connsiteX25" fmla="*/ 1004145 w 3112471"/>
                <a:gd name="connsiteY25" fmla="*/ 654886 h 1041069"/>
                <a:gd name="connsiteX26" fmla="*/ 933520 w 3112471"/>
                <a:gd name="connsiteY26" fmla="*/ 585757 h 1041069"/>
                <a:gd name="connsiteX27" fmla="*/ 843822 w 3112471"/>
                <a:gd name="connsiteY27" fmla="*/ 531982 h 1041069"/>
                <a:gd name="connsiteX28" fmla="*/ 722851 w 3112471"/>
                <a:gd name="connsiteY28" fmla="*/ 498260 h 1041069"/>
                <a:gd name="connsiteX29" fmla="*/ 628506 w 3112471"/>
                <a:gd name="connsiteY29" fmla="*/ 440022 h 1041069"/>
                <a:gd name="connsiteX30" fmla="*/ 510140 w 3112471"/>
                <a:gd name="connsiteY30" fmla="*/ 306866 h 1041069"/>
                <a:gd name="connsiteX31" fmla="*/ 328984 w 3112471"/>
                <a:gd name="connsiteY31" fmla="*/ 219058 h 1041069"/>
                <a:gd name="connsiteX32" fmla="*/ 155444 w 3112471"/>
                <a:gd name="connsiteY32" fmla="*/ 105278 h 1041069"/>
                <a:gd name="connsiteX33" fmla="*/ 0 w 3112471"/>
                <a:gd name="connsiteY33" fmla="*/ 0 h 1041069"/>
                <a:gd name="connsiteX0" fmla="*/ 3112471 w 3112471"/>
                <a:gd name="connsiteY0" fmla="*/ 955981 h 1041069"/>
                <a:gd name="connsiteX1" fmla="*/ 3030280 w 3112471"/>
                <a:gd name="connsiteY1" fmla="*/ 939209 h 1041069"/>
                <a:gd name="connsiteX2" fmla="*/ 2960168 w 3112471"/>
                <a:gd name="connsiteY2" fmla="*/ 901961 h 1041069"/>
                <a:gd name="connsiteX3" fmla="*/ 2864550 w 3112471"/>
                <a:gd name="connsiteY3" fmla="*/ 935608 h 1041069"/>
                <a:gd name="connsiteX4" fmla="*/ 2734414 w 3112471"/>
                <a:gd name="connsiteY4" fmla="*/ 982882 h 1041069"/>
                <a:gd name="connsiteX5" fmla="*/ 2645758 w 3112471"/>
                <a:gd name="connsiteY5" fmla="*/ 964207 h 1041069"/>
                <a:gd name="connsiteX6" fmla="*/ 2584734 w 3112471"/>
                <a:gd name="connsiteY6" fmla="*/ 956818 h 1041069"/>
                <a:gd name="connsiteX7" fmla="*/ 2482365 w 3112471"/>
                <a:gd name="connsiteY7" fmla="*/ 1040239 h 1041069"/>
                <a:gd name="connsiteX8" fmla="*/ 2386004 w 3112471"/>
                <a:gd name="connsiteY8" fmla="*/ 996432 h 1041069"/>
                <a:gd name="connsiteX9" fmla="*/ 2408890 w 3112471"/>
                <a:gd name="connsiteY9" fmla="*/ 944474 h 1041069"/>
                <a:gd name="connsiteX10" fmla="*/ 2361602 w 3112471"/>
                <a:gd name="connsiteY10" fmla="*/ 902312 h 1041069"/>
                <a:gd name="connsiteX11" fmla="*/ 2317765 w 3112471"/>
                <a:gd name="connsiteY11" fmla="*/ 863187 h 1041069"/>
                <a:gd name="connsiteX12" fmla="*/ 2263098 w 3112471"/>
                <a:gd name="connsiteY12" fmla="*/ 817619 h 1041069"/>
                <a:gd name="connsiteX13" fmla="*/ 2187677 w 3112471"/>
                <a:gd name="connsiteY13" fmla="*/ 784233 h 1041069"/>
                <a:gd name="connsiteX14" fmla="*/ 2070937 w 3112471"/>
                <a:gd name="connsiteY14" fmla="*/ 764271 h 1041069"/>
                <a:gd name="connsiteX15" fmla="*/ 2040695 w 3112471"/>
                <a:gd name="connsiteY15" fmla="*/ 754667 h 1041069"/>
                <a:gd name="connsiteX16" fmla="*/ 1960225 w 3112471"/>
                <a:gd name="connsiteY16" fmla="*/ 724705 h 1041069"/>
                <a:gd name="connsiteX17" fmla="*/ 1879199 w 3112471"/>
                <a:gd name="connsiteY17" fmla="*/ 763626 h 1041069"/>
                <a:gd name="connsiteX18" fmla="*/ 1748144 w 3112471"/>
                <a:gd name="connsiteY18" fmla="*/ 799033 h 1041069"/>
                <a:gd name="connsiteX19" fmla="*/ 1603084 w 3112471"/>
                <a:gd name="connsiteY19" fmla="*/ 804233 h 1041069"/>
                <a:gd name="connsiteX20" fmla="*/ 1474660 w 3112471"/>
                <a:gd name="connsiteY20" fmla="*/ 814873 h 1041069"/>
                <a:gd name="connsiteX21" fmla="*/ 1290553 w 3112471"/>
                <a:gd name="connsiteY21" fmla="*/ 789044 h 1041069"/>
                <a:gd name="connsiteX22" fmla="*/ 1129018 w 3112471"/>
                <a:gd name="connsiteY22" fmla="*/ 773295 h 1041069"/>
                <a:gd name="connsiteX23" fmla="*/ 1086800 w 3112471"/>
                <a:gd name="connsiteY23" fmla="*/ 741674 h 1041069"/>
                <a:gd name="connsiteX24" fmla="*/ 1004145 w 3112471"/>
                <a:gd name="connsiteY24" fmla="*/ 654886 h 1041069"/>
                <a:gd name="connsiteX25" fmla="*/ 933520 w 3112471"/>
                <a:gd name="connsiteY25" fmla="*/ 585757 h 1041069"/>
                <a:gd name="connsiteX26" fmla="*/ 843822 w 3112471"/>
                <a:gd name="connsiteY26" fmla="*/ 531982 h 1041069"/>
                <a:gd name="connsiteX27" fmla="*/ 722851 w 3112471"/>
                <a:gd name="connsiteY27" fmla="*/ 498260 h 1041069"/>
                <a:gd name="connsiteX28" fmla="*/ 628506 w 3112471"/>
                <a:gd name="connsiteY28" fmla="*/ 440022 h 1041069"/>
                <a:gd name="connsiteX29" fmla="*/ 510140 w 3112471"/>
                <a:gd name="connsiteY29" fmla="*/ 306866 h 1041069"/>
                <a:gd name="connsiteX30" fmla="*/ 328984 w 3112471"/>
                <a:gd name="connsiteY30" fmla="*/ 219058 h 1041069"/>
                <a:gd name="connsiteX31" fmla="*/ 155444 w 3112471"/>
                <a:gd name="connsiteY31" fmla="*/ 105278 h 1041069"/>
                <a:gd name="connsiteX32" fmla="*/ 0 w 3112471"/>
                <a:gd name="connsiteY32" fmla="*/ 0 h 1041069"/>
                <a:gd name="connsiteX0" fmla="*/ 3112471 w 3112471"/>
                <a:gd name="connsiteY0" fmla="*/ 955981 h 1041069"/>
                <a:gd name="connsiteX1" fmla="*/ 3030280 w 3112471"/>
                <a:gd name="connsiteY1" fmla="*/ 939209 h 1041069"/>
                <a:gd name="connsiteX2" fmla="*/ 2960168 w 3112471"/>
                <a:gd name="connsiteY2" fmla="*/ 901961 h 1041069"/>
                <a:gd name="connsiteX3" fmla="*/ 2864550 w 3112471"/>
                <a:gd name="connsiteY3" fmla="*/ 935608 h 1041069"/>
                <a:gd name="connsiteX4" fmla="*/ 2734414 w 3112471"/>
                <a:gd name="connsiteY4" fmla="*/ 982882 h 1041069"/>
                <a:gd name="connsiteX5" fmla="*/ 2645758 w 3112471"/>
                <a:gd name="connsiteY5" fmla="*/ 964207 h 1041069"/>
                <a:gd name="connsiteX6" fmla="*/ 2584734 w 3112471"/>
                <a:gd name="connsiteY6" fmla="*/ 956818 h 1041069"/>
                <a:gd name="connsiteX7" fmla="*/ 2482365 w 3112471"/>
                <a:gd name="connsiteY7" fmla="*/ 1040239 h 1041069"/>
                <a:gd name="connsiteX8" fmla="*/ 2386004 w 3112471"/>
                <a:gd name="connsiteY8" fmla="*/ 996432 h 1041069"/>
                <a:gd name="connsiteX9" fmla="*/ 2408890 w 3112471"/>
                <a:gd name="connsiteY9" fmla="*/ 944474 h 1041069"/>
                <a:gd name="connsiteX10" fmla="*/ 2361602 w 3112471"/>
                <a:gd name="connsiteY10" fmla="*/ 902312 h 1041069"/>
                <a:gd name="connsiteX11" fmla="*/ 2325146 w 3112471"/>
                <a:gd name="connsiteY11" fmla="*/ 858398 h 1041069"/>
                <a:gd name="connsiteX12" fmla="*/ 2263098 w 3112471"/>
                <a:gd name="connsiteY12" fmla="*/ 817619 h 1041069"/>
                <a:gd name="connsiteX13" fmla="*/ 2187677 w 3112471"/>
                <a:gd name="connsiteY13" fmla="*/ 784233 h 1041069"/>
                <a:gd name="connsiteX14" fmla="*/ 2070937 w 3112471"/>
                <a:gd name="connsiteY14" fmla="*/ 764271 h 1041069"/>
                <a:gd name="connsiteX15" fmla="*/ 2040695 w 3112471"/>
                <a:gd name="connsiteY15" fmla="*/ 754667 h 1041069"/>
                <a:gd name="connsiteX16" fmla="*/ 1960225 w 3112471"/>
                <a:gd name="connsiteY16" fmla="*/ 724705 h 1041069"/>
                <a:gd name="connsiteX17" fmla="*/ 1879199 w 3112471"/>
                <a:gd name="connsiteY17" fmla="*/ 763626 h 1041069"/>
                <a:gd name="connsiteX18" fmla="*/ 1748144 w 3112471"/>
                <a:gd name="connsiteY18" fmla="*/ 799033 h 1041069"/>
                <a:gd name="connsiteX19" fmla="*/ 1603084 w 3112471"/>
                <a:gd name="connsiteY19" fmla="*/ 804233 h 1041069"/>
                <a:gd name="connsiteX20" fmla="*/ 1474660 w 3112471"/>
                <a:gd name="connsiteY20" fmla="*/ 814873 h 1041069"/>
                <a:gd name="connsiteX21" fmla="*/ 1290553 w 3112471"/>
                <a:gd name="connsiteY21" fmla="*/ 789044 h 1041069"/>
                <a:gd name="connsiteX22" fmla="*/ 1129018 w 3112471"/>
                <a:gd name="connsiteY22" fmla="*/ 773295 h 1041069"/>
                <a:gd name="connsiteX23" fmla="*/ 1086800 w 3112471"/>
                <a:gd name="connsiteY23" fmla="*/ 741674 h 1041069"/>
                <a:gd name="connsiteX24" fmla="*/ 1004145 w 3112471"/>
                <a:gd name="connsiteY24" fmla="*/ 654886 h 1041069"/>
                <a:gd name="connsiteX25" fmla="*/ 933520 w 3112471"/>
                <a:gd name="connsiteY25" fmla="*/ 585757 h 1041069"/>
                <a:gd name="connsiteX26" fmla="*/ 843822 w 3112471"/>
                <a:gd name="connsiteY26" fmla="*/ 531982 h 1041069"/>
                <a:gd name="connsiteX27" fmla="*/ 722851 w 3112471"/>
                <a:gd name="connsiteY27" fmla="*/ 498260 h 1041069"/>
                <a:gd name="connsiteX28" fmla="*/ 628506 w 3112471"/>
                <a:gd name="connsiteY28" fmla="*/ 440022 h 1041069"/>
                <a:gd name="connsiteX29" fmla="*/ 510140 w 3112471"/>
                <a:gd name="connsiteY29" fmla="*/ 306866 h 1041069"/>
                <a:gd name="connsiteX30" fmla="*/ 328984 w 3112471"/>
                <a:gd name="connsiteY30" fmla="*/ 219058 h 1041069"/>
                <a:gd name="connsiteX31" fmla="*/ 155444 w 3112471"/>
                <a:gd name="connsiteY31" fmla="*/ 105278 h 1041069"/>
                <a:gd name="connsiteX32" fmla="*/ 0 w 3112471"/>
                <a:gd name="connsiteY32" fmla="*/ 0 h 1041069"/>
                <a:gd name="connsiteX0" fmla="*/ 3112471 w 3112471"/>
                <a:gd name="connsiteY0" fmla="*/ 955981 h 1041069"/>
                <a:gd name="connsiteX1" fmla="*/ 3030280 w 3112471"/>
                <a:gd name="connsiteY1" fmla="*/ 939209 h 1041069"/>
                <a:gd name="connsiteX2" fmla="*/ 2960168 w 3112471"/>
                <a:gd name="connsiteY2" fmla="*/ 901961 h 1041069"/>
                <a:gd name="connsiteX3" fmla="*/ 2864550 w 3112471"/>
                <a:gd name="connsiteY3" fmla="*/ 935608 h 1041069"/>
                <a:gd name="connsiteX4" fmla="*/ 2734414 w 3112471"/>
                <a:gd name="connsiteY4" fmla="*/ 982882 h 1041069"/>
                <a:gd name="connsiteX5" fmla="*/ 2645758 w 3112471"/>
                <a:gd name="connsiteY5" fmla="*/ 964207 h 1041069"/>
                <a:gd name="connsiteX6" fmla="*/ 2584734 w 3112471"/>
                <a:gd name="connsiteY6" fmla="*/ 956818 h 1041069"/>
                <a:gd name="connsiteX7" fmla="*/ 2482365 w 3112471"/>
                <a:gd name="connsiteY7" fmla="*/ 1040239 h 1041069"/>
                <a:gd name="connsiteX8" fmla="*/ 2386004 w 3112471"/>
                <a:gd name="connsiteY8" fmla="*/ 996432 h 1041069"/>
                <a:gd name="connsiteX9" fmla="*/ 2408890 w 3112471"/>
                <a:gd name="connsiteY9" fmla="*/ 944474 h 1041069"/>
                <a:gd name="connsiteX10" fmla="*/ 2361602 w 3112471"/>
                <a:gd name="connsiteY10" fmla="*/ 902312 h 1041069"/>
                <a:gd name="connsiteX11" fmla="*/ 2325146 w 3112471"/>
                <a:gd name="connsiteY11" fmla="*/ 858398 h 1041069"/>
                <a:gd name="connsiteX12" fmla="*/ 2263098 w 3112471"/>
                <a:gd name="connsiteY12" fmla="*/ 817619 h 1041069"/>
                <a:gd name="connsiteX13" fmla="*/ 2187677 w 3112471"/>
                <a:gd name="connsiteY13" fmla="*/ 784233 h 1041069"/>
                <a:gd name="connsiteX14" fmla="*/ 2070937 w 3112471"/>
                <a:gd name="connsiteY14" fmla="*/ 764271 h 1041069"/>
                <a:gd name="connsiteX15" fmla="*/ 2040695 w 3112471"/>
                <a:gd name="connsiteY15" fmla="*/ 754667 h 1041069"/>
                <a:gd name="connsiteX16" fmla="*/ 1935621 w 3112471"/>
                <a:gd name="connsiteY16" fmla="*/ 736675 h 1041069"/>
                <a:gd name="connsiteX17" fmla="*/ 1879199 w 3112471"/>
                <a:gd name="connsiteY17" fmla="*/ 763626 h 1041069"/>
                <a:gd name="connsiteX18" fmla="*/ 1748144 w 3112471"/>
                <a:gd name="connsiteY18" fmla="*/ 799033 h 1041069"/>
                <a:gd name="connsiteX19" fmla="*/ 1603084 w 3112471"/>
                <a:gd name="connsiteY19" fmla="*/ 804233 h 1041069"/>
                <a:gd name="connsiteX20" fmla="*/ 1474660 w 3112471"/>
                <a:gd name="connsiteY20" fmla="*/ 814873 h 1041069"/>
                <a:gd name="connsiteX21" fmla="*/ 1290553 w 3112471"/>
                <a:gd name="connsiteY21" fmla="*/ 789044 h 1041069"/>
                <a:gd name="connsiteX22" fmla="*/ 1129018 w 3112471"/>
                <a:gd name="connsiteY22" fmla="*/ 773295 h 1041069"/>
                <a:gd name="connsiteX23" fmla="*/ 1086800 w 3112471"/>
                <a:gd name="connsiteY23" fmla="*/ 741674 h 1041069"/>
                <a:gd name="connsiteX24" fmla="*/ 1004145 w 3112471"/>
                <a:gd name="connsiteY24" fmla="*/ 654886 h 1041069"/>
                <a:gd name="connsiteX25" fmla="*/ 933520 w 3112471"/>
                <a:gd name="connsiteY25" fmla="*/ 585757 h 1041069"/>
                <a:gd name="connsiteX26" fmla="*/ 843822 w 3112471"/>
                <a:gd name="connsiteY26" fmla="*/ 531982 h 1041069"/>
                <a:gd name="connsiteX27" fmla="*/ 722851 w 3112471"/>
                <a:gd name="connsiteY27" fmla="*/ 498260 h 1041069"/>
                <a:gd name="connsiteX28" fmla="*/ 628506 w 3112471"/>
                <a:gd name="connsiteY28" fmla="*/ 440022 h 1041069"/>
                <a:gd name="connsiteX29" fmla="*/ 510140 w 3112471"/>
                <a:gd name="connsiteY29" fmla="*/ 306866 h 1041069"/>
                <a:gd name="connsiteX30" fmla="*/ 328984 w 3112471"/>
                <a:gd name="connsiteY30" fmla="*/ 219058 h 1041069"/>
                <a:gd name="connsiteX31" fmla="*/ 155444 w 3112471"/>
                <a:gd name="connsiteY31" fmla="*/ 105278 h 1041069"/>
                <a:gd name="connsiteX32" fmla="*/ 0 w 3112471"/>
                <a:gd name="connsiteY32" fmla="*/ 0 h 1041069"/>
                <a:gd name="connsiteX0" fmla="*/ 3112471 w 3112471"/>
                <a:gd name="connsiteY0" fmla="*/ 955981 h 1041069"/>
                <a:gd name="connsiteX1" fmla="*/ 3030280 w 3112471"/>
                <a:gd name="connsiteY1" fmla="*/ 939209 h 1041069"/>
                <a:gd name="connsiteX2" fmla="*/ 2960168 w 3112471"/>
                <a:gd name="connsiteY2" fmla="*/ 901961 h 1041069"/>
                <a:gd name="connsiteX3" fmla="*/ 2864550 w 3112471"/>
                <a:gd name="connsiteY3" fmla="*/ 935608 h 1041069"/>
                <a:gd name="connsiteX4" fmla="*/ 2734414 w 3112471"/>
                <a:gd name="connsiteY4" fmla="*/ 982882 h 1041069"/>
                <a:gd name="connsiteX5" fmla="*/ 2645758 w 3112471"/>
                <a:gd name="connsiteY5" fmla="*/ 964207 h 1041069"/>
                <a:gd name="connsiteX6" fmla="*/ 2584734 w 3112471"/>
                <a:gd name="connsiteY6" fmla="*/ 956818 h 1041069"/>
                <a:gd name="connsiteX7" fmla="*/ 2482365 w 3112471"/>
                <a:gd name="connsiteY7" fmla="*/ 1040239 h 1041069"/>
                <a:gd name="connsiteX8" fmla="*/ 2386004 w 3112471"/>
                <a:gd name="connsiteY8" fmla="*/ 996432 h 1041069"/>
                <a:gd name="connsiteX9" fmla="*/ 2408890 w 3112471"/>
                <a:gd name="connsiteY9" fmla="*/ 944474 h 1041069"/>
                <a:gd name="connsiteX10" fmla="*/ 2361602 w 3112471"/>
                <a:gd name="connsiteY10" fmla="*/ 902312 h 1041069"/>
                <a:gd name="connsiteX11" fmla="*/ 2325146 w 3112471"/>
                <a:gd name="connsiteY11" fmla="*/ 858398 h 1041069"/>
                <a:gd name="connsiteX12" fmla="*/ 2263098 w 3112471"/>
                <a:gd name="connsiteY12" fmla="*/ 817619 h 1041069"/>
                <a:gd name="connsiteX13" fmla="*/ 2187677 w 3112471"/>
                <a:gd name="connsiteY13" fmla="*/ 784233 h 1041069"/>
                <a:gd name="connsiteX14" fmla="*/ 2063556 w 3112471"/>
                <a:gd name="connsiteY14" fmla="*/ 766665 h 1041069"/>
                <a:gd name="connsiteX15" fmla="*/ 2040695 w 3112471"/>
                <a:gd name="connsiteY15" fmla="*/ 754667 h 1041069"/>
                <a:gd name="connsiteX16" fmla="*/ 1935621 w 3112471"/>
                <a:gd name="connsiteY16" fmla="*/ 736675 h 1041069"/>
                <a:gd name="connsiteX17" fmla="*/ 1879199 w 3112471"/>
                <a:gd name="connsiteY17" fmla="*/ 763626 h 1041069"/>
                <a:gd name="connsiteX18" fmla="*/ 1748144 w 3112471"/>
                <a:gd name="connsiteY18" fmla="*/ 799033 h 1041069"/>
                <a:gd name="connsiteX19" fmla="*/ 1603084 w 3112471"/>
                <a:gd name="connsiteY19" fmla="*/ 804233 h 1041069"/>
                <a:gd name="connsiteX20" fmla="*/ 1474660 w 3112471"/>
                <a:gd name="connsiteY20" fmla="*/ 814873 h 1041069"/>
                <a:gd name="connsiteX21" fmla="*/ 1290553 w 3112471"/>
                <a:gd name="connsiteY21" fmla="*/ 789044 h 1041069"/>
                <a:gd name="connsiteX22" fmla="*/ 1129018 w 3112471"/>
                <a:gd name="connsiteY22" fmla="*/ 773295 h 1041069"/>
                <a:gd name="connsiteX23" fmla="*/ 1086800 w 3112471"/>
                <a:gd name="connsiteY23" fmla="*/ 741674 h 1041069"/>
                <a:gd name="connsiteX24" fmla="*/ 1004145 w 3112471"/>
                <a:gd name="connsiteY24" fmla="*/ 654886 h 1041069"/>
                <a:gd name="connsiteX25" fmla="*/ 933520 w 3112471"/>
                <a:gd name="connsiteY25" fmla="*/ 585757 h 1041069"/>
                <a:gd name="connsiteX26" fmla="*/ 843822 w 3112471"/>
                <a:gd name="connsiteY26" fmla="*/ 531982 h 1041069"/>
                <a:gd name="connsiteX27" fmla="*/ 722851 w 3112471"/>
                <a:gd name="connsiteY27" fmla="*/ 498260 h 1041069"/>
                <a:gd name="connsiteX28" fmla="*/ 628506 w 3112471"/>
                <a:gd name="connsiteY28" fmla="*/ 440022 h 1041069"/>
                <a:gd name="connsiteX29" fmla="*/ 510140 w 3112471"/>
                <a:gd name="connsiteY29" fmla="*/ 306866 h 1041069"/>
                <a:gd name="connsiteX30" fmla="*/ 328984 w 3112471"/>
                <a:gd name="connsiteY30" fmla="*/ 219058 h 1041069"/>
                <a:gd name="connsiteX31" fmla="*/ 155444 w 3112471"/>
                <a:gd name="connsiteY31" fmla="*/ 105278 h 1041069"/>
                <a:gd name="connsiteX32" fmla="*/ 0 w 3112471"/>
                <a:gd name="connsiteY32" fmla="*/ 0 h 1041069"/>
                <a:gd name="connsiteX0" fmla="*/ 3112471 w 3112471"/>
                <a:gd name="connsiteY0" fmla="*/ 955981 h 1041069"/>
                <a:gd name="connsiteX1" fmla="*/ 3030280 w 3112471"/>
                <a:gd name="connsiteY1" fmla="*/ 939209 h 1041069"/>
                <a:gd name="connsiteX2" fmla="*/ 2960168 w 3112471"/>
                <a:gd name="connsiteY2" fmla="*/ 901961 h 1041069"/>
                <a:gd name="connsiteX3" fmla="*/ 2864550 w 3112471"/>
                <a:gd name="connsiteY3" fmla="*/ 935608 h 1041069"/>
                <a:gd name="connsiteX4" fmla="*/ 2734414 w 3112471"/>
                <a:gd name="connsiteY4" fmla="*/ 982882 h 1041069"/>
                <a:gd name="connsiteX5" fmla="*/ 2645758 w 3112471"/>
                <a:gd name="connsiteY5" fmla="*/ 964207 h 1041069"/>
                <a:gd name="connsiteX6" fmla="*/ 2584734 w 3112471"/>
                <a:gd name="connsiteY6" fmla="*/ 956818 h 1041069"/>
                <a:gd name="connsiteX7" fmla="*/ 2482365 w 3112471"/>
                <a:gd name="connsiteY7" fmla="*/ 1040239 h 1041069"/>
                <a:gd name="connsiteX8" fmla="*/ 2386004 w 3112471"/>
                <a:gd name="connsiteY8" fmla="*/ 996432 h 1041069"/>
                <a:gd name="connsiteX9" fmla="*/ 2408890 w 3112471"/>
                <a:gd name="connsiteY9" fmla="*/ 944474 h 1041069"/>
                <a:gd name="connsiteX10" fmla="*/ 2361602 w 3112471"/>
                <a:gd name="connsiteY10" fmla="*/ 902312 h 1041069"/>
                <a:gd name="connsiteX11" fmla="*/ 2325146 w 3112471"/>
                <a:gd name="connsiteY11" fmla="*/ 858398 h 1041069"/>
                <a:gd name="connsiteX12" fmla="*/ 2263098 w 3112471"/>
                <a:gd name="connsiteY12" fmla="*/ 817619 h 1041069"/>
                <a:gd name="connsiteX13" fmla="*/ 2187677 w 3112471"/>
                <a:gd name="connsiteY13" fmla="*/ 784233 h 1041069"/>
                <a:gd name="connsiteX14" fmla="*/ 2063556 w 3112471"/>
                <a:gd name="connsiteY14" fmla="*/ 766665 h 1041069"/>
                <a:gd name="connsiteX15" fmla="*/ 2040695 w 3112471"/>
                <a:gd name="connsiteY15" fmla="*/ 754667 h 1041069"/>
                <a:gd name="connsiteX16" fmla="*/ 1935621 w 3112471"/>
                <a:gd name="connsiteY16" fmla="*/ 736675 h 1041069"/>
                <a:gd name="connsiteX17" fmla="*/ 1879199 w 3112471"/>
                <a:gd name="connsiteY17" fmla="*/ 763626 h 1041069"/>
                <a:gd name="connsiteX18" fmla="*/ 1748144 w 3112471"/>
                <a:gd name="connsiteY18" fmla="*/ 799033 h 1041069"/>
                <a:gd name="connsiteX19" fmla="*/ 1603084 w 3112471"/>
                <a:gd name="connsiteY19" fmla="*/ 804233 h 1041069"/>
                <a:gd name="connsiteX20" fmla="*/ 1474660 w 3112471"/>
                <a:gd name="connsiteY20" fmla="*/ 814873 h 1041069"/>
                <a:gd name="connsiteX21" fmla="*/ 1290553 w 3112471"/>
                <a:gd name="connsiteY21" fmla="*/ 789044 h 1041069"/>
                <a:gd name="connsiteX22" fmla="*/ 1129018 w 3112471"/>
                <a:gd name="connsiteY22" fmla="*/ 773295 h 1041069"/>
                <a:gd name="connsiteX23" fmla="*/ 1086800 w 3112471"/>
                <a:gd name="connsiteY23" fmla="*/ 741674 h 1041069"/>
                <a:gd name="connsiteX24" fmla="*/ 1004145 w 3112471"/>
                <a:gd name="connsiteY24" fmla="*/ 654886 h 1041069"/>
                <a:gd name="connsiteX25" fmla="*/ 933520 w 3112471"/>
                <a:gd name="connsiteY25" fmla="*/ 585757 h 1041069"/>
                <a:gd name="connsiteX26" fmla="*/ 843822 w 3112471"/>
                <a:gd name="connsiteY26" fmla="*/ 531982 h 1041069"/>
                <a:gd name="connsiteX27" fmla="*/ 722851 w 3112471"/>
                <a:gd name="connsiteY27" fmla="*/ 498260 h 1041069"/>
                <a:gd name="connsiteX28" fmla="*/ 628506 w 3112471"/>
                <a:gd name="connsiteY28" fmla="*/ 440022 h 1041069"/>
                <a:gd name="connsiteX29" fmla="*/ 510140 w 3112471"/>
                <a:gd name="connsiteY29" fmla="*/ 306866 h 1041069"/>
                <a:gd name="connsiteX30" fmla="*/ 328984 w 3112471"/>
                <a:gd name="connsiteY30" fmla="*/ 219058 h 1041069"/>
                <a:gd name="connsiteX31" fmla="*/ 155444 w 3112471"/>
                <a:gd name="connsiteY31" fmla="*/ 105278 h 1041069"/>
                <a:gd name="connsiteX32" fmla="*/ 0 w 3112471"/>
                <a:gd name="connsiteY32" fmla="*/ 0 h 1041069"/>
                <a:gd name="connsiteX0" fmla="*/ 3112471 w 3112471"/>
                <a:gd name="connsiteY0" fmla="*/ 955981 h 1041069"/>
                <a:gd name="connsiteX1" fmla="*/ 3030280 w 3112471"/>
                <a:gd name="connsiteY1" fmla="*/ 939209 h 1041069"/>
                <a:gd name="connsiteX2" fmla="*/ 2960168 w 3112471"/>
                <a:gd name="connsiteY2" fmla="*/ 901961 h 1041069"/>
                <a:gd name="connsiteX3" fmla="*/ 2864550 w 3112471"/>
                <a:gd name="connsiteY3" fmla="*/ 935608 h 1041069"/>
                <a:gd name="connsiteX4" fmla="*/ 2734414 w 3112471"/>
                <a:gd name="connsiteY4" fmla="*/ 982882 h 1041069"/>
                <a:gd name="connsiteX5" fmla="*/ 2645758 w 3112471"/>
                <a:gd name="connsiteY5" fmla="*/ 964207 h 1041069"/>
                <a:gd name="connsiteX6" fmla="*/ 2584734 w 3112471"/>
                <a:gd name="connsiteY6" fmla="*/ 956818 h 1041069"/>
                <a:gd name="connsiteX7" fmla="*/ 2482365 w 3112471"/>
                <a:gd name="connsiteY7" fmla="*/ 1040239 h 1041069"/>
                <a:gd name="connsiteX8" fmla="*/ 2386004 w 3112471"/>
                <a:gd name="connsiteY8" fmla="*/ 996432 h 1041069"/>
                <a:gd name="connsiteX9" fmla="*/ 2408890 w 3112471"/>
                <a:gd name="connsiteY9" fmla="*/ 944474 h 1041069"/>
                <a:gd name="connsiteX10" fmla="*/ 2361602 w 3112471"/>
                <a:gd name="connsiteY10" fmla="*/ 902312 h 1041069"/>
                <a:gd name="connsiteX11" fmla="*/ 2325146 w 3112471"/>
                <a:gd name="connsiteY11" fmla="*/ 858398 h 1041069"/>
                <a:gd name="connsiteX12" fmla="*/ 2263098 w 3112471"/>
                <a:gd name="connsiteY12" fmla="*/ 817619 h 1041069"/>
                <a:gd name="connsiteX13" fmla="*/ 2187677 w 3112471"/>
                <a:gd name="connsiteY13" fmla="*/ 784233 h 1041069"/>
                <a:gd name="connsiteX14" fmla="*/ 2040695 w 3112471"/>
                <a:gd name="connsiteY14" fmla="*/ 754667 h 1041069"/>
                <a:gd name="connsiteX15" fmla="*/ 1935621 w 3112471"/>
                <a:gd name="connsiteY15" fmla="*/ 736675 h 1041069"/>
                <a:gd name="connsiteX16" fmla="*/ 1879199 w 3112471"/>
                <a:gd name="connsiteY16" fmla="*/ 763626 h 1041069"/>
                <a:gd name="connsiteX17" fmla="*/ 1748144 w 3112471"/>
                <a:gd name="connsiteY17" fmla="*/ 799033 h 1041069"/>
                <a:gd name="connsiteX18" fmla="*/ 1603084 w 3112471"/>
                <a:gd name="connsiteY18" fmla="*/ 804233 h 1041069"/>
                <a:gd name="connsiteX19" fmla="*/ 1474660 w 3112471"/>
                <a:gd name="connsiteY19" fmla="*/ 814873 h 1041069"/>
                <a:gd name="connsiteX20" fmla="*/ 1290553 w 3112471"/>
                <a:gd name="connsiteY20" fmla="*/ 789044 h 1041069"/>
                <a:gd name="connsiteX21" fmla="*/ 1129018 w 3112471"/>
                <a:gd name="connsiteY21" fmla="*/ 773295 h 1041069"/>
                <a:gd name="connsiteX22" fmla="*/ 1086800 w 3112471"/>
                <a:gd name="connsiteY22" fmla="*/ 741674 h 1041069"/>
                <a:gd name="connsiteX23" fmla="*/ 1004145 w 3112471"/>
                <a:gd name="connsiteY23" fmla="*/ 654886 h 1041069"/>
                <a:gd name="connsiteX24" fmla="*/ 933520 w 3112471"/>
                <a:gd name="connsiteY24" fmla="*/ 585757 h 1041069"/>
                <a:gd name="connsiteX25" fmla="*/ 843822 w 3112471"/>
                <a:gd name="connsiteY25" fmla="*/ 531982 h 1041069"/>
                <a:gd name="connsiteX26" fmla="*/ 722851 w 3112471"/>
                <a:gd name="connsiteY26" fmla="*/ 498260 h 1041069"/>
                <a:gd name="connsiteX27" fmla="*/ 628506 w 3112471"/>
                <a:gd name="connsiteY27" fmla="*/ 440022 h 1041069"/>
                <a:gd name="connsiteX28" fmla="*/ 510140 w 3112471"/>
                <a:gd name="connsiteY28" fmla="*/ 306866 h 1041069"/>
                <a:gd name="connsiteX29" fmla="*/ 328984 w 3112471"/>
                <a:gd name="connsiteY29" fmla="*/ 219058 h 1041069"/>
                <a:gd name="connsiteX30" fmla="*/ 155444 w 3112471"/>
                <a:gd name="connsiteY30" fmla="*/ 105278 h 1041069"/>
                <a:gd name="connsiteX31" fmla="*/ 0 w 3112471"/>
                <a:gd name="connsiteY31" fmla="*/ 0 h 1041069"/>
                <a:gd name="connsiteX0" fmla="*/ 3112471 w 3112471"/>
                <a:gd name="connsiteY0" fmla="*/ 955981 h 1041069"/>
                <a:gd name="connsiteX1" fmla="*/ 3030280 w 3112471"/>
                <a:gd name="connsiteY1" fmla="*/ 939209 h 1041069"/>
                <a:gd name="connsiteX2" fmla="*/ 2960168 w 3112471"/>
                <a:gd name="connsiteY2" fmla="*/ 901961 h 1041069"/>
                <a:gd name="connsiteX3" fmla="*/ 2864550 w 3112471"/>
                <a:gd name="connsiteY3" fmla="*/ 935608 h 1041069"/>
                <a:gd name="connsiteX4" fmla="*/ 2734414 w 3112471"/>
                <a:gd name="connsiteY4" fmla="*/ 982882 h 1041069"/>
                <a:gd name="connsiteX5" fmla="*/ 2645758 w 3112471"/>
                <a:gd name="connsiteY5" fmla="*/ 964207 h 1041069"/>
                <a:gd name="connsiteX6" fmla="*/ 2584734 w 3112471"/>
                <a:gd name="connsiteY6" fmla="*/ 956818 h 1041069"/>
                <a:gd name="connsiteX7" fmla="*/ 2482365 w 3112471"/>
                <a:gd name="connsiteY7" fmla="*/ 1040239 h 1041069"/>
                <a:gd name="connsiteX8" fmla="*/ 2386004 w 3112471"/>
                <a:gd name="connsiteY8" fmla="*/ 996432 h 1041069"/>
                <a:gd name="connsiteX9" fmla="*/ 2408890 w 3112471"/>
                <a:gd name="connsiteY9" fmla="*/ 944474 h 1041069"/>
                <a:gd name="connsiteX10" fmla="*/ 2361602 w 3112471"/>
                <a:gd name="connsiteY10" fmla="*/ 902312 h 1041069"/>
                <a:gd name="connsiteX11" fmla="*/ 2325146 w 3112471"/>
                <a:gd name="connsiteY11" fmla="*/ 858398 h 1041069"/>
                <a:gd name="connsiteX12" fmla="*/ 2263098 w 3112471"/>
                <a:gd name="connsiteY12" fmla="*/ 817619 h 1041069"/>
                <a:gd name="connsiteX13" fmla="*/ 2187677 w 3112471"/>
                <a:gd name="connsiteY13" fmla="*/ 784233 h 1041069"/>
                <a:gd name="connsiteX14" fmla="*/ 2025933 w 3112471"/>
                <a:gd name="connsiteY14" fmla="*/ 757061 h 1041069"/>
                <a:gd name="connsiteX15" fmla="*/ 1935621 w 3112471"/>
                <a:gd name="connsiteY15" fmla="*/ 736675 h 1041069"/>
                <a:gd name="connsiteX16" fmla="*/ 1879199 w 3112471"/>
                <a:gd name="connsiteY16" fmla="*/ 763626 h 1041069"/>
                <a:gd name="connsiteX17" fmla="*/ 1748144 w 3112471"/>
                <a:gd name="connsiteY17" fmla="*/ 799033 h 1041069"/>
                <a:gd name="connsiteX18" fmla="*/ 1603084 w 3112471"/>
                <a:gd name="connsiteY18" fmla="*/ 804233 h 1041069"/>
                <a:gd name="connsiteX19" fmla="*/ 1474660 w 3112471"/>
                <a:gd name="connsiteY19" fmla="*/ 814873 h 1041069"/>
                <a:gd name="connsiteX20" fmla="*/ 1290553 w 3112471"/>
                <a:gd name="connsiteY20" fmla="*/ 789044 h 1041069"/>
                <a:gd name="connsiteX21" fmla="*/ 1129018 w 3112471"/>
                <a:gd name="connsiteY21" fmla="*/ 773295 h 1041069"/>
                <a:gd name="connsiteX22" fmla="*/ 1086800 w 3112471"/>
                <a:gd name="connsiteY22" fmla="*/ 741674 h 1041069"/>
                <a:gd name="connsiteX23" fmla="*/ 1004145 w 3112471"/>
                <a:gd name="connsiteY23" fmla="*/ 654886 h 1041069"/>
                <a:gd name="connsiteX24" fmla="*/ 933520 w 3112471"/>
                <a:gd name="connsiteY24" fmla="*/ 585757 h 1041069"/>
                <a:gd name="connsiteX25" fmla="*/ 843822 w 3112471"/>
                <a:gd name="connsiteY25" fmla="*/ 531982 h 1041069"/>
                <a:gd name="connsiteX26" fmla="*/ 722851 w 3112471"/>
                <a:gd name="connsiteY26" fmla="*/ 498260 h 1041069"/>
                <a:gd name="connsiteX27" fmla="*/ 628506 w 3112471"/>
                <a:gd name="connsiteY27" fmla="*/ 440022 h 1041069"/>
                <a:gd name="connsiteX28" fmla="*/ 510140 w 3112471"/>
                <a:gd name="connsiteY28" fmla="*/ 306866 h 1041069"/>
                <a:gd name="connsiteX29" fmla="*/ 328984 w 3112471"/>
                <a:gd name="connsiteY29" fmla="*/ 219058 h 1041069"/>
                <a:gd name="connsiteX30" fmla="*/ 155444 w 3112471"/>
                <a:gd name="connsiteY30" fmla="*/ 105278 h 1041069"/>
                <a:gd name="connsiteX31" fmla="*/ 0 w 3112471"/>
                <a:gd name="connsiteY31" fmla="*/ 0 h 1041069"/>
                <a:gd name="connsiteX0" fmla="*/ 3112471 w 3112471"/>
                <a:gd name="connsiteY0" fmla="*/ 955981 h 1041069"/>
                <a:gd name="connsiteX1" fmla="*/ 3030280 w 3112471"/>
                <a:gd name="connsiteY1" fmla="*/ 939209 h 1041069"/>
                <a:gd name="connsiteX2" fmla="*/ 2960168 w 3112471"/>
                <a:gd name="connsiteY2" fmla="*/ 901961 h 1041069"/>
                <a:gd name="connsiteX3" fmla="*/ 2864550 w 3112471"/>
                <a:gd name="connsiteY3" fmla="*/ 935608 h 1041069"/>
                <a:gd name="connsiteX4" fmla="*/ 2734414 w 3112471"/>
                <a:gd name="connsiteY4" fmla="*/ 982882 h 1041069"/>
                <a:gd name="connsiteX5" fmla="*/ 2645758 w 3112471"/>
                <a:gd name="connsiteY5" fmla="*/ 964207 h 1041069"/>
                <a:gd name="connsiteX6" fmla="*/ 2584734 w 3112471"/>
                <a:gd name="connsiteY6" fmla="*/ 956818 h 1041069"/>
                <a:gd name="connsiteX7" fmla="*/ 2482365 w 3112471"/>
                <a:gd name="connsiteY7" fmla="*/ 1040239 h 1041069"/>
                <a:gd name="connsiteX8" fmla="*/ 2386004 w 3112471"/>
                <a:gd name="connsiteY8" fmla="*/ 996432 h 1041069"/>
                <a:gd name="connsiteX9" fmla="*/ 2408890 w 3112471"/>
                <a:gd name="connsiteY9" fmla="*/ 944474 h 1041069"/>
                <a:gd name="connsiteX10" fmla="*/ 2361602 w 3112471"/>
                <a:gd name="connsiteY10" fmla="*/ 902312 h 1041069"/>
                <a:gd name="connsiteX11" fmla="*/ 2325146 w 3112471"/>
                <a:gd name="connsiteY11" fmla="*/ 858398 h 1041069"/>
                <a:gd name="connsiteX12" fmla="*/ 2263098 w 3112471"/>
                <a:gd name="connsiteY12" fmla="*/ 817619 h 1041069"/>
                <a:gd name="connsiteX13" fmla="*/ 2187677 w 3112471"/>
                <a:gd name="connsiteY13" fmla="*/ 784233 h 1041069"/>
                <a:gd name="connsiteX14" fmla="*/ 2025933 w 3112471"/>
                <a:gd name="connsiteY14" fmla="*/ 757061 h 1041069"/>
                <a:gd name="connsiteX15" fmla="*/ 1925780 w 3112471"/>
                <a:gd name="connsiteY15" fmla="*/ 743857 h 1041069"/>
                <a:gd name="connsiteX16" fmla="*/ 1879199 w 3112471"/>
                <a:gd name="connsiteY16" fmla="*/ 763626 h 1041069"/>
                <a:gd name="connsiteX17" fmla="*/ 1748144 w 3112471"/>
                <a:gd name="connsiteY17" fmla="*/ 799033 h 1041069"/>
                <a:gd name="connsiteX18" fmla="*/ 1603084 w 3112471"/>
                <a:gd name="connsiteY18" fmla="*/ 804233 h 1041069"/>
                <a:gd name="connsiteX19" fmla="*/ 1474660 w 3112471"/>
                <a:gd name="connsiteY19" fmla="*/ 814873 h 1041069"/>
                <a:gd name="connsiteX20" fmla="*/ 1290553 w 3112471"/>
                <a:gd name="connsiteY20" fmla="*/ 789044 h 1041069"/>
                <a:gd name="connsiteX21" fmla="*/ 1129018 w 3112471"/>
                <a:gd name="connsiteY21" fmla="*/ 773295 h 1041069"/>
                <a:gd name="connsiteX22" fmla="*/ 1086800 w 3112471"/>
                <a:gd name="connsiteY22" fmla="*/ 741674 h 1041069"/>
                <a:gd name="connsiteX23" fmla="*/ 1004145 w 3112471"/>
                <a:gd name="connsiteY23" fmla="*/ 654886 h 1041069"/>
                <a:gd name="connsiteX24" fmla="*/ 933520 w 3112471"/>
                <a:gd name="connsiteY24" fmla="*/ 585757 h 1041069"/>
                <a:gd name="connsiteX25" fmla="*/ 843822 w 3112471"/>
                <a:gd name="connsiteY25" fmla="*/ 531982 h 1041069"/>
                <a:gd name="connsiteX26" fmla="*/ 722851 w 3112471"/>
                <a:gd name="connsiteY26" fmla="*/ 498260 h 1041069"/>
                <a:gd name="connsiteX27" fmla="*/ 628506 w 3112471"/>
                <a:gd name="connsiteY27" fmla="*/ 440022 h 1041069"/>
                <a:gd name="connsiteX28" fmla="*/ 510140 w 3112471"/>
                <a:gd name="connsiteY28" fmla="*/ 306866 h 1041069"/>
                <a:gd name="connsiteX29" fmla="*/ 328984 w 3112471"/>
                <a:gd name="connsiteY29" fmla="*/ 219058 h 1041069"/>
                <a:gd name="connsiteX30" fmla="*/ 155444 w 3112471"/>
                <a:gd name="connsiteY30" fmla="*/ 105278 h 1041069"/>
                <a:gd name="connsiteX31" fmla="*/ 0 w 3112471"/>
                <a:gd name="connsiteY31" fmla="*/ 0 h 1041069"/>
                <a:gd name="connsiteX0" fmla="*/ 3112471 w 3112471"/>
                <a:gd name="connsiteY0" fmla="*/ 955981 h 1041069"/>
                <a:gd name="connsiteX1" fmla="*/ 3030280 w 3112471"/>
                <a:gd name="connsiteY1" fmla="*/ 939209 h 1041069"/>
                <a:gd name="connsiteX2" fmla="*/ 2960168 w 3112471"/>
                <a:gd name="connsiteY2" fmla="*/ 901961 h 1041069"/>
                <a:gd name="connsiteX3" fmla="*/ 2864550 w 3112471"/>
                <a:gd name="connsiteY3" fmla="*/ 935608 h 1041069"/>
                <a:gd name="connsiteX4" fmla="*/ 2734414 w 3112471"/>
                <a:gd name="connsiteY4" fmla="*/ 982882 h 1041069"/>
                <a:gd name="connsiteX5" fmla="*/ 2645758 w 3112471"/>
                <a:gd name="connsiteY5" fmla="*/ 964207 h 1041069"/>
                <a:gd name="connsiteX6" fmla="*/ 2584734 w 3112471"/>
                <a:gd name="connsiteY6" fmla="*/ 956818 h 1041069"/>
                <a:gd name="connsiteX7" fmla="*/ 2482365 w 3112471"/>
                <a:gd name="connsiteY7" fmla="*/ 1040239 h 1041069"/>
                <a:gd name="connsiteX8" fmla="*/ 2386004 w 3112471"/>
                <a:gd name="connsiteY8" fmla="*/ 996432 h 1041069"/>
                <a:gd name="connsiteX9" fmla="*/ 2408890 w 3112471"/>
                <a:gd name="connsiteY9" fmla="*/ 944474 h 1041069"/>
                <a:gd name="connsiteX10" fmla="*/ 2361602 w 3112471"/>
                <a:gd name="connsiteY10" fmla="*/ 902312 h 1041069"/>
                <a:gd name="connsiteX11" fmla="*/ 2325146 w 3112471"/>
                <a:gd name="connsiteY11" fmla="*/ 858398 h 1041069"/>
                <a:gd name="connsiteX12" fmla="*/ 2263098 w 3112471"/>
                <a:gd name="connsiteY12" fmla="*/ 817619 h 1041069"/>
                <a:gd name="connsiteX13" fmla="*/ 2187677 w 3112471"/>
                <a:gd name="connsiteY13" fmla="*/ 784233 h 1041069"/>
                <a:gd name="connsiteX14" fmla="*/ 2025933 w 3112471"/>
                <a:gd name="connsiteY14" fmla="*/ 757061 h 1041069"/>
                <a:gd name="connsiteX15" fmla="*/ 1925780 w 3112471"/>
                <a:gd name="connsiteY15" fmla="*/ 743857 h 1041069"/>
                <a:gd name="connsiteX16" fmla="*/ 1879199 w 3112471"/>
                <a:gd name="connsiteY16" fmla="*/ 763626 h 1041069"/>
                <a:gd name="connsiteX17" fmla="*/ 1748144 w 3112471"/>
                <a:gd name="connsiteY17" fmla="*/ 799033 h 1041069"/>
                <a:gd name="connsiteX18" fmla="*/ 1608004 w 3112471"/>
                <a:gd name="connsiteY18" fmla="*/ 813809 h 1041069"/>
                <a:gd name="connsiteX19" fmla="*/ 1474660 w 3112471"/>
                <a:gd name="connsiteY19" fmla="*/ 814873 h 1041069"/>
                <a:gd name="connsiteX20" fmla="*/ 1290553 w 3112471"/>
                <a:gd name="connsiteY20" fmla="*/ 789044 h 1041069"/>
                <a:gd name="connsiteX21" fmla="*/ 1129018 w 3112471"/>
                <a:gd name="connsiteY21" fmla="*/ 773295 h 1041069"/>
                <a:gd name="connsiteX22" fmla="*/ 1086800 w 3112471"/>
                <a:gd name="connsiteY22" fmla="*/ 741674 h 1041069"/>
                <a:gd name="connsiteX23" fmla="*/ 1004145 w 3112471"/>
                <a:gd name="connsiteY23" fmla="*/ 654886 h 1041069"/>
                <a:gd name="connsiteX24" fmla="*/ 933520 w 3112471"/>
                <a:gd name="connsiteY24" fmla="*/ 585757 h 1041069"/>
                <a:gd name="connsiteX25" fmla="*/ 843822 w 3112471"/>
                <a:gd name="connsiteY25" fmla="*/ 531982 h 1041069"/>
                <a:gd name="connsiteX26" fmla="*/ 722851 w 3112471"/>
                <a:gd name="connsiteY26" fmla="*/ 498260 h 1041069"/>
                <a:gd name="connsiteX27" fmla="*/ 628506 w 3112471"/>
                <a:gd name="connsiteY27" fmla="*/ 440022 h 1041069"/>
                <a:gd name="connsiteX28" fmla="*/ 510140 w 3112471"/>
                <a:gd name="connsiteY28" fmla="*/ 306866 h 1041069"/>
                <a:gd name="connsiteX29" fmla="*/ 328984 w 3112471"/>
                <a:gd name="connsiteY29" fmla="*/ 219058 h 1041069"/>
                <a:gd name="connsiteX30" fmla="*/ 155444 w 3112471"/>
                <a:gd name="connsiteY30" fmla="*/ 105278 h 1041069"/>
                <a:gd name="connsiteX31" fmla="*/ 0 w 3112471"/>
                <a:gd name="connsiteY31" fmla="*/ 0 h 1041069"/>
                <a:gd name="connsiteX0" fmla="*/ 3112471 w 3112471"/>
                <a:gd name="connsiteY0" fmla="*/ 955981 h 1041069"/>
                <a:gd name="connsiteX1" fmla="*/ 3030280 w 3112471"/>
                <a:gd name="connsiteY1" fmla="*/ 939209 h 1041069"/>
                <a:gd name="connsiteX2" fmla="*/ 2960168 w 3112471"/>
                <a:gd name="connsiteY2" fmla="*/ 901961 h 1041069"/>
                <a:gd name="connsiteX3" fmla="*/ 2864550 w 3112471"/>
                <a:gd name="connsiteY3" fmla="*/ 935608 h 1041069"/>
                <a:gd name="connsiteX4" fmla="*/ 2734414 w 3112471"/>
                <a:gd name="connsiteY4" fmla="*/ 982882 h 1041069"/>
                <a:gd name="connsiteX5" fmla="*/ 2645758 w 3112471"/>
                <a:gd name="connsiteY5" fmla="*/ 964207 h 1041069"/>
                <a:gd name="connsiteX6" fmla="*/ 2584734 w 3112471"/>
                <a:gd name="connsiteY6" fmla="*/ 956818 h 1041069"/>
                <a:gd name="connsiteX7" fmla="*/ 2482365 w 3112471"/>
                <a:gd name="connsiteY7" fmla="*/ 1040239 h 1041069"/>
                <a:gd name="connsiteX8" fmla="*/ 2386004 w 3112471"/>
                <a:gd name="connsiteY8" fmla="*/ 996432 h 1041069"/>
                <a:gd name="connsiteX9" fmla="*/ 2408890 w 3112471"/>
                <a:gd name="connsiteY9" fmla="*/ 944474 h 1041069"/>
                <a:gd name="connsiteX10" fmla="*/ 2361602 w 3112471"/>
                <a:gd name="connsiteY10" fmla="*/ 902312 h 1041069"/>
                <a:gd name="connsiteX11" fmla="*/ 2325146 w 3112471"/>
                <a:gd name="connsiteY11" fmla="*/ 858398 h 1041069"/>
                <a:gd name="connsiteX12" fmla="*/ 2263098 w 3112471"/>
                <a:gd name="connsiteY12" fmla="*/ 817619 h 1041069"/>
                <a:gd name="connsiteX13" fmla="*/ 2187677 w 3112471"/>
                <a:gd name="connsiteY13" fmla="*/ 784233 h 1041069"/>
                <a:gd name="connsiteX14" fmla="*/ 2025933 w 3112471"/>
                <a:gd name="connsiteY14" fmla="*/ 757061 h 1041069"/>
                <a:gd name="connsiteX15" fmla="*/ 1925780 w 3112471"/>
                <a:gd name="connsiteY15" fmla="*/ 743857 h 1041069"/>
                <a:gd name="connsiteX16" fmla="*/ 1879199 w 3112471"/>
                <a:gd name="connsiteY16" fmla="*/ 763626 h 1041069"/>
                <a:gd name="connsiteX17" fmla="*/ 1730922 w 3112471"/>
                <a:gd name="connsiteY17" fmla="*/ 803821 h 1041069"/>
                <a:gd name="connsiteX18" fmla="*/ 1608004 w 3112471"/>
                <a:gd name="connsiteY18" fmla="*/ 813809 h 1041069"/>
                <a:gd name="connsiteX19" fmla="*/ 1474660 w 3112471"/>
                <a:gd name="connsiteY19" fmla="*/ 814873 h 1041069"/>
                <a:gd name="connsiteX20" fmla="*/ 1290553 w 3112471"/>
                <a:gd name="connsiteY20" fmla="*/ 789044 h 1041069"/>
                <a:gd name="connsiteX21" fmla="*/ 1129018 w 3112471"/>
                <a:gd name="connsiteY21" fmla="*/ 773295 h 1041069"/>
                <a:gd name="connsiteX22" fmla="*/ 1086800 w 3112471"/>
                <a:gd name="connsiteY22" fmla="*/ 741674 h 1041069"/>
                <a:gd name="connsiteX23" fmla="*/ 1004145 w 3112471"/>
                <a:gd name="connsiteY23" fmla="*/ 654886 h 1041069"/>
                <a:gd name="connsiteX24" fmla="*/ 933520 w 3112471"/>
                <a:gd name="connsiteY24" fmla="*/ 585757 h 1041069"/>
                <a:gd name="connsiteX25" fmla="*/ 843822 w 3112471"/>
                <a:gd name="connsiteY25" fmla="*/ 531982 h 1041069"/>
                <a:gd name="connsiteX26" fmla="*/ 722851 w 3112471"/>
                <a:gd name="connsiteY26" fmla="*/ 498260 h 1041069"/>
                <a:gd name="connsiteX27" fmla="*/ 628506 w 3112471"/>
                <a:gd name="connsiteY27" fmla="*/ 440022 h 1041069"/>
                <a:gd name="connsiteX28" fmla="*/ 510140 w 3112471"/>
                <a:gd name="connsiteY28" fmla="*/ 306866 h 1041069"/>
                <a:gd name="connsiteX29" fmla="*/ 328984 w 3112471"/>
                <a:gd name="connsiteY29" fmla="*/ 219058 h 1041069"/>
                <a:gd name="connsiteX30" fmla="*/ 155444 w 3112471"/>
                <a:gd name="connsiteY30" fmla="*/ 105278 h 1041069"/>
                <a:gd name="connsiteX31" fmla="*/ 0 w 3112471"/>
                <a:gd name="connsiteY31" fmla="*/ 0 h 1041069"/>
                <a:gd name="connsiteX0" fmla="*/ 3112471 w 3112471"/>
                <a:gd name="connsiteY0" fmla="*/ 955981 h 1041069"/>
                <a:gd name="connsiteX1" fmla="*/ 3030280 w 3112471"/>
                <a:gd name="connsiteY1" fmla="*/ 939209 h 1041069"/>
                <a:gd name="connsiteX2" fmla="*/ 2960168 w 3112471"/>
                <a:gd name="connsiteY2" fmla="*/ 901961 h 1041069"/>
                <a:gd name="connsiteX3" fmla="*/ 2864550 w 3112471"/>
                <a:gd name="connsiteY3" fmla="*/ 935608 h 1041069"/>
                <a:gd name="connsiteX4" fmla="*/ 2734414 w 3112471"/>
                <a:gd name="connsiteY4" fmla="*/ 982882 h 1041069"/>
                <a:gd name="connsiteX5" fmla="*/ 2645758 w 3112471"/>
                <a:gd name="connsiteY5" fmla="*/ 964207 h 1041069"/>
                <a:gd name="connsiteX6" fmla="*/ 2584734 w 3112471"/>
                <a:gd name="connsiteY6" fmla="*/ 956818 h 1041069"/>
                <a:gd name="connsiteX7" fmla="*/ 2482365 w 3112471"/>
                <a:gd name="connsiteY7" fmla="*/ 1040239 h 1041069"/>
                <a:gd name="connsiteX8" fmla="*/ 2386004 w 3112471"/>
                <a:gd name="connsiteY8" fmla="*/ 996432 h 1041069"/>
                <a:gd name="connsiteX9" fmla="*/ 2408890 w 3112471"/>
                <a:gd name="connsiteY9" fmla="*/ 944474 h 1041069"/>
                <a:gd name="connsiteX10" fmla="*/ 2361602 w 3112471"/>
                <a:gd name="connsiteY10" fmla="*/ 902312 h 1041069"/>
                <a:gd name="connsiteX11" fmla="*/ 2325146 w 3112471"/>
                <a:gd name="connsiteY11" fmla="*/ 858398 h 1041069"/>
                <a:gd name="connsiteX12" fmla="*/ 2263098 w 3112471"/>
                <a:gd name="connsiteY12" fmla="*/ 817619 h 1041069"/>
                <a:gd name="connsiteX13" fmla="*/ 2187677 w 3112471"/>
                <a:gd name="connsiteY13" fmla="*/ 784233 h 1041069"/>
                <a:gd name="connsiteX14" fmla="*/ 2025933 w 3112471"/>
                <a:gd name="connsiteY14" fmla="*/ 757061 h 1041069"/>
                <a:gd name="connsiteX15" fmla="*/ 1925780 w 3112471"/>
                <a:gd name="connsiteY15" fmla="*/ 743857 h 1041069"/>
                <a:gd name="connsiteX16" fmla="*/ 1879199 w 3112471"/>
                <a:gd name="connsiteY16" fmla="*/ 763626 h 1041069"/>
                <a:gd name="connsiteX17" fmla="*/ 1730922 w 3112471"/>
                <a:gd name="connsiteY17" fmla="*/ 803821 h 1041069"/>
                <a:gd name="connsiteX18" fmla="*/ 1608004 w 3112471"/>
                <a:gd name="connsiteY18" fmla="*/ 813809 h 1041069"/>
                <a:gd name="connsiteX19" fmla="*/ 1474660 w 3112471"/>
                <a:gd name="connsiteY19" fmla="*/ 814873 h 1041069"/>
                <a:gd name="connsiteX20" fmla="*/ 1280712 w 3112471"/>
                <a:gd name="connsiteY20" fmla="*/ 796226 h 1041069"/>
                <a:gd name="connsiteX21" fmla="*/ 1129018 w 3112471"/>
                <a:gd name="connsiteY21" fmla="*/ 773295 h 1041069"/>
                <a:gd name="connsiteX22" fmla="*/ 1086800 w 3112471"/>
                <a:gd name="connsiteY22" fmla="*/ 741674 h 1041069"/>
                <a:gd name="connsiteX23" fmla="*/ 1004145 w 3112471"/>
                <a:gd name="connsiteY23" fmla="*/ 654886 h 1041069"/>
                <a:gd name="connsiteX24" fmla="*/ 933520 w 3112471"/>
                <a:gd name="connsiteY24" fmla="*/ 585757 h 1041069"/>
                <a:gd name="connsiteX25" fmla="*/ 843822 w 3112471"/>
                <a:gd name="connsiteY25" fmla="*/ 531982 h 1041069"/>
                <a:gd name="connsiteX26" fmla="*/ 722851 w 3112471"/>
                <a:gd name="connsiteY26" fmla="*/ 498260 h 1041069"/>
                <a:gd name="connsiteX27" fmla="*/ 628506 w 3112471"/>
                <a:gd name="connsiteY27" fmla="*/ 440022 h 1041069"/>
                <a:gd name="connsiteX28" fmla="*/ 510140 w 3112471"/>
                <a:gd name="connsiteY28" fmla="*/ 306866 h 1041069"/>
                <a:gd name="connsiteX29" fmla="*/ 328984 w 3112471"/>
                <a:gd name="connsiteY29" fmla="*/ 219058 h 1041069"/>
                <a:gd name="connsiteX30" fmla="*/ 155444 w 3112471"/>
                <a:gd name="connsiteY30" fmla="*/ 105278 h 1041069"/>
                <a:gd name="connsiteX31" fmla="*/ 0 w 3112471"/>
                <a:gd name="connsiteY31" fmla="*/ 0 h 1041069"/>
                <a:gd name="connsiteX0" fmla="*/ 3112471 w 3112471"/>
                <a:gd name="connsiteY0" fmla="*/ 955981 h 1041069"/>
                <a:gd name="connsiteX1" fmla="*/ 3030280 w 3112471"/>
                <a:gd name="connsiteY1" fmla="*/ 939209 h 1041069"/>
                <a:gd name="connsiteX2" fmla="*/ 2960168 w 3112471"/>
                <a:gd name="connsiteY2" fmla="*/ 901961 h 1041069"/>
                <a:gd name="connsiteX3" fmla="*/ 2864550 w 3112471"/>
                <a:gd name="connsiteY3" fmla="*/ 935608 h 1041069"/>
                <a:gd name="connsiteX4" fmla="*/ 2734414 w 3112471"/>
                <a:gd name="connsiteY4" fmla="*/ 982882 h 1041069"/>
                <a:gd name="connsiteX5" fmla="*/ 2645758 w 3112471"/>
                <a:gd name="connsiteY5" fmla="*/ 964207 h 1041069"/>
                <a:gd name="connsiteX6" fmla="*/ 2584734 w 3112471"/>
                <a:gd name="connsiteY6" fmla="*/ 956818 h 1041069"/>
                <a:gd name="connsiteX7" fmla="*/ 2482365 w 3112471"/>
                <a:gd name="connsiteY7" fmla="*/ 1040239 h 1041069"/>
                <a:gd name="connsiteX8" fmla="*/ 2386004 w 3112471"/>
                <a:gd name="connsiteY8" fmla="*/ 996432 h 1041069"/>
                <a:gd name="connsiteX9" fmla="*/ 2408890 w 3112471"/>
                <a:gd name="connsiteY9" fmla="*/ 944474 h 1041069"/>
                <a:gd name="connsiteX10" fmla="*/ 2361602 w 3112471"/>
                <a:gd name="connsiteY10" fmla="*/ 902312 h 1041069"/>
                <a:gd name="connsiteX11" fmla="*/ 2325146 w 3112471"/>
                <a:gd name="connsiteY11" fmla="*/ 858398 h 1041069"/>
                <a:gd name="connsiteX12" fmla="*/ 2263098 w 3112471"/>
                <a:gd name="connsiteY12" fmla="*/ 817619 h 1041069"/>
                <a:gd name="connsiteX13" fmla="*/ 2187677 w 3112471"/>
                <a:gd name="connsiteY13" fmla="*/ 784233 h 1041069"/>
                <a:gd name="connsiteX14" fmla="*/ 2025933 w 3112471"/>
                <a:gd name="connsiteY14" fmla="*/ 757061 h 1041069"/>
                <a:gd name="connsiteX15" fmla="*/ 1925780 w 3112471"/>
                <a:gd name="connsiteY15" fmla="*/ 743857 h 1041069"/>
                <a:gd name="connsiteX16" fmla="*/ 1879199 w 3112471"/>
                <a:gd name="connsiteY16" fmla="*/ 763626 h 1041069"/>
                <a:gd name="connsiteX17" fmla="*/ 1730922 w 3112471"/>
                <a:gd name="connsiteY17" fmla="*/ 803821 h 1041069"/>
                <a:gd name="connsiteX18" fmla="*/ 1608004 w 3112471"/>
                <a:gd name="connsiteY18" fmla="*/ 813809 h 1041069"/>
                <a:gd name="connsiteX19" fmla="*/ 1474660 w 3112471"/>
                <a:gd name="connsiteY19" fmla="*/ 814873 h 1041069"/>
                <a:gd name="connsiteX20" fmla="*/ 1280712 w 3112471"/>
                <a:gd name="connsiteY20" fmla="*/ 796226 h 1041069"/>
                <a:gd name="connsiteX21" fmla="*/ 1129018 w 3112471"/>
                <a:gd name="connsiteY21" fmla="*/ 773295 h 1041069"/>
                <a:gd name="connsiteX22" fmla="*/ 1086800 w 3112471"/>
                <a:gd name="connsiteY22" fmla="*/ 741674 h 1041069"/>
                <a:gd name="connsiteX23" fmla="*/ 1004145 w 3112471"/>
                <a:gd name="connsiteY23" fmla="*/ 654886 h 1041069"/>
                <a:gd name="connsiteX24" fmla="*/ 933520 w 3112471"/>
                <a:gd name="connsiteY24" fmla="*/ 585757 h 1041069"/>
                <a:gd name="connsiteX25" fmla="*/ 843822 w 3112471"/>
                <a:gd name="connsiteY25" fmla="*/ 531982 h 1041069"/>
                <a:gd name="connsiteX26" fmla="*/ 722851 w 3112471"/>
                <a:gd name="connsiteY26" fmla="*/ 498260 h 1041069"/>
                <a:gd name="connsiteX27" fmla="*/ 591601 w 3112471"/>
                <a:gd name="connsiteY27" fmla="*/ 478327 h 1041069"/>
                <a:gd name="connsiteX28" fmla="*/ 510140 w 3112471"/>
                <a:gd name="connsiteY28" fmla="*/ 306866 h 1041069"/>
                <a:gd name="connsiteX29" fmla="*/ 328984 w 3112471"/>
                <a:gd name="connsiteY29" fmla="*/ 219058 h 1041069"/>
                <a:gd name="connsiteX30" fmla="*/ 155444 w 3112471"/>
                <a:gd name="connsiteY30" fmla="*/ 105278 h 1041069"/>
                <a:gd name="connsiteX31" fmla="*/ 0 w 3112471"/>
                <a:gd name="connsiteY31" fmla="*/ 0 h 1041069"/>
                <a:gd name="connsiteX0" fmla="*/ 3112471 w 3112471"/>
                <a:gd name="connsiteY0" fmla="*/ 955981 h 1041069"/>
                <a:gd name="connsiteX1" fmla="*/ 3030280 w 3112471"/>
                <a:gd name="connsiteY1" fmla="*/ 939209 h 1041069"/>
                <a:gd name="connsiteX2" fmla="*/ 2960168 w 3112471"/>
                <a:gd name="connsiteY2" fmla="*/ 901961 h 1041069"/>
                <a:gd name="connsiteX3" fmla="*/ 2864550 w 3112471"/>
                <a:gd name="connsiteY3" fmla="*/ 935608 h 1041069"/>
                <a:gd name="connsiteX4" fmla="*/ 2734414 w 3112471"/>
                <a:gd name="connsiteY4" fmla="*/ 982882 h 1041069"/>
                <a:gd name="connsiteX5" fmla="*/ 2645758 w 3112471"/>
                <a:gd name="connsiteY5" fmla="*/ 964207 h 1041069"/>
                <a:gd name="connsiteX6" fmla="*/ 2584734 w 3112471"/>
                <a:gd name="connsiteY6" fmla="*/ 956818 h 1041069"/>
                <a:gd name="connsiteX7" fmla="*/ 2482365 w 3112471"/>
                <a:gd name="connsiteY7" fmla="*/ 1040239 h 1041069"/>
                <a:gd name="connsiteX8" fmla="*/ 2386004 w 3112471"/>
                <a:gd name="connsiteY8" fmla="*/ 996432 h 1041069"/>
                <a:gd name="connsiteX9" fmla="*/ 2408890 w 3112471"/>
                <a:gd name="connsiteY9" fmla="*/ 944474 h 1041069"/>
                <a:gd name="connsiteX10" fmla="*/ 2361602 w 3112471"/>
                <a:gd name="connsiteY10" fmla="*/ 902312 h 1041069"/>
                <a:gd name="connsiteX11" fmla="*/ 2325146 w 3112471"/>
                <a:gd name="connsiteY11" fmla="*/ 858398 h 1041069"/>
                <a:gd name="connsiteX12" fmla="*/ 2263098 w 3112471"/>
                <a:gd name="connsiteY12" fmla="*/ 817619 h 1041069"/>
                <a:gd name="connsiteX13" fmla="*/ 2187677 w 3112471"/>
                <a:gd name="connsiteY13" fmla="*/ 784233 h 1041069"/>
                <a:gd name="connsiteX14" fmla="*/ 2025933 w 3112471"/>
                <a:gd name="connsiteY14" fmla="*/ 757061 h 1041069"/>
                <a:gd name="connsiteX15" fmla="*/ 1925780 w 3112471"/>
                <a:gd name="connsiteY15" fmla="*/ 743857 h 1041069"/>
                <a:gd name="connsiteX16" fmla="*/ 1879199 w 3112471"/>
                <a:gd name="connsiteY16" fmla="*/ 763626 h 1041069"/>
                <a:gd name="connsiteX17" fmla="*/ 1730922 w 3112471"/>
                <a:gd name="connsiteY17" fmla="*/ 803821 h 1041069"/>
                <a:gd name="connsiteX18" fmla="*/ 1608004 w 3112471"/>
                <a:gd name="connsiteY18" fmla="*/ 813809 h 1041069"/>
                <a:gd name="connsiteX19" fmla="*/ 1474660 w 3112471"/>
                <a:gd name="connsiteY19" fmla="*/ 814873 h 1041069"/>
                <a:gd name="connsiteX20" fmla="*/ 1280712 w 3112471"/>
                <a:gd name="connsiteY20" fmla="*/ 796226 h 1041069"/>
                <a:gd name="connsiteX21" fmla="*/ 1129018 w 3112471"/>
                <a:gd name="connsiteY21" fmla="*/ 773295 h 1041069"/>
                <a:gd name="connsiteX22" fmla="*/ 1086800 w 3112471"/>
                <a:gd name="connsiteY22" fmla="*/ 741674 h 1041069"/>
                <a:gd name="connsiteX23" fmla="*/ 1004145 w 3112471"/>
                <a:gd name="connsiteY23" fmla="*/ 654886 h 1041069"/>
                <a:gd name="connsiteX24" fmla="*/ 933520 w 3112471"/>
                <a:gd name="connsiteY24" fmla="*/ 585757 h 1041069"/>
                <a:gd name="connsiteX25" fmla="*/ 843822 w 3112471"/>
                <a:gd name="connsiteY25" fmla="*/ 531982 h 1041069"/>
                <a:gd name="connsiteX26" fmla="*/ 715470 w 3112471"/>
                <a:gd name="connsiteY26" fmla="*/ 515018 h 1041069"/>
                <a:gd name="connsiteX27" fmla="*/ 591601 w 3112471"/>
                <a:gd name="connsiteY27" fmla="*/ 478327 h 1041069"/>
                <a:gd name="connsiteX28" fmla="*/ 510140 w 3112471"/>
                <a:gd name="connsiteY28" fmla="*/ 306866 h 1041069"/>
                <a:gd name="connsiteX29" fmla="*/ 328984 w 3112471"/>
                <a:gd name="connsiteY29" fmla="*/ 219058 h 1041069"/>
                <a:gd name="connsiteX30" fmla="*/ 155444 w 3112471"/>
                <a:gd name="connsiteY30" fmla="*/ 105278 h 1041069"/>
                <a:gd name="connsiteX31" fmla="*/ 0 w 3112471"/>
                <a:gd name="connsiteY31" fmla="*/ 0 h 1041069"/>
                <a:gd name="connsiteX0" fmla="*/ 3112471 w 3112471"/>
                <a:gd name="connsiteY0" fmla="*/ 955981 h 1041069"/>
                <a:gd name="connsiteX1" fmla="*/ 3030280 w 3112471"/>
                <a:gd name="connsiteY1" fmla="*/ 939209 h 1041069"/>
                <a:gd name="connsiteX2" fmla="*/ 2960168 w 3112471"/>
                <a:gd name="connsiteY2" fmla="*/ 901961 h 1041069"/>
                <a:gd name="connsiteX3" fmla="*/ 2864550 w 3112471"/>
                <a:gd name="connsiteY3" fmla="*/ 935608 h 1041069"/>
                <a:gd name="connsiteX4" fmla="*/ 2734414 w 3112471"/>
                <a:gd name="connsiteY4" fmla="*/ 982882 h 1041069"/>
                <a:gd name="connsiteX5" fmla="*/ 2645758 w 3112471"/>
                <a:gd name="connsiteY5" fmla="*/ 964207 h 1041069"/>
                <a:gd name="connsiteX6" fmla="*/ 2584734 w 3112471"/>
                <a:gd name="connsiteY6" fmla="*/ 956818 h 1041069"/>
                <a:gd name="connsiteX7" fmla="*/ 2482365 w 3112471"/>
                <a:gd name="connsiteY7" fmla="*/ 1040239 h 1041069"/>
                <a:gd name="connsiteX8" fmla="*/ 2386004 w 3112471"/>
                <a:gd name="connsiteY8" fmla="*/ 996432 h 1041069"/>
                <a:gd name="connsiteX9" fmla="*/ 2408890 w 3112471"/>
                <a:gd name="connsiteY9" fmla="*/ 944474 h 1041069"/>
                <a:gd name="connsiteX10" fmla="*/ 2361602 w 3112471"/>
                <a:gd name="connsiteY10" fmla="*/ 902312 h 1041069"/>
                <a:gd name="connsiteX11" fmla="*/ 2325146 w 3112471"/>
                <a:gd name="connsiteY11" fmla="*/ 858398 h 1041069"/>
                <a:gd name="connsiteX12" fmla="*/ 2263098 w 3112471"/>
                <a:gd name="connsiteY12" fmla="*/ 817619 h 1041069"/>
                <a:gd name="connsiteX13" fmla="*/ 2187677 w 3112471"/>
                <a:gd name="connsiteY13" fmla="*/ 784233 h 1041069"/>
                <a:gd name="connsiteX14" fmla="*/ 2025933 w 3112471"/>
                <a:gd name="connsiteY14" fmla="*/ 757061 h 1041069"/>
                <a:gd name="connsiteX15" fmla="*/ 1925780 w 3112471"/>
                <a:gd name="connsiteY15" fmla="*/ 743857 h 1041069"/>
                <a:gd name="connsiteX16" fmla="*/ 1879199 w 3112471"/>
                <a:gd name="connsiteY16" fmla="*/ 763626 h 1041069"/>
                <a:gd name="connsiteX17" fmla="*/ 1730922 w 3112471"/>
                <a:gd name="connsiteY17" fmla="*/ 803821 h 1041069"/>
                <a:gd name="connsiteX18" fmla="*/ 1608004 w 3112471"/>
                <a:gd name="connsiteY18" fmla="*/ 813809 h 1041069"/>
                <a:gd name="connsiteX19" fmla="*/ 1474660 w 3112471"/>
                <a:gd name="connsiteY19" fmla="*/ 814873 h 1041069"/>
                <a:gd name="connsiteX20" fmla="*/ 1280712 w 3112471"/>
                <a:gd name="connsiteY20" fmla="*/ 796226 h 1041069"/>
                <a:gd name="connsiteX21" fmla="*/ 1129018 w 3112471"/>
                <a:gd name="connsiteY21" fmla="*/ 773295 h 1041069"/>
                <a:gd name="connsiteX22" fmla="*/ 1086800 w 3112471"/>
                <a:gd name="connsiteY22" fmla="*/ 741674 h 1041069"/>
                <a:gd name="connsiteX23" fmla="*/ 1004145 w 3112471"/>
                <a:gd name="connsiteY23" fmla="*/ 654886 h 1041069"/>
                <a:gd name="connsiteX24" fmla="*/ 933520 w 3112471"/>
                <a:gd name="connsiteY24" fmla="*/ 585757 h 1041069"/>
                <a:gd name="connsiteX25" fmla="*/ 836441 w 3112471"/>
                <a:gd name="connsiteY25" fmla="*/ 534376 h 1041069"/>
                <a:gd name="connsiteX26" fmla="*/ 715470 w 3112471"/>
                <a:gd name="connsiteY26" fmla="*/ 515018 h 1041069"/>
                <a:gd name="connsiteX27" fmla="*/ 591601 w 3112471"/>
                <a:gd name="connsiteY27" fmla="*/ 478327 h 1041069"/>
                <a:gd name="connsiteX28" fmla="*/ 510140 w 3112471"/>
                <a:gd name="connsiteY28" fmla="*/ 306866 h 1041069"/>
                <a:gd name="connsiteX29" fmla="*/ 328984 w 3112471"/>
                <a:gd name="connsiteY29" fmla="*/ 219058 h 1041069"/>
                <a:gd name="connsiteX30" fmla="*/ 155444 w 3112471"/>
                <a:gd name="connsiteY30" fmla="*/ 105278 h 1041069"/>
                <a:gd name="connsiteX31" fmla="*/ 0 w 3112471"/>
                <a:gd name="connsiteY31" fmla="*/ 0 h 1041069"/>
                <a:gd name="connsiteX0" fmla="*/ 3112471 w 3112471"/>
                <a:gd name="connsiteY0" fmla="*/ 955981 h 1041069"/>
                <a:gd name="connsiteX1" fmla="*/ 3030280 w 3112471"/>
                <a:gd name="connsiteY1" fmla="*/ 939209 h 1041069"/>
                <a:gd name="connsiteX2" fmla="*/ 2960168 w 3112471"/>
                <a:gd name="connsiteY2" fmla="*/ 901961 h 1041069"/>
                <a:gd name="connsiteX3" fmla="*/ 2864550 w 3112471"/>
                <a:gd name="connsiteY3" fmla="*/ 935608 h 1041069"/>
                <a:gd name="connsiteX4" fmla="*/ 2734414 w 3112471"/>
                <a:gd name="connsiteY4" fmla="*/ 982882 h 1041069"/>
                <a:gd name="connsiteX5" fmla="*/ 2645758 w 3112471"/>
                <a:gd name="connsiteY5" fmla="*/ 964207 h 1041069"/>
                <a:gd name="connsiteX6" fmla="*/ 2584734 w 3112471"/>
                <a:gd name="connsiteY6" fmla="*/ 956818 h 1041069"/>
                <a:gd name="connsiteX7" fmla="*/ 2482365 w 3112471"/>
                <a:gd name="connsiteY7" fmla="*/ 1040239 h 1041069"/>
                <a:gd name="connsiteX8" fmla="*/ 2386004 w 3112471"/>
                <a:gd name="connsiteY8" fmla="*/ 996432 h 1041069"/>
                <a:gd name="connsiteX9" fmla="*/ 2408890 w 3112471"/>
                <a:gd name="connsiteY9" fmla="*/ 944474 h 1041069"/>
                <a:gd name="connsiteX10" fmla="*/ 2361602 w 3112471"/>
                <a:gd name="connsiteY10" fmla="*/ 902312 h 1041069"/>
                <a:gd name="connsiteX11" fmla="*/ 2325146 w 3112471"/>
                <a:gd name="connsiteY11" fmla="*/ 858398 h 1041069"/>
                <a:gd name="connsiteX12" fmla="*/ 2263098 w 3112471"/>
                <a:gd name="connsiteY12" fmla="*/ 817619 h 1041069"/>
                <a:gd name="connsiteX13" fmla="*/ 2187677 w 3112471"/>
                <a:gd name="connsiteY13" fmla="*/ 784233 h 1041069"/>
                <a:gd name="connsiteX14" fmla="*/ 2025933 w 3112471"/>
                <a:gd name="connsiteY14" fmla="*/ 757061 h 1041069"/>
                <a:gd name="connsiteX15" fmla="*/ 1925780 w 3112471"/>
                <a:gd name="connsiteY15" fmla="*/ 743857 h 1041069"/>
                <a:gd name="connsiteX16" fmla="*/ 1879199 w 3112471"/>
                <a:gd name="connsiteY16" fmla="*/ 763626 h 1041069"/>
                <a:gd name="connsiteX17" fmla="*/ 1730922 w 3112471"/>
                <a:gd name="connsiteY17" fmla="*/ 803821 h 1041069"/>
                <a:gd name="connsiteX18" fmla="*/ 1608004 w 3112471"/>
                <a:gd name="connsiteY18" fmla="*/ 813809 h 1041069"/>
                <a:gd name="connsiteX19" fmla="*/ 1474660 w 3112471"/>
                <a:gd name="connsiteY19" fmla="*/ 814873 h 1041069"/>
                <a:gd name="connsiteX20" fmla="*/ 1280712 w 3112471"/>
                <a:gd name="connsiteY20" fmla="*/ 796226 h 1041069"/>
                <a:gd name="connsiteX21" fmla="*/ 1129018 w 3112471"/>
                <a:gd name="connsiteY21" fmla="*/ 773295 h 1041069"/>
                <a:gd name="connsiteX22" fmla="*/ 1086800 w 3112471"/>
                <a:gd name="connsiteY22" fmla="*/ 741674 h 1041069"/>
                <a:gd name="connsiteX23" fmla="*/ 1004145 w 3112471"/>
                <a:gd name="connsiteY23" fmla="*/ 654886 h 1041069"/>
                <a:gd name="connsiteX24" fmla="*/ 933520 w 3112471"/>
                <a:gd name="connsiteY24" fmla="*/ 585757 h 1041069"/>
                <a:gd name="connsiteX25" fmla="*/ 836441 w 3112471"/>
                <a:gd name="connsiteY25" fmla="*/ 534376 h 1041069"/>
                <a:gd name="connsiteX26" fmla="*/ 715470 w 3112471"/>
                <a:gd name="connsiteY26" fmla="*/ 515018 h 1041069"/>
                <a:gd name="connsiteX27" fmla="*/ 591601 w 3112471"/>
                <a:gd name="connsiteY27" fmla="*/ 478327 h 1041069"/>
                <a:gd name="connsiteX28" fmla="*/ 468314 w 3112471"/>
                <a:gd name="connsiteY28" fmla="*/ 349959 h 1041069"/>
                <a:gd name="connsiteX29" fmla="*/ 328984 w 3112471"/>
                <a:gd name="connsiteY29" fmla="*/ 219058 h 1041069"/>
                <a:gd name="connsiteX30" fmla="*/ 155444 w 3112471"/>
                <a:gd name="connsiteY30" fmla="*/ 105278 h 1041069"/>
                <a:gd name="connsiteX31" fmla="*/ 0 w 3112471"/>
                <a:gd name="connsiteY31" fmla="*/ 0 h 1041069"/>
                <a:gd name="connsiteX0" fmla="*/ 3112471 w 3112471"/>
                <a:gd name="connsiteY0" fmla="*/ 955981 h 1041069"/>
                <a:gd name="connsiteX1" fmla="*/ 3030280 w 3112471"/>
                <a:gd name="connsiteY1" fmla="*/ 939209 h 1041069"/>
                <a:gd name="connsiteX2" fmla="*/ 2960168 w 3112471"/>
                <a:gd name="connsiteY2" fmla="*/ 901961 h 1041069"/>
                <a:gd name="connsiteX3" fmla="*/ 2864550 w 3112471"/>
                <a:gd name="connsiteY3" fmla="*/ 935608 h 1041069"/>
                <a:gd name="connsiteX4" fmla="*/ 2734414 w 3112471"/>
                <a:gd name="connsiteY4" fmla="*/ 982882 h 1041069"/>
                <a:gd name="connsiteX5" fmla="*/ 2645758 w 3112471"/>
                <a:gd name="connsiteY5" fmla="*/ 964207 h 1041069"/>
                <a:gd name="connsiteX6" fmla="*/ 2584734 w 3112471"/>
                <a:gd name="connsiteY6" fmla="*/ 956818 h 1041069"/>
                <a:gd name="connsiteX7" fmla="*/ 2482365 w 3112471"/>
                <a:gd name="connsiteY7" fmla="*/ 1040239 h 1041069"/>
                <a:gd name="connsiteX8" fmla="*/ 2386004 w 3112471"/>
                <a:gd name="connsiteY8" fmla="*/ 996432 h 1041069"/>
                <a:gd name="connsiteX9" fmla="*/ 2408890 w 3112471"/>
                <a:gd name="connsiteY9" fmla="*/ 944474 h 1041069"/>
                <a:gd name="connsiteX10" fmla="*/ 2361602 w 3112471"/>
                <a:gd name="connsiteY10" fmla="*/ 902312 h 1041069"/>
                <a:gd name="connsiteX11" fmla="*/ 2325146 w 3112471"/>
                <a:gd name="connsiteY11" fmla="*/ 858398 h 1041069"/>
                <a:gd name="connsiteX12" fmla="*/ 2263098 w 3112471"/>
                <a:gd name="connsiteY12" fmla="*/ 817619 h 1041069"/>
                <a:gd name="connsiteX13" fmla="*/ 2187677 w 3112471"/>
                <a:gd name="connsiteY13" fmla="*/ 784233 h 1041069"/>
                <a:gd name="connsiteX14" fmla="*/ 2025933 w 3112471"/>
                <a:gd name="connsiteY14" fmla="*/ 757061 h 1041069"/>
                <a:gd name="connsiteX15" fmla="*/ 1925780 w 3112471"/>
                <a:gd name="connsiteY15" fmla="*/ 743857 h 1041069"/>
                <a:gd name="connsiteX16" fmla="*/ 1879199 w 3112471"/>
                <a:gd name="connsiteY16" fmla="*/ 763626 h 1041069"/>
                <a:gd name="connsiteX17" fmla="*/ 1730922 w 3112471"/>
                <a:gd name="connsiteY17" fmla="*/ 803821 h 1041069"/>
                <a:gd name="connsiteX18" fmla="*/ 1608004 w 3112471"/>
                <a:gd name="connsiteY18" fmla="*/ 813809 h 1041069"/>
                <a:gd name="connsiteX19" fmla="*/ 1474660 w 3112471"/>
                <a:gd name="connsiteY19" fmla="*/ 814873 h 1041069"/>
                <a:gd name="connsiteX20" fmla="*/ 1280712 w 3112471"/>
                <a:gd name="connsiteY20" fmla="*/ 796226 h 1041069"/>
                <a:gd name="connsiteX21" fmla="*/ 1129018 w 3112471"/>
                <a:gd name="connsiteY21" fmla="*/ 773295 h 1041069"/>
                <a:gd name="connsiteX22" fmla="*/ 1086800 w 3112471"/>
                <a:gd name="connsiteY22" fmla="*/ 741674 h 1041069"/>
                <a:gd name="connsiteX23" fmla="*/ 1004145 w 3112471"/>
                <a:gd name="connsiteY23" fmla="*/ 654886 h 1041069"/>
                <a:gd name="connsiteX24" fmla="*/ 933520 w 3112471"/>
                <a:gd name="connsiteY24" fmla="*/ 585757 h 1041069"/>
                <a:gd name="connsiteX25" fmla="*/ 836441 w 3112471"/>
                <a:gd name="connsiteY25" fmla="*/ 534376 h 1041069"/>
                <a:gd name="connsiteX26" fmla="*/ 715470 w 3112471"/>
                <a:gd name="connsiteY26" fmla="*/ 515018 h 1041069"/>
                <a:gd name="connsiteX27" fmla="*/ 591601 w 3112471"/>
                <a:gd name="connsiteY27" fmla="*/ 478327 h 1041069"/>
                <a:gd name="connsiteX28" fmla="*/ 468314 w 3112471"/>
                <a:gd name="connsiteY28" fmla="*/ 349959 h 1041069"/>
                <a:gd name="connsiteX29" fmla="*/ 284698 w 3112471"/>
                <a:gd name="connsiteY29" fmla="*/ 257363 h 1041069"/>
                <a:gd name="connsiteX30" fmla="*/ 155444 w 3112471"/>
                <a:gd name="connsiteY30" fmla="*/ 105278 h 1041069"/>
                <a:gd name="connsiteX31" fmla="*/ 0 w 3112471"/>
                <a:gd name="connsiteY31" fmla="*/ 0 h 1041069"/>
                <a:gd name="connsiteX0" fmla="*/ 3112471 w 3112471"/>
                <a:gd name="connsiteY0" fmla="*/ 955981 h 1041069"/>
                <a:gd name="connsiteX1" fmla="*/ 3030280 w 3112471"/>
                <a:gd name="connsiteY1" fmla="*/ 939209 h 1041069"/>
                <a:gd name="connsiteX2" fmla="*/ 2960168 w 3112471"/>
                <a:gd name="connsiteY2" fmla="*/ 901961 h 1041069"/>
                <a:gd name="connsiteX3" fmla="*/ 2864550 w 3112471"/>
                <a:gd name="connsiteY3" fmla="*/ 935608 h 1041069"/>
                <a:gd name="connsiteX4" fmla="*/ 2734414 w 3112471"/>
                <a:gd name="connsiteY4" fmla="*/ 982882 h 1041069"/>
                <a:gd name="connsiteX5" fmla="*/ 2645758 w 3112471"/>
                <a:gd name="connsiteY5" fmla="*/ 964207 h 1041069"/>
                <a:gd name="connsiteX6" fmla="*/ 2584734 w 3112471"/>
                <a:gd name="connsiteY6" fmla="*/ 956818 h 1041069"/>
                <a:gd name="connsiteX7" fmla="*/ 2482365 w 3112471"/>
                <a:gd name="connsiteY7" fmla="*/ 1040239 h 1041069"/>
                <a:gd name="connsiteX8" fmla="*/ 2386004 w 3112471"/>
                <a:gd name="connsiteY8" fmla="*/ 996432 h 1041069"/>
                <a:gd name="connsiteX9" fmla="*/ 2408890 w 3112471"/>
                <a:gd name="connsiteY9" fmla="*/ 944474 h 1041069"/>
                <a:gd name="connsiteX10" fmla="*/ 2361602 w 3112471"/>
                <a:gd name="connsiteY10" fmla="*/ 902312 h 1041069"/>
                <a:gd name="connsiteX11" fmla="*/ 2325146 w 3112471"/>
                <a:gd name="connsiteY11" fmla="*/ 858398 h 1041069"/>
                <a:gd name="connsiteX12" fmla="*/ 2263098 w 3112471"/>
                <a:gd name="connsiteY12" fmla="*/ 817619 h 1041069"/>
                <a:gd name="connsiteX13" fmla="*/ 2187677 w 3112471"/>
                <a:gd name="connsiteY13" fmla="*/ 784233 h 1041069"/>
                <a:gd name="connsiteX14" fmla="*/ 2025933 w 3112471"/>
                <a:gd name="connsiteY14" fmla="*/ 757061 h 1041069"/>
                <a:gd name="connsiteX15" fmla="*/ 1925780 w 3112471"/>
                <a:gd name="connsiteY15" fmla="*/ 743857 h 1041069"/>
                <a:gd name="connsiteX16" fmla="*/ 1879199 w 3112471"/>
                <a:gd name="connsiteY16" fmla="*/ 763626 h 1041069"/>
                <a:gd name="connsiteX17" fmla="*/ 1730922 w 3112471"/>
                <a:gd name="connsiteY17" fmla="*/ 803821 h 1041069"/>
                <a:gd name="connsiteX18" fmla="*/ 1608004 w 3112471"/>
                <a:gd name="connsiteY18" fmla="*/ 813809 h 1041069"/>
                <a:gd name="connsiteX19" fmla="*/ 1474660 w 3112471"/>
                <a:gd name="connsiteY19" fmla="*/ 814873 h 1041069"/>
                <a:gd name="connsiteX20" fmla="*/ 1280712 w 3112471"/>
                <a:gd name="connsiteY20" fmla="*/ 796226 h 1041069"/>
                <a:gd name="connsiteX21" fmla="*/ 1129018 w 3112471"/>
                <a:gd name="connsiteY21" fmla="*/ 773295 h 1041069"/>
                <a:gd name="connsiteX22" fmla="*/ 1086800 w 3112471"/>
                <a:gd name="connsiteY22" fmla="*/ 741674 h 1041069"/>
                <a:gd name="connsiteX23" fmla="*/ 1004145 w 3112471"/>
                <a:gd name="connsiteY23" fmla="*/ 654886 h 1041069"/>
                <a:gd name="connsiteX24" fmla="*/ 933520 w 3112471"/>
                <a:gd name="connsiteY24" fmla="*/ 585757 h 1041069"/>
                <a:gd name="connsiteX25" fmla="*/ 836441 w 3112471"/>
                <a:gd name="connsiteY25" fmla="*/ 534376 h 1041069"/>
                <a:gd name="connsiteX26" fmla="*/ 715470 w 3112471"/>
                <a:gd name="connsiteY26" fmla="*/ 515018 h 1041069"/>
                <a:gd name="connsiteX27" fmla="*/ 591601 w 3112471"/>
                <a:gd name="connsiteY27" fmla="*/ 478327 h 1041069"/>
                <a:gd name="connsiteX28" fmla="*/ 468314 w 3112471"/>
                <a:gd name="connsiteY28" fmla="*/ 349959 h 1041069"/>
                <a:gd name="connsiteX29" fmla="*/ 284698 w 3112471"/>
                <a:gd name="connsiteY29" fmla="*/ 257363 h 1041069"/>
                <a:gd name="connsiteX30" fmla="*/ 108698 w 3112471"/>
                <a:gd name="connsiteY30" fmla="*/ 124430 h 1041069"/>
                <a:gd name="connsiteX31" fmla="*/ 0 w 3112471"/>
                <a:gd name="connsiteY31" fmla="*/ 0 h 1041069"/>
                <a:gd name="connsiteX0" fmla="*/ 3144456 w 3144456"/>
                <a:gd name="connsiteY0" fmla="*/ 965557 h 1050645"/>
                <a:gd name="connsiteX1" fmla="*/ 3062265 w 3144456"/>
                <a:gd name="connsiteY1" fmla="*/ 948785 h 1050645"/>
                <a:gd name="connsiteX2" fmla="*/ 2992153 w 3144456"/>
                <a:gd name="connsiteY2" fmla="*/ 911537 h 1050645"/>
                <a:gd name="connsiteX3" fmla="*/ 2896535 w 3144456"/>
                <a:gd name="connsiteY3" fmla="*/ 945184 h 1050645"/>
                <a:gd name="connsiteX4" fmla="*/ 2766399 w 3144456"/>
                <a:gd name="connsiteY4" fmla="*/ 992458 h 1050645"/>
                <a:gd name="connsiteX5" fmla="*/ 2677743 w 3144456"/>
                <a:gd name="connsiteY5" fmla="*/ 973783 h 1050645"/>
                <a:gd name="connsiteX6" fmla="*/ 2616719 w 3144456"/>
                <a:gd name="connsiteY6" fmla="*/ 966394 h 1050645"/>
                <a:gd name="connsiteX7" fmla="*/ 2514350 w 3144456"/>
                <a:gd name="connsiteY7" fmla="*/ 1049815 h 1050645"/>
                <a:gd name="connsiteX8" fmla="*/ 2417989 w 3144456"/>
                <a:gd name="connsiteY8" fmla="*/ 1006008 h 1050645"/>
                <a:gd name="connsiteX9" fmla="*/ 2440875 w 3144456"/>
                <a:gd name="connsiteY9" fmla="*/ 954050 h 1050645"/>
                <a:gd name="connsiteX10" fmla="*/ 2393587 w 3144456"/>
                <a:gd name="connsiteY10" fmla="*/ 911888 h 1050645"/>
                <a:gd name="connsiteX11" fmla="*/ 2357131 w 3144456"/>
                <a:gd name="connsiteY11" fmla="*/ 867974 h 1050645"/>
                <a:gd name="connsiteX12" fmla="*/ 2295083 w 3144456"/>
                <a:gd name="connsiteY12" fmla="*/ 827195 h 1050645"/>
                <a:gd name="connsiteX13" fmla="*/ 2219662 w 3144456"/>
                <a:gd name="connsiteY13" fmla="*/ 793809 h 1050645"/>
                <a:gd name="connsiteX14" fmla="*/ 2057918 w 3144456"/>
                <a:gd name="connsiteY14" fmla="*/ 766637 h 1050645"/>
                <a:gd name="connsiteX15" fmla="*/ 1957765 w 3144456"/>
                <a:gd name="connsiteY15" fmla="*/ 753433 h 1050645"/>
                <a:gd name="connsiteX16" fmla="*/ 1911184 w 3144456"/>
                <a:gd name="connsiteY16" fmla="*/ 773202 h 1050645"/>
                <a:gd name="connsiteX17" fmla="*/ 1762907 w 3144456"/>
                <a:gd name="connsiteY17" fmla="*/ 813397 h 1050645"/>
                <a:gd name="connsiteX18" fmla="*/ 1639989 w 3144456"/>
                <a:gd name="connsiteY18" fmla="*/ 823385 h 1050645"/>
                <a:gd name="connsiteX19" fmla="*/ 1506645 w 3144456"/>
                <a:gd name="connsiteY19" fmla="*/ 824449 h 1050645"/>
                <a:gd name="connsiteX20" fmla="*/ 1312697 w 3144456"/>
                <a:gd name="connsiteY20" fmla="*/ 805802 h 1050645"/>
                <a:gd name="connsiteX21" fmla="*/ 1161003 w 3144456"/>
                <a:gd name="connsiteY21" fmla="*/ 782871 h 1050645"/>
                <a:gd name="connsiteX22" fmla="*/ 1118785 w 3144456"/>
                <a:gd name="connsiteY22" fmla="*/ 751250 h 1050645"/>
                <a:gd name="connsiteX23" fmla="*/ 1036130 w 3144456"/>
                <a:gd name="connsiteY23" fmla="*/ 664462 h 1050645"/>
                <a:gd name="connsiteX24" fmla="*/ 965505 w 3144456"/>
                <a:gd name="connsiteY24" fmla="*/ 595333 h 1050645"/>
                <a:gd name="connsiteX25" fmla="*/ 868426 w 3144456"/>
                <a:gd name="connsiteY25" fmla="*/ 543952 h 1050645"/>
                <a:gd name="connsiteX26" fmla="*/ 747455 w 3144456"/>
                <a:gd name="connsiteY26" fmla="*/ 524594 h 1050645"/>
                <a:gd name="connsiteX27" fmla="*/ 623586 w 3144456"/>
                <a:gd name="connsiteY27" fmla="*/ 487903 h 1050645"/>
                <a:gd name="connsiteX28" fmla="*/ 500299 w 3144456"/>
                <a:gd name="connsiteY28" fmla="*/ 359535 h 1050645"/>
                <a:gd name="connsiteX29" fmla="*/ 316683 w 3144456"/>
                <a:gd name="connsiteY29" fmla="*/ 266939 h 1050645"/>
                <a:gd name="connsiteX30" fmla="*/ 140683 w 3144456"/>
                <a:gd name="connsiteY30" fmla="*/ 134006 h 1050645"/>
                <a:gd name="connsiteX31" fmla="*/ 0 w 3144456"/>
                <a:gd name="connsiteY31" fmla="*/ 0 h 1050645"/>
                <a:gd name="connsiteX0" fmla="*/ 3144456 w 3144456"/>
                <a:gd name="connsiteY0" fmla="*/ 965557 h 1050645"/>
                <a:gd name="connsiteX1" fmla="*/ 3062265 w 3144456"/>
                <a:gd name="connsiteY1" fmla="*/ 948785 h 1050645"/>
                <a:gd name="connsiteX2" fmla="*/ 2992153 w 3144456"/>
                <a:gd name="connsiteY2" fmla="*/ 911537 h 1050645"/>
                <a:gd name="connsiteX3" fmla="*/ 2896535 w 3144456"/>
                <a:gd name="connsiteY3" fmla="*/ 945184 h 1050645"/>
                <a:gd name="connsiteX4" fmla="*/ 2766399 w 3144456"/>
                <a:gd name="connsiteY4" fmla="*/ 985276 h 1050645"/>
                <a:gd name="connsiteX5" fmla="*/ 2677743 w 3144456"/>
                <a:gd name="connsiteY5" fmla="*/ 973783 h 1050645"/>
                <a:gd name="connsiteX6" fmla="*/ 2616719 w 3144456"/>
                <a:gd name="connsiteY6" fmla="*/ 966394 h 1050645"/>
                <a:gd name="connsiteX7" fmla="*/ 2514350 w 3144456"/>
                <a:gd name="connsiteY7" fmla="*/ 1049815 h 1050645"/>
                <a:gd name="connsiteX8" fmla="*/ 2417989 w 3144456"/>
                <a:gd name="connsiteY8" fmla="*/ 1006008 h 1050645"/>
                <a:gd name="connsiteX9" fmla="*/ 2440875 w 3144456"/>
                <a:gd name="connsiteY9" fmla="*/ 954050 h 1050645"/>
                <a:gd name="connsiteX10" fmla="*/ 2393587 w 3144456"/>
                <a:gd name="connsiteY10" fmla="*/ 911888 h 1050645"/>
                <a:gd name="connsiteX11" fmla="*/ 2357131 w 3144456"/>
                <a:gd name="connsiteY11" fmla="*/ 867974 h 1050645"/>
                <a:gd name="connsiteX12" fmla="*/ 2295083 w 3144456"/>
                <a:gd name="connsiteY12" fmla="*/ 827195 h 1050645"/>
                <a:gd name="connsiteX13" fmla="*/ 2219662 w 3144456"/>
                <a:gd name="connsiteY13" fmla="*/ 793809 h 1050645"/>
                <a:gd name="connsiteX14" fmla="*/ 2057918 w 3144456"/>
                <a:gd name="connsiteY14" fmla="*/ 766637 h 1050645"/>
                <a:gd name="connsiteX15" fmla="*/ 1957765 w 3144456"/>
                <a:gd name="connsiteY15" fmla="*/ 753433 h 1050645"/>
                <a:gd name="connsiteX16" fmla="*/ 1911184 w 3144456"/>
                <a:gd name="connsiteY16" fmla="*/ 773202 h 1050645"/>
                <a:gd name="connsiteX17" fmla="*/ 1762907 w 3144456"/>
                <a:gd name="connsiteY17" fmla="*/ 813397 h 1050645"/>
                <a:gd name="connsiteX18" fmla="*/ 1639989 w 3144456"/>
                <a:gd name="connsiteY18" fmla="*/ 823385 h 1050645"/>
                <a:gd name="connsiteX19" fmla="*/ 1506645 w 3144456"/>
                <a:gd name="connsiteY19" fmla="*/ 824449 h 1050645"/>
                <a:gd name="connsiteX20" fmla="*/ 1312697 w 3144456"/>
                <a:gd name="connsiteY20" fmla="*/ 805802 h 1050645"/>
                <a:gd name="connsiteX21" fmla="*/ 1161003 w 3144456"/>
                <a:gd name="connsiteY21" fmla="*/ 782871 h 1050645"/>
                <a:gd name="connsiteX22" fmla="*/ 1118785 w 3144456"/>
                <a:gd name="connsiteY22" fmla="*/ 751250 h 1050645"/>
                <a:gd name="connsiteX23" fmla="*/ 1036130 w 3144456"/>
                <a:gd name="connsiteY23" fmla="*/ 664462 h 1050645"/>
                <a:gd name="connsiteX24" fmla="*/ 965505 w 3144456"/>
                <a:gd name="connsiteY24" fmla="*/ 595333 h 1050645"/>
                <a:gd name="connsiteX25" fmla="*/ 868426 w 3144456"/>
                <a:gd name="connsiteY25" fmla="*/ 543952 h 1050645"/>
                <a:gd name="connsiteX26" fmla="*/ 747455 w 3144456"/>
                <a:gd name="connsiteY26" fmla="*/ 524594 h 1050645"/>
                <a:gd name="connsiteX27" fmla="*/ 623586 w 3144456"/>
                <a:gd name="connsiteY27" fmla="*/ 487903 h 1050645"/>
                <a:gd name="connsiteX28" fmla="*/ 500299 w 3144456"/>
                <a:gd name="connsiteY28" fmla="*/ 359535 h 1050645"/>
                <a:gd name="connsiteX29" fmla="*/ 316683 w 3144456"/>
                <a:gd name="connsiteY29" fmla="*/ 266939 h 1050645"/>
                <a:gd name="connsiteX30" fmla="*/ 140683 w 3144456"/>
                <a:gd name="connsiteY30" fmla="*/ 134006 h 1050645"/>
                <a:gd name="connsiteX31" fmla="*/ 0 w 3144456"/>
                <a:gd name="connsiteY31" fmla="*/ 0 h 1050645"/>
                <a:gd name="connsiteX0" fmla="*/ 3338069 w 3338069"/>
                <a:gd name="connsiteY0" fmla="*/ 853088 h 938176"/>
                <a:gd name="connsiteX1" fmla="*/ 3255878 w 3338069"/>
                <a:gd name="connsiteY1" fmla="*/ 836316 h 938176"/>
                <a:gd name="connsiteX2" fmla="*/ 3185766 w 3338069"/>
                <a:gd name="connsiteY2" fmla="*/ 799068 h 938176"/>
                <a:gd name="connsiteX3" fmla="*/ 3090148 w 3338069"/>
                <a:gd name="connsiteY3" fmla="*/ 832715 h 938176"/>
                <a:gd name="connsiteX4" fmla="*/ 2960012 w 3338069"/>
                <a:gd name="connsiteY4" fmla="*/ 872807 h 938176"/>
                <a:gd name="connsiteX5" fmla="*/ 2871356 w 3338069"/>
                <a:gd name="connsiteY5" fmla="*/ 861314 h 938176"/>
                <a:gd name="connsiteX6" fmla="*/ 2810332 w 3338069"/>
                <a:gd name="connsiteY6" fmla="*/ 853925 h 938176"/>
                <a:gd name="connsiteX7" fmla="*/ 2707963 w 3338069"/>
                <a:gd name="connsiteY7" fmla="*/ 937346 h 938176"/>
                <a:gd name="connsiteX8" fmla="*/ 2611602 w 3338069"/>
                <a:gd name="connsiteY8" fmla="*/ 893539 h 938176"/>
                <a:gd name="connsiteX9" fmla="*/ 2634488 w 3338069"/>
                <a:gd name="connsiteY9" fmla="*/ 841581 h 938176"/>
                <a:gd name="connsiteX10" fmla="*/ 2587200 w 3338069"/>
                <a:gd name="connsiteY10" fmla="*/ 799419 h 938176"/>
                <a:gd name="connsiteX11" fmla="*/ 2550744 w 3338069"/>
                <a:gd name="connsiteY11" fmla="*/ 755505 h 938176"/>
                <a:gd name="connsiteX12" fmla="*/ 2488696 w 3338069"/>
                <a:gd name="connsiteY12" fmla="*/ 714726 h 938176"/>
                <a:gd name="connsiteX13" fmla="*/ 2413275 w 3338069"/>
                <a:gd name="connsiteY13" fmla="*/ 681340 h 938176"/>
                <a:gd name="connsiteX14" fmla="*/ 2251531 w 3338069"/>
                <a:gd name="connsiteY14" fmla="*/ 654168 h 938176"/>
                <a:gd name="connsiteX15" fmla="*/ 2151378 w 3338069"/>
                <a:gd name="connsiteY15" fmla="*/ 640964 h 938176"/>
                <a:gd name="connsiteX16" fmla="*/ 2104797 w 3338069"/>
                <a:gd name="connsiteY16" fmla="*/ 660733 h 938176"/>
                <a:gd name="connsiteX17" fmla="*/ 1956520 w 3338069"/>
                <a:gd name="connsiteY17" fmla="*/ 700928 h 938176"/>
                <a:gd name="connsiteX18" fmla="*/ 1833602 w 3338069"/>
                <a:gd name="connsiteY18" fmla="*/ 710916 h 938176"/>
                <a:gd name="connsiteX19" fmla="*/ 1700258 w 3338069"/>
                <a:gd name="connsiteY19" fmla="*/ 711980 h 938176"/>
                <a:gd name="connsiteX20" fmla="*/ 1506310 w 3338069"/>
                <a:gd name="connsiteY20" fmla="*/ 693333 h 938176"/>
                <a:gd name="connsiteX21" fmla="*/ 1354616 w 3338069"/>
                <a:gd name="connsiteY21" fmla="*/ 670402 h 938176"/>
                <a:gd name="connsiteX22" fmla="*/ 1312398 w 3338069"/>
                <a:gd name="connsiteY22" fmla="*/ 638781 h 938176"/>
                <a:gd name="connsiteX23" fmla="*/ 1229743 w 3338069"/>
                <a:gd name="connsiteY23" fmla="*/ 551993 h 938176"/>
                <a:gd name="connsiteX24" fmla="*/ 1159118 w 3338069"/>
                <a:gd name="connsiteY24" fmla="*/ 482864 h 938176"/>
                <a:gd name="connsiteX25" fmla="*/ 1062039 w 3338069"/>
                <a:gd name="connsiteY25" fmla="*/ 431483 h 938176"/>
                <a:gd name="connsiteX26" fmla="*/ 941068 w 3338069"/>
                <a:gd name="connsiteY26" fmla="*/ 412125 h 938176"/>
                <a:gd name="connsiteX27" fmla="*/ 817199 w 3338069"/>
                <a:gd name="connsiteY27" fmla="*/ 375434 h 938176"/>
                <a:gd name="connsiteX28" fmla="*/ 693912 w 3338069"/>
                <a:gd name="connsiteY28" fmla="*/ 247066 h 938176"/>
                <a:gd name="connsiteX29" fmla="*/ 510296 w 3338069"/>
                <a:gd name="connsiteY29" fmla="*/ 154470 h 938176"/>
                <a:gd name="connsiteX30" fmla="*/ 334296 w 3338069"/>
                <a:gd name="connsiteY30" fmla="*/ 21537 h 938176"/>
                <a:gd name="connsiteX31" fmla="*/ 0 w 3338069"/>
                <a:gd name="connsiteY31" fmla="*/ 54571 h 938176"/>
                <a:gd name="connsiteX0" fmla="*/ 3338069 w 3338069"/>
                <a:gd name="connsiteY0" fmla="*/ 800176 h 885264"/>
                <a:gd name="connsiteX1" fmla="*/ 3255878 w 3338069"/>
                <a:gd name="connsiteY1" fmla="*/ 783404 h 885264"/>
                <a:gd name="connsiteX2" fmla="*/ 3185766 w 3338069"/>
                <a:gd name="connsiteY2" fmla="*/ 746156 h 885264"/>
                <a:gd name="connsiteX3" fmla="*/ 3090148 w 3338069"/>
                <a:gd name="connsiteY3" fmla="*/ 779803 h 885264"/>
                <a:gd name="connsiteX4" fmla="*/ 2960012 w 3338069"/>
                <a:gd name="connsiteY4" fmla="*/ 819895 h 885264"/>
                <a:gd name="connsiteX5" fmla="*/ 2871356 w 3338069"/>
                <a:gd name="connsiteY5" fmla="*/ 808402 h 885264"/>
                <a:gd name="connsiteX6" fmla="*/ 2810332 w 3338069"/>
                <a:gd name="connsiteY6" fmla="*/ 801013 h 885264"/>
                <a:gd name="connsiteX7" fmla="*/ 2707963 w 3338069"/>
                <a:gd name="connsiteY7" fmla="*/ 884434 h 885264"/>
                <a:gd name="connsiteX8" fmla="*/ 2611602 w 3338069"/>
                <a:gd name="connsiteY8" fmla="*/ 840627 h 885264"/>
                <a:gd name="connsiteX9" fmla="*/ 2634488 w 3338069"/>
                <a:gd name="connsiteY9" fmla="*/ 788669 h 885264"/>
                <a:gd name="connsiteX10" fmla="*/ 2587200 w 3338069"/>
                <a:gd name="connsiteY10" fmla="*/ 746507 h 885264"/>
                <a:gd name="connsiteX11" fmla="*/ 2550744 w 3338069"/>
                <a:gd name="connsiteY11" fmla="*/ 702593 h 885264"/>
                <a:gd name="connsiteX12" fmla="*/ 2488696 w 3338069"/>
                <a:gd name="connsiteY12" fmla="*/ 661814 h 885264"/>
                <a:gd name="connsiteX13" fmla="*/ 2413275 w 3338069"/>
                <a:gd name="connsiteY13" fmla="*/ 628428 h 885264"/>
                <a:gd name="connsiteX14" fmla="*/ 2251531 w 3338069"/>
                <a:gd name="connsiteY14" fmla="*/ 601256 h 885264"/>
                <a:gd name="connsiteX15" fmla="*/ 2151378 w 3338069"/>
                <a:gd name="connsiteY15" fmla="*/ 588052 h 885264"/>
                <a:gd name="connsiteX16" fmla="*/ 2104797 w 3338069"/>
                <a:gd name="connsiteY16" fmla="*/ 607821 h 885264"/>
                <a:gd name="connsiteX17" fmla="*/ 1956520 w 3338069"/>
                <a:gd name="connsiteY17" fmla="*/ 648016 h 885264"/>
                <a:gd name="connsiteX18" fmla="*/ 1833602 w 3338069"/>
                <a:gd name="connsiteY18" fmla="*/ 658004 h 885264"/>
                <a:gd name="connsiteX19" fmla="*/ 1700258 w 3338069"/>
                <a:gd name="connsiteY19" fmla="*/ 659068 h 885264"/>
                <a:gd name="connsiteX20" fmla="*/ 1506310 w 3338069"/>
                <a:gd name="connsiteY20" fmla="*/ 640421 h 885264"/>
                <a:gd name="connsiteX21" fmla="*/ 1354616 w 3338069"/>
                <a:gd name="connsiteY21" fmla="*/ 617490 h 885264"/>
                <a:gd name="connsiteX22" fmla="*/ 1312398 w 3338069"/>
                <a:gd name="connsiteY22" fmla="*/ 585869 h 885264"/>
                <a:gd name="connsiteX23" fmla="*/ 1229743 w 3338069"/>
                <a:gd name="connsiteY23" fmla="*/ 499081 h 885264"/>
                <a:gd name="connsiteX24" fmla="*/ 1159118 w 3338069"/>
                <a:gd name="connsiteY24" fmla="*/ 429952 h 885264"/>
                <a:gd name="connsiteX25" fmla="*/ 1062039 w 3338069"/>
                <a:gd name="connsiteY25" fmla="*/ 378571 h 885264"/>
                <a:gd name="connsiteX26" fmla="*/ 941068 w 3338069"/>
                <a:gd name="connsiteY26" fmla="*/ 359213 h 885264"/>
                <a:gd name="connsiteX27" fmla="*/ 817199 w 3338069"/>
                <a:gd name="connsiteY27" fmla="*/ 322522 h 885264"/>
                <a:gd name="connsiteX28" fmla="*/ 693912 w 3338069"/>
                <a:gd name="connsiteY28" fmla="*/ 194154 h 885264"/>
                <a:gd name="connsiteX29" fmla="*/ 510296 w 3338069"/>
                <a:gd name="connsiteY29" fmla="*/ 101558 h 885264"/>
                <a:gd name="connsiteX30" fmla="*/ 247954 w 3338069"/>
                <a:gd name="connsiteY30" fmla="*/ 44552 h 885264"/>
                <a:gd name="connsiteX31" fmla="*/ 0 w 3338069"/>
                <a:gd name="connsiteY31" fmla="*/ 1659 h 885264"/>
                <a:gd name="connsiteX0" fmla="*/ 3338069 w 3338069"/>
                <a:gd name="connsiteY0" fmla="*/ 800176 h 885264"/>
                <a:gd name="connsiteX1" fmla="*/ 3255878 w 3338069"/>
                <a:gd name="connsiteY1" fmla="*/ 783404 h 885264"/>
                <a:gd name="connsiteX2" fmla="*/ 3185766 w 3338069"/>
                <a:gd name="connsiteY2" fmla="*/ 746156 h 885264"/>
                <a:gd name="connsiteX3" fmla="*/ 3090148 w 3338069"/>
                <a:gd name="connsiteY3" fmla="*/ 779803 h 885264"/>
                <a:gd name="connsiteX4" fmla="*/ 2960012 w 3338069"/>
                <a:gd name="connsiteY4" fmla="*/ 819895 h 885264"/>
                <a:gd name="connsiteX5" fmla="*/ 2871356 w 3338069"/>
                <a:gd name="connsiteY5" fmla="*/ 808402 h 885264"/>
                <a:gd name="connsiteX6" fmla="*/ 2810332 w 3338069"/>
                <a:gd name="connsiteY6" fmla="*/ 801013 h 885264"/>
                <a:gd name="connsiteX7" fmla="*/ 2707963 w 3338069"/>
                <a:gd name="connsiteY7" fmla="*/ 884434 h 885264"/>
                <a:gd name="connsiteX8" fmla="*/ 2611602 w 3338069"/>
                <a:gd name="connsiteY8" fmla="*/ 840627 h 885264"/>
                <a:gd name="connsiteX9" fmla="*/ 2634488 w 3338069"/>
                <a:gd name="connsiteY9" fmla="*/ 788669 h 885264"/>
                <a:gd name="connsiteX10" fmla="*/ 2587200 w 3338069"/>
                <a:gd name="connsiteY10" fmla="*/ 746507 h 885264"/>
                <a:gd name="connsiteX11" fmla="*/ 2550744 w 3338069"/>
                <a:gd name="connsiteY11" fmla="*/ 702593 h 885264"/>
                <a:gd name="connsiteX12" fmla="*/ 2488696 w 3338069"/>
                <a:gd name="connsiteY12" fmla="*/ 661814 h 885264"/>
                <a:gd name="connsiteX13" fmla="*/ 2413275 w 3338069"/>
                <a:gd name="connsiteY13" fmla="*/ 628428 h 885264"/>
                <a:gd name="connsiteX14" fmla="*/ 2251531 w 3338069"/>
                <a:gd name="connsiteY14" fmla="*/ 601256 h 885264"/>
                <a:gd name="connsiteX15" fmla="*/ 2151378 w 3338069"/>
                <a:gd name="connsiteY15" fmla="*/ 588052 h 885264"/>
                <a:gd name="connsiteX16" fmla="*/ 2104797 w 3338069"/>
                <a:gd name="connsiteY16" fmla="*/ 607821 h 885264"/>
                <a:gd name="connsiteX17" fmla="*/ 1956520 w 3338069"/>
                <a:gd name="connsiteY17" fmla="*/ 648016 h 885264"/>
                <a:gd name="connsiteX18" fmla="*/ 1833602 w 3338069"/>
                <a:gd name="connsiteY18" fmla="*/ 658004 h 885264"/>
                <a:gd name="connsiteX19" fmla="*/ 1700258 w 3338069"/>
                <a:gd name="connsiteY19" fmla="*/ 659068 h 885264"/>
                <a:gd name="connsiteX20" fmla="*/ 1506310 w 3338069"/>
                <a:gd name="connsiteY20" fmla="*/ 640421 h 885264"/>
                <a:gd name="connsiteX21" fmla="*/ 1354616 w 3338069"/>
                <a:gd name="connsiteY21" fmla="*/ 617490 h 885264"/>
                <a:gd name="connsiteX22" fmla="*/ 1312398 w 3338069"/>
                <a:gd name="connsiteY22" fmla="*/ 585869 h 885264"/>
                <a:gd name="connsiteX23" fmla="*/ 1229743 w 3338069"/>
                <a:gd name="connsiteY23" fmla="*/ 499081 h 885264"/>
                <a:gd name="connsiteX24" fmla="*/ 1159118 w 3338069"/>
                <a:gd name="connsiteY24" fmla="*/ 429952 h 885264"/>
                <a:gd name="connsiteX25" fmla="*/ 1062039 w 3338069"/>
                <a:gd name="connsiteY25" fmla="*/ 378571 h 885264"/>
                <a:gd name="connsiteX26" fmla="*/ 941068 w 3338069"/>
                <a:gd name="connsiteY26" fmla="*/ 359213 h 885264"/>
                <a:gd name="connsiteX27" fmla="*/ 817199 w 3338069"/>
                <a:gd name="connsiteY27" fmla="*/ 322522 h 885264"/>
                <a:gd name="connsiteX28" fmla="*/ 693912 w 3338069"/>
                <a:gd name="connsiteY28" fmla="*/ 194154 h 885264"/>
                <a:gd name="connsiteX29" fmla="*/ 429188 w 3338069"/>
                <a:gd name="connsiteY29" fmla="*/ 159769 h 885264"/>
                <a:gd name="connsiteX30" fmla="*/ 247954 w 3338069"/>
                <a:gd name="connsiteY30" fmla="*/ 44552 h 885264"/>
                <a:gd name="connsiteX31" fmla="*/ 0 w 3338069"/>
                <a:gd name="connsiteY31" fmla="*/ 1659 h 885264"/>
                <a:gd name="connsiteX0" fmla="*/ 3338069 w 3338069"/>
                <a:gd name="connsiteY0" fmla="*/ 800176 h 885264"/>
                <a:gd name="connsiteX1" fmla="*/ 3255878 w 3338069"/>
                <a:gd name="connsiteY1" fmla="*/ 783404 h 885264"/>
                <a:gd name="connsiteX2" fmla="*/ 3185766 w 3338069"/>
                <a:gd name="connsiteY2" fmla="*/ 746156 h 885264"/>
                <a:gd name="connsiteX3" fmla="*/ 3090148 w 3338069"/>
                <a:gd name="connsiteY3" fmla="*/ 779803 h 885264"/>
                <a:gd name="connsiteX4" fmla="*/ 2960012 w 3338069"/>
                <a:gd name="connsiteY4" fmla="*/ 819895 h 885264"/>
                <a:gd name="connsiteX5" fmla="*/ 2871356 w 3338069"/>
                <a:gd name="connsiteY5" fmla="*/ 808402 h 885264"/>
                <a:gd name="connsiteX6" fmla="*/ 2810332 w 3338069"/>
                <a:gd name="connsiteY6" fmla="*/ 801013 h 885264"/>
                <a:gd name="connsiteX7" fmla="*/ 2707963 w 3338069"/>
                <a:gd name="connsiteY7" fmla="*/ 884434 h 885264"/>
                <a:gd name="connsiteX8" fmla="*/ 2611602 w 3338069"/>
                <a:gd name="connsiteY8" fmla="*/ 840627 h 885264"/>
                <a:gd name="connsiteX9" fmla="*/ 2634488 w 3338069"/>
                <a:gd name="connsiteY9" fmla="*/ 788669 h 885264"/>
                <a:gd name="connsiteX10" fmla="*/ 2587200 w 3338069"/>
                <a:gd name="connsiteY10" fmla="*/ 746507 h 885264"/>
                <a:gd name="connsiteX11" fmla="*/ 2550744 w 3338069"/>
                <a:gd name="connsiteY11" fmla="*/ 702593 h 885264"/>
                <a:gd name="connsiteX12" fmla="*/ 2488696 w 3338069"/>
                <a:gd name="connsiteY12" fmla="*/ 661814 h 885264"/>
                <a:gd name="connsiteX13" fmla="*/ 2413275 w 3338069"/>
                <a:gd name="connsiteY13" fmla="*/ 628428 h 885264"/>
                <a:gd name="connsiteX14" fmla="*/ 2251531 w 3338069"/>
                <a:gd name="connsiteY14" fmla="*/ 601256 h 885264"/>
                <a:gd name="connsiteX15" fmla="*/ 2151378 w 3338069"/>
                <a:gd name="connsiteY15" fmla="*/ 588052 h 885264"/>
                <a:gd name="connsiteX16" fmla="*/ 2104797 w 3338069"/>
                <a:gd name="connsiteY16" fmla="*/ 607821 h 885264"/>
                <a:gd name="connsiteX17" fmla="*/ 1956520 w 3338069"/>
                <a:gd name="connsiteY17" fmla="*/ 648016 h 885264"/>
                <a:gd name="connsiteX18" fmla="*/ 1833602 w 3338069"/>
                <a:gd name="connsiteY18" fmla="*/ 658004 h 885264"/>
                <a:gd name="connsiteX19" fmla="*/ 1700258 w 3338069"/>
                <a:gd name="connsiteY19" fmla="*/ 659068 h 885264"/>
                <a:gd name="connsiteX20" fmla="*/ 1506310 w 3338069"/>
                <a:gd name="connsiteY20" fmla="*/ 640421 h 885264"/>
                <a:gd name="connsiteX21" fmla="*/ 1354616 w 3338069"/>
                <a:gd name="connsiteY21" fmla="*/ 617490 h 885264"/>
                <a:gd name="connsiteX22" fmla="*/ 1312398 w 3338069"/>
                <a:gd name="connsiteY22" fmla="*/ 585869 h 885264"/>
                <a:gd name="connsiteX23" fmla="*/ 1229743 w 3338069"/>
                <a:gd name="connsiteY23" fmla="*/ 499081 h 885264"/>
                <a:gd name="connsiteX24" fmla="*/ 1159118 w 3338069"/>
                <a:gd name="connsiteY24" fmla="*/ 429952 h 885264"/>
                <a:gd name="connsiteX25" fmla="*/ 1062039 w 3338069"/>
                <a:gd name="connsiteY25" fmla="*/ 378571 h 885264"/>
                <a:gd name="connsiteX26" fmla="*/ 941068 w 3338069"/>
                <a:gd name="connsiteY26" fmla="*/ 359213 h 885264"/>
                <a:gd name="connsiteX27" fmla="*/ 817199 w 3338069"/>
                <a:gd name="connsiteY27" fmla="*/ 322522 h 885264"/>
                <a:gd name="connsiteX28" fmla="*/ 623269 w 3338069"/>
                <a:gd name="connsiteY28" fmla="*/ 247304 h 885264"/>
                <a:gd name="connsiteX29" fmla="*/ 429188 w 3338069"/>
                <a:gd name="connsiteY29" fmla="*/ 159769 h 885264"/>
                <a:gd name="connsiteX30" fmla="*/ 247954 w 3338069"/>
                <a:gd name="connsiteY30" fmla="*/ 44552 h 885264"/>
                <a:gd name="connsiteX31" fmla="*/ 0 w 3338069"/>
                <a:gd name="connsiteY31" fmla="*/ 1659 h 885264"/>
                <a:gd name="connsiteX0" fmla="*/ 3324986 w 3324986"/>
                <a:gd name="connsiteY0" fmla="*/ 828889 h 913977"/>
                <a:gd name="connsiteX1" fmla="*/ 3242795 w 3324986"/>
                <a:gd name="connsiteY1" fmla="*/ 812117 h 913977"/>
                <a:gd name="connsiteX2" fmla="*/ 3172683 w 3324986"/>
                <a:gd name="connsiteY2" fmla="*/ 774869 h 913977"/>
                <a:gd name="connsiteX3" fmla="*/ 3077065 w 3324986"/>
                <a:gd name="connsiteY3" fmla="*/ 808516 h 913977"/>
                <a:gd name="connsiteX4" fmla="*/ 2946929 w 3324986"/>
                <a:gd name="connsiteY4" fmla="*/ 848608 h 913977"/>
                <a:gd name="connsiteX5" fmla="*/ 2858273 w 3324986"/>
                <a:gd name="connsiteY5" fmla="*/ 837115 h 913977"/>
                <a:gd name="connsiteX6" fmla="*/ 2797249 w 3324986"/>
                <a:gd name="connsiteY6" fmla="*/ 829726 h 913977"/>
                <a:gd name="connsiteX7" fmla="*/ 2694880 w 3324986"/>
                <a:gd name="connsiteY7" fmla="*/ 913147 h 913977"/>
                <a:gd name="connsiteX8" fmla="*/ 2598519 w 3324986"/>
                <a:gd name="connsiteY8" fmla="*/ 869340 h 913977"/>
                <a:gd name="connsiteX9" fmla="*/ 2621405 w 3324986"/>
                <a:gd name="connsiteY9" fmla="*/ 817382 h 913977"/>
                <a:gd name="connsiteX10" fmla="*/ 2574117 w 3324986"/>
                <a:gd name="connsiteY10" fmla="*/ 775220 h 913977"/>
                <a:gd name="connsiteX11" fmla="*/ 2537661 w 3324986"/>
                <a:gd name="connsiteY11" fmla="*/ 731306 h 913977"/>
                <a:gd name="connsiteX12" fmla="*/ 2475613 w 3324986"/>
                <a:gd name="connsiteY12" fmla="*/ 690527 h 913977"/>
                <a:gd name="connsiteX13" fmla="*/ 2400192 w 3324986"/>
                <a:gd name="connsiteY13" fmla="*/ 657141 h 913977"/>
                <a:gd name="connsiteX14" fmla="*/ 2238448 w 3324986"/>
                <a:gd name="connsiteY14" fmla="*/ 629969 h 913977"/>
                <a:gd name="connsiteX15" fmla="*/ 2138295 w 3324986"/>
                <a:gd name="connsiteY15" fmla="*/ 616765 h 913977"/>
                <a:gd name="connsiteX16" fmla="*/ 2091714 w 3324986"/>
                <a:gd name="connsiteY16" fmla="*/ 636534 h 913977"/>
                <a:gd name="connsiteX17" fmla="*/ 1943437 w 3324986"/>
                <a:gd name="connsiteY17" fmla="*/ 676729 h 913977"/>
                <a:gd name="connsiteX18" fmla="*/ 1820519 w 3324986"/>
                <a:gd name="connsiteY18" fmla="*/ 686717 h 913977"/>
                <a:gd name="connsiteX19" fmla="*/ 1687175 w 3324986"/>
                <a:gd name="connsiteY19" fmla="*/ 687781 h 913977"/>
                <a:gd name="connsiteX20" fmla="*/ 1493227 w 3324986"/>
                <a:gd name="connsiteY20" fmla="*/ 669134 h 913977"/>
                <a:gd name="connsiteX21" fmla="*/ 1341533 w 3324986"/>
                <a:gd name="connsiteY21" fmla="*/ 646203 h 913977"/>
                <a:gd name="connsiteX22" fmla="*/ 1299315 w 3324986"/>
                <a:gd name="connsiteY22" fmla="*/ 614582 h 913977"/>
                <a:gd name="connsiteX23" fmla="*/ 1216660 w 3324986"/>
                <a:gd name="connsiteY23" fmla="*/ 527794 h 913977"/>
                <a:gd name="connsiteX24" fmla="*/ 1146035 w 3324986"/>
                <a:gd name="connsiteY24" fmla="*/ 458665 h 913977"/>
                <a:gd name="connsiteX25" fmla="*/ 1048956 w 3324986"/>
                <a:gd name="connsiteY25" fmla="*/ 407284 h 913977"/>
                <a:gd name="connsiteX26" fmla="*/ 927985 w 3324986"/>
                <a:gd name="connsiteY26" fmla="*/ 387926 h 913977"/>
                <a:gd name="connsiteX27" fmla="*/ 804116 w 3324986"/>
                <a:gd name="connsiteY27" fmla="*/ 351235 h 913977"/>
                <a:gd name="connsiteX28" fmla="*/ 610186 w 3324986"/>
                <a:gd name="connsiteY28" fmla="*/ 276017 h 913977"/>
                <a:gd name="connsiteX29" fmla="*/ 416105 w 3324986"/>
                <a:gd name="connsiteY29" fmla="*/ 188482 h 913977"/>
                <a:gd name="connsiteX30" fmla="*/ 234871 w 3324986"/>
                <a:gd name="connsiteY30" fmla="*/ 73265 h 913977"/>
                <a:gd name="connsiteX31" fmla="*/ 0 w 3324986"/>
                <a:gd name="connsiteY31" fmla="*/ 0 h 913977"/>
                <a:gd name="connsiteX0" fmla="*/ 3345917 w 3345917"/>
                <a:gd name="connsiteY0" fmla="*/ 831420 h 916508"/>
                <a:gd name="connsiteX1" fmla="*/ 3263726 w 3345917"/>
                <a:gd name="connsiteY1" fmla="*/ 814648 h 916508"/>
                <a:gd name="connsiteX2" fmla="*/ 3193614 w 3345917"/>
                <a:gd name="connsiteY2" fmla="*/ 777400 h 916508"/>
                <a:gd name="connsiteX3" fmla="*/ 3097996 w 3345917"/>
                <a:gd name="connsiteY3" fmla="*/ 811047 h 916508"/>
                <a:gd name="connsiteX4" fmla="*/ 2967860 w 3345917"/>
                <a:gd name="connsiteY4" fmla="*/ 851139 h 916508"/>
                <a:gd name="connsiteX5" fmla="*/ 2879204 w 3345917"/>
                <a:gd name="connsiteY5" fmla="*/ 839646 h 916508"/>
                <a:gd name="connsiteX6" fmla="*/ 2818180 w 3345917"/>
                <a:gd name="connsiteY6" fmla="*/ 832257 h 916508"/>
                <a:gd name="connsiteX7" fmla="*/ 2715811 w 3345917"/>
                <a:gd name="connsiteY7" fmla="*/ 915678 h 916508"/>
                <a:gd name="connsiteX8" fmla="*/ 2619450 w 3345917"/>
                <a:gd name="connsiteY8" fmla="*/ 871871 h 916508"/>
                <a:gd name="connsiteX9" fmla="*/ 2642336 w 3345917"/>
                <a:gd name="connsiteY9" fmla="*/ 819913 h 916508"/>
                <a:gd name="connsiteX10" fmla="*/ 2595048 w 3345917"/>
                <a:gd name="connsiteY10" fmla="*/ 777751 h 916508"/>
                <a:gd name="connsiteX11" fmla="*/ 2558592 w 3345917"/>
                <a:gd name="connsiteY11" fmla="*/ 733837 h 916508"/>
                <a:gd name="connsiteX12" fmla="*/ 2496544 w 3345917"/>
                <a:gd name="connsiteY12" fmla="*/ 693058 h 916508"/>
                <a:gd name="connsiteX13" fmla="*/ 2421123 w 3345917"/>
                <a:gd name="connsiteY13" fmla="*/ 659672 h 916508"/>
                <a:gd name="connsiteX14" fmla="*/ 2259379 w 3345917"/>
                <a:gd name="connsiteY14" fmla="*/ 632500 h 916508"/>
                <a:gd name="connsiteX15" fmla="*/ 2159226 w 3345917"/>
                <a:gd name="connsiteY15" fmla="*/ 619296 h 916508"/>
                <a:gd name="connsiteX16" fmla="*/ 2112645 w 3345917"/>
                <a:gd name="connsiteY16" fmla="*/ 639065 h 916508"/>
                <a:gd name="connsiteX17" fmla="*/ 1964368 w 3345917"/>
                <a:gd name="connsiteY17" fmla="*/ 679260 h 916508"/>
                <a:gd name="connsiteX18" fmla="*/ 1841450 w 3345917"/>
                <a:gd name="connsiteY18" fmla="*/ 689248 h 916508"/>
                <a:gd name="connsiteX19" fmla="*/ 1708106 w 3345917"/>
                <a:gd name="connsiteY19" fmla="*/ 690312 h 916508"/>
                <a:gd name="connsiteX20" fmla="*/ 1514158 w 3345917"/>
                <a:gd name="connsiteY20" fmla="*/ 671665 h 916508"/>
                <a:gd name="connsiteX21" fmla="*/ 1362464 w 3345917"/>
                <a:gd name="connsiteY21" fmla="*/ 648734 h 916508"/>
                <a:gd name="connsiteX22" fmla="*/ 1320246 w 3345917"/>
                <a:gd name="connsiteY22" fmla="*/ 617113 h 916508"/>
                <a:gd name="connsiteX23" fmla="*/ 1237591 w 3345917"/>
                <a:gd name="connsiteY23" fmla="*/ 530325 h 916508"/>
                <a:gd name="connsiteX24" fmla="*/ 1166966 w 3345917"/>
                <a:gd name="connsiteY24" fmla="*/ 461196 h 916508"/>
                <a:gd name="connsiteX25" fmla="*/ 1069887 w 3345917"/>
                <a:gd name="connsiteY25" fmla="*/ 409815 h 916508"/>
                <a:gd name="connsiteX26" fmla="*/ 948916 w 3345917"/>
                <a:gd name="connsiteY26" fmla="*/ 390457 h 916508"/>
                <a:gd name="connsiteX27" fmla="*/ 825047 w 3345917"/>
                <a:gd name="connsiteY27" fmla="*/ 353766 h 916508"/>
                <a:gd name="connsiteX28" fmla="*/ 631117 w 3345917"/>
                <a:gd name="connsiteY28" fmla="*/ 278548 h 916508"/>
                <a:gd name="connsiteX29" fmla="*/ 437036 w 3345917"/>
                <a:gd name="connsiteY29" fmla="*/ 191013 h 916508"/>
                <a:gd name="connsiteX30" fmla="*/ 255802 w 3345917"/>
                <a:gd name="connsiteY30" fmla="*/ 75796 h 916508"/>
                <a:gd name="connsiteX31" fmla="*/ 0 w 3345917"/>
                <a:gd name="connsiteY31" fmla="*/ 0 h 916508"/>
                <a:gd name="connsiteX0" fmla="*/ 3345917 w 3345917"/>
                <a:gd name="connsiteY0" fmla="*/ 831420 h 927789"/>
                <a:gd name="connsiteX1" fmla="*/ 3263726 w 3345917"/>
                <a:gd name="connsiteY1" fmla="*/ 814648 h 927789"/>
                <a:gd name="connsiteX2" fmla="*/ 3193614 w 3345917"/>
                <a:gd name="connsiteY2" fmla="*/ 777400 h 927789"/>
                <a:gd name="connsiteX3" fmla="*/ 3097996 w 3345917"/>
                <a:gd name="connsiteY3" fmla="*/ 811047 h 927789"/>
                <a:gd name="connsiteX4" fmla="*/ 2967860 w 3345917"/>
                <a:gd name="connsiteY4" fmla="*/ 851139 h 927789"/>
                <a:gd name="connsiteX5" fmla="*/ 2879204 w 3345917"/>
                <a:gd name="connsiteY5" fmla="*/ 839646 h 927789"/>
                <a:gd name="connsiteX6" fmla="*/ 2818180 w 3345917"/>
                <a:gd name="connsiteY6" fmla="*/ 832257 h 927789"/>
                <a:gd name="connsiteX7" fmla="*/ 2739469 w 3345917"/>
                <a:gd name="connsiteY7" fmla="*/ 927120 h 927789"/>
                <a:gd name="connsiteX8" fmla="*/ 2619450 w 3345917"/>
                <a:gd name="connsiteY8" fmla="*/ 871871 h 927789"/>
                <a:gd name="connsiteX9" fmla="*/ 2642336 w 3345917"/>
                <a:gd name="connsiteY9" fmla="*/ 819913 h 927789"/>
                <a:gd name="connsiteX10" fmla="*/ 2595048 w 3345917"/>
                <a:gd name="connsiteY10" fmla="*/ 777751 h 927789"/>
                <a:gd name="connsiteX11" fmla="*/ 2558592 w 3345917"/>
                <a:gd name="connsiteY11" fmla="*/ 733837 h 927789"/>
                <a:gd name="connsiteX12" fmla="*/ 2496544 w 3345917"/>
                <a:gd name="connsiteY12" fmla="*/ 693058 h 927789"/>
                <a:gd name="connsiteX13" fmla="*/ 2421123 w 3345917"/>
                <a:gd name="connsiteY13" fmla="*/ 659672 h 927789"/>
                <a:gd name="connsiteX14" fmla="*/ 2259379 w 3345917"/>
                <a:gd name="connsiteY14" fmla="*/ 632500 h 927789"/>
                <a:gd name="connsiteX15" fmla="*/ 2159226 w 3345917"/>
                <a:gd name="connsiteY15" fmla="*/ 619296 h 927789"/>
                <a:gd name="connsiteX16" fmla="*/ 2112645 w 3345917"/>
                <a:gd name="connsiteY16" fmla="*/ 639065 h 927789"/>
                <a:gd name="connsiteX17" fmla="*/ 1964368 w 3345917"/>
                <a:gd name="connsiteY17" fmla="*/ 679260 h 927789"/>
                <a:gd name="connsiteX18" fmla="*/ 1841450 w 3345917"/>
                <a:gd name="connsiteY18" fmla="*/ 689248 h 927789"/>
                <a:gd name="connsiteX19" fmla="*/ 1708106 w 3345917"/>
                <a:gd name="connsiteY19" fmla="*/ 690312 h 927789"/>
                <a:gd name="connsiteX20" fmla="*/ 1514158 w 3345917"/>
                <a:gd name="connsiteY20" fmla="*/ 671665 h 927789"/>
                <a:gd name="connsiteX21" fmla="*/ 1362464 w 3345917"/>
                <a:gd name="connsiteY21" fmla="*/ 648734 h 927789"/>
                <a:gd name="connsiteX22" fmla="*/ 1320246 w 3345917"/>
                <a:gd name="connsiteY22" fmla="*/ 617113 h 927789"/>
                <a:gd name="connsiteX23" fmla="*/ 1237591 w 3345917"/>
                <a:gd name="connsiteY23" fmla="*/ 530325 h 927789"/>
                <a:gd name="connsiteX24" fmla="*/ 1166966 w 3345917"/>
                <a:gd name="connsiteY24" fmla="*/ 461196 h 927789"/>
                <a:gd name="connsiteX25" fmla="*/ 1069887 w 3345917"/>
                <a:gd name="connsiteY25" fmla="*/ 409815 h 927789"/>
                <a:gd name="connsiteX26" fmla="*/ 948916 w 3345917"/>
                <a:gd name="connsiteY26" fmla="*/ 390457 h 927789"/>
                <a:gd name="connsiteX27" fmla="*/ 825047 w 3345917"/>
                <a:gd name="connsiteY27" fmla="*/ 353766 h 927789"/>
                <a:gd name="connsiteX28" fmla="*/ 631117 w 3345917"/>
                <a:gd name="connsiteY28" fmla="*/ 278548 h 927789"/>
                <a:gd name="connsiteX29" fmla="*/ 437036 w 3345917"/>
                <a:gd name="connsiteY29" fmla="*/ 191013 h 927789"/>
                <a:gd name="connsiteX30" fmla="*/ 255802 w 3345917"/>
                <a:gd name="connsiteY30" fmla="*/ 75796 h 927789"/>
                <a:gd name="connsiteX31" fmla="*/ 0 w 3345917"/>
                <a:gd name="connsiteY31" fmla="*/ 0 h 927789"/>
                <a:gd name="connsiteX0" fmla="*/ 3345917 w 3345917"/>
                <a:gd name="connsiteY0" fmla="*/ 831420 h 927483"/>
                <a:gd name="connsiteX1" fmla="*/ 3263726 w 3345917"/>
                <a:gd name="connsiteY1" fmla="*/ 814648 h 927483"/>
                <a:gd name="connsiteX2" fmla="*/ 3193614 w 3345917"/>
                <a:gd name="connsiteY2" fmla="*/ 777400 h 927483"/>
                <a:gd name="connsiteX3" fmla="*/ 3097996 w 3345917"/>
                <a:gd name="connsiteY3" fmla="*/ 811047 h 927483"/>
                <a:gd name="connsiteX4" fmla="*/ 2967860 w 3345917"/>
                <a:gd name="connsiteY4" fmla="*/ 851139 h 927483"/>
                <a:gd name="connsiteX5" fmla="*/ 2879204 w 3345917"/>
                <a:gd name="connsiteY5" fmla="*/ 839646 h 927483"/>
                <a:gd name="connsiteX6" fmla="*/ 2835923 w 3345917"/>
                <a:gd name="connsiteY6" fmla="*/ 843700 h 927483"/>
                <a:gd name="connsiteX7" fmla="*/ 2739469 w 3345917"/>
                <a:gd name="connsiteY7" fmla="*/ 927120 h 927483"/>
                <a:gd name="connsiteX8" fmla="*/ 2619450 w 3345917"/>
                <a:gd name="connsiteY8" fmla="*/ 871871 h 927483"/>
                <a:gd name="connsiteX9" fmla="*/ 2642336 w 3345917"/>
                <a:gd name="connsiteY9" fmla="*/ 819913 h 927483"/>
                <a:gd name="connsiteX10" fmla="*/ 2595048 w 3345917"/>
                <a:gd name="connsiteY10" fmla="*/ 777751 h 927483"/>
                <a:gd name="connsiteX11" fmla="*/ 2558592 w 3345917"/>
                <a:gd name="connsiteY11" fmla="*/ 733837 h 927483"/>
                <a:gd name="connsiteX12" fmla="*/ 2496544 w 3345917"/>
                <a:gd name="connsiteY12" fmla="*/ 693058 h 927483"/>
                <a:gd name="connsiteX13" fmla="*/ 2421123 w 3345917"/>
                <a:gd name="connsiteY13" fmla="*/ 659672 h 927483"/>
                <a:gd name="connsiteX14" fmla="*/ 2259379 w 3345917"/>
                <a:gd name="connsiteY14" fmla="*/ 632500 h 927483"/>
                <a:gd name="connsiteX15" fmla="*/ 2159226 w 3345917"/>
                <a:gd name="connsiteY15" fmla="*/ 619296 h 927483"/>
                <a:gd name="connsiteX16" fmla="*/ 2112645 w 3345917"/>
                <a:gd name="connsiteY16" fmla="*/ 639065 h 927483"/>
                <a:gd name="connsiteX17" fmla="*/ 1964368 w 3345917"/>
                <a:gd name="connsiteY17" fmla="*/ 679260 h 927483"/>
                <a:gd name="connsiteX18" fmla="*/ 1841450 w 3345917"/>
                <a:gd name="connsiteY18" fmla="*/ 689248 h 927483"/>
                <a:gd name="connsiteX19" fmla="*/ 1708106 w 3345917"/>
                <a:gd name="connsiteY19" fmla="*/ 690312 h 927483"/>
                <a:gd name="connsiteX20" fmla="*/ 1514158 w 3345917"/>
                <a:gd name="connsiteY20" fmla="*/ 671665 h 927483"/>
                <a:gd name="connsiteX21" fmla="*/ 1362464 w 3345917"/>
                <a:gd name="connsiteY21" fmla="*/ 648734 h 927483"/>
                <a:gd name="connsiteX22" fmla="*/ 1320246 w 3345917"/>
                <a:gd name="connsiteY22" fmla="*/ 617113 h 927483"/>
                <a:gd name="connsiteX23" fmla="*/ 1237591 w 3345917"/>
                <a:gd name="connsiteY23" fmla="*/ 530325 h 927483"/>
                <a:gd name="connsiteX24" fmla="*/ 1166966 w 3345917"/>
                <a:gd name="connsiteY24" fmla="*/ 461196 h 927483"/>
                <a:gd name="connsiteX25" fmla="*/ 1069887 w 3345917"/>
                <a:gd name="connsiteY25" fmla="*/ 409815 h 927483"/>
                <a:gd name="connsiteX26" fmla="*/ 948916 w 3345917"/>
                <a:gd name="connsiteY26" fmla="*/ 390457 h 927483"/>
                <a:gd name="connsiteX27" fmla="*/ 825047 w 3345917"/>
                <a:gd name="connsiteY27" fmla="*/ 353766 h 927483"/>
                <a:gd name="connsiteX28" fmla="*/ 631117 w 3345917"/>
                <a:gd name="connsiteY28" fmla="*/ 278548 h 927483"/>
                <a:gd name="connsiteX29" fmla="*/ 437036 w 3345917"/>
                <a:gd name="connsiteY29" fmla="*/ 191013 h 927483"/>
                <a:gd name="connsiteX30" fmla="*/ 255802 w 3345917"/>
                <a:gd name="connsiteY30" fmla="*/ 75796 h 927483"/>
                <a:gd name="connsiteX31" fmla="*/ 0 w 3345917"/>
                <a:gd name="connsiteY31" fmla="*/ 0 h 927483"/>
                <a:gd name="connsiteX0" fmla="*/ 3345917 w 3345917"/>
                <a:gd name="connsiteY0" fmla="*/ 831420 h 927483"/>
                <a:gd name="connsiteX1" fmla="*/ 3263726 w 3345917"/>
                <a:gd name="connsiteY1" fmla="*/ 814648 h 927483"/>
                <a:gd name="connsiteX2" fmla="*/ 3193614 w 3345917"/>
                <a:gd name="connsiteY2" fmla="*/ 777400 h 927483"/>
                <a:gd name="connsiteX3" fmla="*/ 3097996 w 3345917"/>
                <a:gd name="connsiteY3" fmla="*/ 811047 h 927483"/>
                <a:gd name="connsiteX4" fmla="*/ 2985604 w 3345917"/>
                <a:gd name="connsiteY4" fmla="*/ 868303 h 927483"/>
                <a:gd name="connsiteX5" fmla="*/ 2879204 w 3345917"/>
                <a:gd name="connsiteY5" fmla="*/ 839646 h 927483"/>
                <a:gd name="connsiteX6" fmla="*/ 2835923 w 3345917"/>
                <a:gd name="connsiteY6" fmla="*/ 843700 h 927483"/>
                <a:gd name="connsiteX7" fmla="*/ 2739469 w 3345917"/>
                <a:gd name="connsiteY7" fmla="*/ 927120 h 927483"/>
                <a:gd name="connsiteX8" fmla="*/ 2619450 w 3345917"/>
                <a:gd name="connsiteY8" fmla="*/ 871871 h 927483"/>
                <a:gd name="connsiteX9" fmla="*/ 2642336 w 3345917"/>
                <a:gd name="connsiteY9" fmla="*/ 819913 h 927483"/>
                <a:gd name="connsiteX10" fmla="*/ 2595048 w 3345917"/>
                <a:gd name="connsiteY10" fmla="*/ 777751 h 927483"/>
                <a:gd name="connsiteX11" fmla="*/ 2558592 w 3345917"/>
                <a:gd name="connsiteY11" fmla="*/ 733837 h 927483"/>
                <a:gd name="connsiteX12" fmla="*/ 2496544 w 3345917"/>
                <a:gd name="connsiteY12" fmla="*/ 693058 h 927483"/>
                <a:gd name="connsiteX13" fmla="*/ 2421123 w 3345917"/>
                <a:gd name="connsiteY13" fmla="*/ 659672 h 927483"/>
                <a:gd name="connsiteX14" fmla="*/ 2259379 w 3345917"/>
                <a:gd name="connsiteY14" fmla="*/ 632500 h 927483"/>
                <a:gd name="connsiteX15" fmla="*/ 2159226 w 3345917"/>
                <a:gd name="connsiteY15" fmla="*/ 619296 h 927483"/>
                <a:gd name="connsiteX16" fmla="*/ 2112645 w 3345917"/>
                <a:gd name="connsiteY16" fmla="*/ 639065 h 927483"/>
                <a:gd name="connsiteX17" fmla="*/ 1964368 w 3345917"/>
                <a:gd name="connsiteY17" fmla="*/ 679260 h 927483"/>
                <a:gd name="connsiteX18" fmla="*/ 1841450 w 3345917"/>
                <a:gd name="connsiteY18" fmla="*/ 689248 h 927483"/>
                <a:gd name="connsiteX19" fmla="*/ 1708106 w 3345917"/>
                <a:gd name="connsiteY19" fmla="*/ 690312 h 927483"/>
                <a:gd name="connsiteX20" fmla="*/ 1514158 w 3345917"/>
                <a:gd name="connsiteY20" fmla="*/ 671665 h 927483"/>
                <a:gd name="connsiteX21" fmla="*/ 1362464 w 3345917"/>
                <a:gd name="connsiteY21" fmla="*/ 648734 h 927483"/>
                <a:gd name="connsiteX22" fmla="*/ 1320246 w 3345917"/>
                <a:gd name="connsiteY22" fmla="*/ 617113 h 927483"/>
                <a:gd name="connsiteX23" fmla="*/ 1237591 w 3345917"/>
                <a:gd name="connsiteY23" fmla="*/ 530325 h 927483"/>
                <a:gd name="connsiteX24" fmla="*/ 1166966 w 3345917"/>
                <a:gd name="connsiteY24" fmla="*/ 461196 h 927483"/>
                <a:gd name="connsiteX25" fmla="*/ 1069887 w 3345917"/>
                <a:gd name="connsiteY25" fmla="*/ 409815 h 927483"/>
                <a:gd name="connsiteX26" fmla="*/ 948916 w 3345917"/>
                <a:gd name="connsiteY26" fmla="*/ 390457 h 927483"/>
                <a:gd name="connsiteX27" fmla="*/ 825047 w 3345917"/>
                <a:gd name="connsiteY27" fmla="*/ 353766 h 927483"/>
                <a:gd name="connsiteX28" fmla="*/ 631117 w 3345917"/>
                <a:gd name="connsiteY28" fmla="*/ 278548 h 927483"/>
                <a:gd name="connsiteX29" fmla="*/ 437036 w 3345917"/>
                <a:gd name="connsiteY29" fmla="*/ 191013 h 927483"/>
                <a:gd name="connsiteX30" fmla="*/ 255802 w 3345917"/>
                <a:gd name="connsiteY30" fmla="*/ 75796 h 927483"/>
                <a:gd name="connsiteX31" fmla="*/ 0 w 3345917"/>
                <a:gd name="connsiteY31" fmla="*/ 0 h 927483"/>
                <a:gd name="connsiteX0" fmla="*/ 3345917 w 3345917"/>
                <a:gd name="connsiteY0" fmla="*/ 831420 h 927483"/>
                <a:gd name="connsiteX1" fmla="*/ 3263726 w 3345917"/>
                <a:gd name="connsiteY1" fmla="*/ 814648 h 927483"/>
                <a:gd name="connsiteX2" fmla="*/ 3193614 w 3345917"/>
                <a:gd name="connsiteY2" fmla="*/ 777400 h 927483"/>
                <a:gd name="connsiteX3" fmla="*/ 3121653 w 3345917"/>
                <a:gd name="connsiteY3" fmla="*/ 828210 h 927483"/>
                <a:gd name="connsiteX4" fmla="*/ 2985604 w 3345917"/>
                <a:gd name="connsiteY4" fmla="*/ 868303 h 927483"/>
                <a:gd name="connsiteX5" fmla="*/ 2879204 w 3345917"/>
                <a:gd name="connsiteY5" fmla="*/ 839646 h 927483"/>
                <a:gd name="connsiteX6" fmla="*/ 2835923 w 3345917"/>
                <a:gd name="connsiteY6" fmla="*/ 843700 h 927483"/>
                <a:gd name="connsiteX7" fmla="*/ 2739469 w 3345917"/>
                <a:gd name="connsiteY7" fmla="*/ 927120 h 927483"/>
                <a:gd name="connsiteX8" fmla="*/ 2619450 w 3345917"/>
                <a:gd name="connsiteY8" fmla="*/ 871871 h 927483"/>
                <a:gd name="connsiteX9" fmla="*/ 2642336 w 3345917"/>
                <a:gd name="connsiteY9" fmla="*/ 819913 h 927483"/>
                <a:gd name="connsiteX10" fmla="*/ 2595048 w 3345917"/>
                <a:gd name="connsiteY10" fmla="*/ 777751 h 927483"/>
                <a:gd name="connsiteX11" fmla="*/ 2558592 w 3345917"/>
                <a:gd name="connsiteY11" fmla="*/ 733837 h 927483"/>
                <a:gd name="connsiteX12" fmla="*/ 2496544 w 3345917"/>
                <a:gd name="connsiteY12" fmla="*/ 693058 h 927483"/>
                <a:gd name="connsiteX13" fmla="*/ 2421123 w 3345917"/>
                <a:gd name="connsiteY13" fmla="*/ 659672 h 927483"/>
                <a:gd name="connsiteX14" fmla="*/ 2259379 w 3345917"/>
                <a:gd name="connsiteY14" fmla="*/ 632500 h 927483"/>
                <a:gd name="connsiteX15" fmla="*/ 2159226 w 3345917"/>
                <a:gd name="connsiteY15" fmla="*/ 619296 h 927483"/>
                <a:gd name="connsiteX16" fmla="*/ 2112645 w 3345917"/>
                <a:gd name="connsiteY16" fmla="*/ 639065 h 927483"/>
                <a:gd name="connsiteX17" fmla="*/ 1964368 w 3345917"/>
                <a:gd name="connsiteY17" fmla="*/ 679260 h 927483"/>
                <a:gd name="connsiteX18" fmla="*/ 1841450 w 3345917"/>
                <a:gd name="connsiteY18" fmla="*/ 689248 h 927483"/>
                <a:gd name="connsiteX19" fmla="*/ 1708106 w 3345917"/>
                <a:gd name="connsiteY19" fmla="*/ 690312 h 927483"/>
                <a:gd name="connsiteX20" fmla="*/ 1514158 w 3345917"/>
                <a:gd name="connsiteY20" fmla="*/ 671665 h 927483"/>
                <a:gd name="connsiteX21" fmla="*/ 1362464 w 3345917"/>
                <a:gd name="connsiteY21" fmla="*/ 648734 h 927483"/>
                <a:gd name="connsiteX22" fmla="*/ 1320246 w 3345917"/>
                <a:gd name="connsiteY22" fmla="*/ 617113 h 927483"/>
                <a:gd name="connsiteX23" fmla="*/ 1237591 w 3345917"/>
                <a:gd name="connsiteY23" fmla="*/ 530325 h 927483"/>
                <a:gd name="connsiteX24" fmla="*/ 1166966 w 3345917"/>
                <a:gd name="connsiteY24" fmla="*/ 461196 h 927483"/>
                <a:gd name="connsiteX25" fmla="*/ 1069887 w 3345917"/>
                <a:gd name="connsiteY25" fmla="*/ 409815 h 927483"/>
                <a:gd name="connsiteX26" fmla="*/ 948916 w 3345917"/>
                <a:gd name="connsiteY26" fmla="*/ 390457 h 927483"/>
                <a:gd name="connsiteX27" fmla="*/ 825047 w 3345917"/>
                <a:gd name="connsiteY27" fmla="*/ 353766 h 927483"/>
                <a:gd name="connsiteX28" fmla="*/ 631117 w 3345917"/>
                <a:gd name="connsiteY28" fmla="*/ 278548 h 927483"/>
                <a:gd name="connsiteX29" fmla="*/ 437036 w 3345917"/>
                <a:gd name="connsiteY29" fmla="*/ 191013 h 927483"/>
                <a:gd name="connsiteX30" fmla="*/ 255802 w 3345917"/>
                <a:gd name="connsiteY30" fmla="*/ 75796 h 927483"/>
                <a:gd name="connsiteX31" fmla="*/ 0 w 3345917"/>
                <a:gd name="connsiteY31" fmla="*/ 0 h 927483"/>
                <a:gd name="connsiteX0" fmla="*/ 3345917 w 3345917"/>
                <a:gd name="connsiteY0" fmla="*/ 831420 h 927483"/>
                <a:gd name="connsiteX1" fmla="*/ 3263726 w 3345917"/>
                <a:gd name="connsiteY1" fmla="*/ 814648 h 927483"/>
                <a:gd name="connsiteX2" fmla="*/ 3205443 w 3345917"/>
                <a:gd name="connsiteY2" fmla="*/ 800284 h 927483"/>
                <a:gd name="connsiteX3" fmla="*/ 3121653 w 3345917"/>
                <a:gd name="connsiteY3" fmla="*/ 828210 h 927483"/>
                <a:gd name="connsiteX4" fmla="*/ 2985604 w 3345917"/>
                <a:gd name="connsiteY4" fmla="*/ 868303 h 927483"/>
                <a:gd name="connsiteX5" fmla="*/ 2879204 w 3345917"/>
                <a:gd name="connsiteY5" fmla="*/ 839646 h 927483"/>
                <a:gd name="connsiteX6" fmla="*/ 2835923 w 3345917"/>
                <a:gd name="connsiteY6" fmla="*/ 843700 h 927483"/>
                <a:gd name="connsiteX7" fmla="*/ 2739469 w 3345917"/>
                <a:gd name="connsiteY7" fmla="*/ 927120 h 927483"/>
                <a:gd name="connsiteX8" fmla="*/ 2619450 w 3345917"/>
                <a:gd name="connsiteY8" fmla="*/ 871871 h 927483"/>
                <a:gd name="connsiteX9" fmla="*/ 2642336 w 3345917"/>
                <a:gd name="connsiteY9" fmla="*/ 819913 h 927483"/>
                <a:gd name="connsiteX10" fmla="*/ 2595048 w 3345917"/>
                <a:gd name="connsiteY10" fmla="*/ 777751 h 927483"/>
                <a:gd name="connsiteX11" fmla="*/ 2558592 w 3345917"/>
                <a:gd name="connsiteY11" fmla="*/ 733837 h 927483"/>
                <a:gd name="connsiteX12" fmla="*/ 2496544 w 3345917"/>
                <a:gd name="connsiteY12" fmla="*/ 693058 h 927483"/>
                <a:gd name="connsiteX13" fmla="*/ 2421123 w 3345917"/>
                <a:gd name="connsiteY13" fmla="*/ 659672 h 927483"/>
                <a:gd name="connsiteX14" fmla="*/ 2259379 w 3345917"/>
                <a:gd name="connsiteY14" fmla="*/ 632500 h 927483"/>
                <a:gd name="connsiteX15" fmla="*/ 2159226 w 3345917"/>
                <a:gd name="connsiteY15" fmla="*/ 619296 h 927483"/>
                <a:gd name="connsiteX16" fmla="*/ 2112645 w 3345917"/>
                <a:gd name="connsiteY16" fmla="*/ 639065 h 927483"/>
                <a:gd name="connsiteX17" fmla="*/ 1964368 w 3345917"/>
                <a:gd name="connsiteY17" fmla="*/ 679260 h 927483"/>
                <a:gd name="connsiteX18" fmla="*/ 1841450 w 3345917"/>
                <a:gd name="connsiteY18" fmla="*/ 689248 h 927483"/>
                <a:gd name="connsiteX19" fmla="*/ 1708106 w 3345917"/>
                <a:gd name="connsiteY19" fmla="*/ 690312 h 927483"/>
                <a:gd name="connsiteX20" fmla="*/ 1514158 w 3345917"/>
                <a:gd name="connsiteY20" fmla="*/ 671665 h 927483"/>
                <a:gd name="connsiteX21" fmla="*/ 1362464 w 3345917"/>
                <a:gd name="connsiteY21" fmla="*/ 648734 h 927483"/>
                <a:gd name="connsiteX22" fmla="*/ 1320246 w 3345917"/>
                <a:gd name="connsiteY22" fmla="*/ 617113 h 927483"/>
                <a:gd name="connsiteX23" fmla="*/ 1237591 w 3345917"/>
                <a:gd name="connsiteY23" fmla="*/ 530325 h 927483"/>
                <a:gd name="connsiteX24" fmla="*/ 1166966 w 3345917"/>
                <a:gd name="connsiteY24" fmla="*/ 461196 h 927483"/>
                <a:gd name="connsiteX25" fmla="*/ 1069887 w 3345917"/>
                <a:gd name="connsiteY25" fmla="*/ 409815 h 927483"/>
                <a:gd name="connsiteX26" fmla="*/ 948916 w 3345917"/>
                <a:gd name="connsiteY26" fmla="*/ 390457 h 927483"/>
                <a:gd name="connsiteX27" fmla="*/ 825047 w 3345917"/>
                <a:gd name="connsiteY27" fmla="*/ 353766 h 927483"/>
                <a:gd name="connsiteX28" fmla="*/ 631117 w 3345917"/>
                <a:gd name="connsiteY28" fmla="*/ 278548 h 927483"/>
                <a:gd name="connsiteX29" fmla="*/ 437036 w 3345917"/>
                <a:gd name="connsiteY29" fmla="*/ 191013 h 927483"/>
                <a:gd name="connsiteX30" fmla="*/ 255802 w 3345917"/>
                <a:gd name="connsiteY30" fmla="*/ 75796 h 927483"/>
                <a:gd name="connsiteX31" fmla="*/ 0 w 3345917"/>
                <a:gd name="connsiteY31" fmla="*/ 0 h 927483"/>
                <a:gd name="connsiteX0" fmla="*/ 3345917 w 3345917"/>
                <a:gd name="connsiteY0" fmla="*/ 848583 h 927483"/>
                <a:gd name="connsiteX1" fmla="*/ 3263726 w 3345917"/>
                <a:gd name="connsiteY1" fmla="*/ 814648 h 927483"/>
                <a:gd name="connsiteX2" fmla="*/ 3205443 w 3345917"/>
                <a:gd name="connsiteY2" fmla="*/ 800284 h 927483"/>
                <a:gd name="connsiteX3" fmla="*/ 3121653 w 3345917"/>
                <a:gd name="connsiteY3" fmla="*/ 828210 h 927483"/>
                <a:gd name="connsiteX4" fmla="*/ 2985604 w 3345917"/>
                <a:gd name="connsiteY4" fmla="*/ 868303 h 927483"/>
                <a:gd name="connsiteX5" fmla="*/ 2879204 w 3345917"/>
                <a:gd name="connsiteY5" fmla="*/ 839646 h 927483"/>
                <a:gd name="connsiteX6" fmla="*/ 2835923 w 3345917"/>
                <a:gd name="connsiteY6" fmla="*/ 843700 h 927483"/>
                <a:gd name="connsiteX7" fmla="*/ 2739469 w 3345917"/>
                <a:gd name="connsiteY7" fmla="*/ 927120 h 927483"/>
                <a:gd name="connsiteX8" fmla="*/ 2619450 w 3345917"/>
                <a:gd name="connsiteY8" fmla="*/ 871871 h 927483"/>
                <a:gd name="connsiteX9" fmla="*/ 2642336 w 3345917"/>
                <a:gd name="connsiteY9" fmla="*/ 819913 h 927483"/>
                <a:gd name="connsiteX10" fmla="*/ 2595048 w 3345917"/>
                <a:gd name="connsiteY10" fmla="*/ 777751 h 927483"/>
                <a:gd name="connsiteX11" fmla="*/ 2558592 w 3345917"/>
                <a:gd name="connsiteY11" fmla="*/ 733837 h 927483"/>
                <a:gd name="connsiteX12" fmla="*/ 2496544 w 3345917"/>
                <a:gd name="connsiteY12" fmla="*/ 693058 h 927483"/>
                <a:gd name="connsiteX13" fmla="*/ 2421123 w 3345917"/>
                <a:gd name="connsiteY13" fmla="*/ 659672 h 927483"/>
                <a:gd name="connsiteX14" fmla="*/ 2259379 w 3345917"/>
                <a:gd name="connsiteY14" fmla="*/ 632500 h 927483"/>
                <a:gd name="connsiteX15" fmla="*/ 2159226 w 3345917"/>
                <a:gd name="connsiteY15" fmla="*/ 619296 h 927483"/>
                <a:gd name="connsiteX16" fmla="*/ 2112645 w 3345917"/>
                <a:gd name="connsiteY16" fmla="*/ 639065 h 927483"/>
                <a:gd name="connsiteX17" fmla="*/ 1964368 w 3345917"/>
                <a:gd name="connsiteY17" fmla="*/ 679260 h 927483"/>
                <a:gd name="connsiteX18" fmla="*/ 1841450 w 3345917"/>
                <a:gd name="connsiteY18" fmla="*/ 689248 h 927483"/>
                <a:gd name="connsiteX19" fmla="*/ 1708106 w 3345917"/>
                <a:gd name="connsiteY19" fmla="*/ 690312 h 927483"/>
                <a:gd name="connsiteX20" fmla="*/ 1514158 w 3345917"/>
                <a:gd name="connsiteY20" fmla="*/ 671665 h 927483"/>
                <a:gd name="connsiteX21" fmla="*/ 1362464 w 3345917"/>
                <a:gd name="connsiteY21" fmla="*/ 648734 h 927483"/>
                <a:gd name="connsiteX22" fmla="*/ 1320246 w 3345917"/>
                <a:gd name="connsiteY22" fmla="*/ 617113 h 927483"/>
                <a:gd name="connsiteX23" fmla="*/ 1237591 w 3345917"/>
                <a:gd name="connsiteY23" fmla="*/ 530325 h 927483"/>
                <a:gd name="connsiteX24" fmla="*/ 1166966 w 3345917"/>
                <a:gd name="connsiteY24" fmla="*/ 461196 h 927483"/>
                <a:gd name="connsiteX25" fmla="*/ 1069887 w 3345917"/>
                <a:gd name="connsiteY25" fmla="*/ 409815 h 927483"/>
                <a:gd name="connsiteX26" fmla="*/ 948916 w 3345917"/>
                <a:gd name="connsiteY26" fmla="*/ 390457 h 927483"/>
                <a:gd name="connsiteX27" fmla="*/ 825047 w 3345917"/>
                <a:gd name="connsiteY27" fmla="*/ 353766 h 927483"/>
                <a:gd name="connsiteX28" fmla="*/ 631117 w 3345917"/>
                <a:gd name="connsiteY28" fmla="*/ 278548 h 927483"/>
                <a:gd name="connsiteX29" fmla="*/ 437036 w 3345917"/>
                <a:gd name="connsiteY29" fmla="*/ 191013 h 927483"/>
                <a:gd name="connsiteX30" fmla="*/ 255802 w 3345917"/>
                <a:gd name="connsiteY30" fmla="*/ 75796 h 927483"/>
                <a:gd name="connsiteX31" fmla="*/ 0 w 3345917"/>
                <a:gd name="connsiteY31" fmla="*/ 0 h 927483"/>
                <a:gd name="connsiteX0" fmla="*/ 3345917 w 3345917"/>
                <a:gd name="connsiteY0" fmla="*/ 848583 h 927483"/>
                <a:gd name="connsiteX1" fmla="*/ 3263726 w 3345917"/>
                <a:gd name="connsiteY1" fmla="*/ 814648 h 927483"/>
                <a:gd name="connsiteX2" fmla="*/ 3205443 w 3345917"/>
                <a:gd name="connsiteY2" fmla="*/ 800284 h 927483"/>
                <a:gd name="connsiteX3" fmla="*/ 3121653 w 3345917"/>
                <a:gd name="connsiteY3" fmla="*/ 828210 h 927483"/>
                <a:gd name="connsiteX4" fmla="*/ 2985604 w 3345917"/>
                <a:gd name="connsiteY4" fmla="*/ 868303 h 927483"/>
                <a:gd name="connsiteX5" fmla="*/ 2879204 w 3345917"/>
                <a:gd name="connsiteY5" fmla="*/ 839646 h 927483"/>
                <a:gd name="connsiteX6" fmla="*/ 2835923 w 3345917"/>
                <a:gd name="connsiteY6" fmla="*/ 843700 h 927483"/>
                <a:gd name="connsiteX7" fmla="*/ 2739469 w 3345917"/>
                <a:gd name="connsiteY7" fmla="*/ 927120 h 927483"/>
                <a:gd name="connsiteX8" fmla="*/ 2619450 w 3345917"/>
                <a:gd name="connsiteY8" fmla="*/ 871871 h 927483"/>
                <a:gd name="connsiteX9" fmla="*/ 2642336 w 3345917"/>
                <a:gd name="connsiteY9" fmla="*/ 819913 h 927483"/>
                <a:gd name="connsiteX10" fmla="*/ 2595048 w 3345917"/>
                <a:gd name="connsiteY10" fmla="*/ 777751 h 927483"/>
                <a:gd name="connsiteX11" fmla="*/ 2558592 w 3345917"/>
                <a:gd name="connsiteY11" fmla="*/ 733837 h 927483"/>
                <a:gd name="connsiteX12" fmla="*/ 2496544 w 3345917"/>
                <a:gd name="connsiteY12" fmla="*/ 693058 h 927483"/>
                <a:gd name="connsiteX13" fmla="*/ 2421123 w 3345917"/>
                <a:gd name="connsiteY13" fmla="*/ 659672 h 927483"/>
                <a:gd name="connsiteX14" fmla="*/ 2259379 w 3345917"/>
                <a:gd name="connsiteY14" fmla="*/ 632500 h 927483"/>
                <a:gd name="connsiteX15" fmla="*/ 2159226 w 3345917"/>
                <a:gd name="connsiteY15" fmla="*/ 619296 h 927483"/>
                <a:gd name="connsiteX16" fmla="*/ 2112645 w 3345917"/>
                <a:gd name="connsiteY16" fmla="*/ 639065 h 927483"/>
                <a:gd name="connsiteX17" fmla="*/ 1964368 w 3345917"/>
                <a:gd name="connsiteY17" fmla="*/ 679260 h 927483"/>
                <a:gd name="connsiteX18" fmla="*/ 1841450 w 3345917"/>
                <a:gd name="connsiteY18" fmla="*/ 689248 h 927483"/>
                <a:gd name="connsiteX19" fmla="*/ 1708106 w 3345917"/>
                <a:gd name="connsiteY19" fmla="*/ 690312 h 927483"/>
                <a:gd name="connsiteX20" fmla="*/ 1514158 w 3345917"/>
                <a:gd name="connsiteY20" fmla="*/ 671665 h 927483"/>
                <a:gd name="connsiteX21" fmla="*/ 1362464 w 3345917"/>
                <a:gd name="connsiteY21" fmla="*/ 648734 h 927483"/>
                <a:gd name="connsiteX22" fmla="*/ 1320246 w 3345917"/>
                <a:gd name="connsiteY22" fmla="*/ 617113 h 927483"/>
                <a:gd name="connsiteX23" fmla="*/ 1237591 w 3345917"/>
                <a:gd name="connsiteY23" fmla="*/ 530325 h 927483"/>
                <a:gd name="connsiteX24" fmla="*/ 1166966 w 3345917"/>
                <a:gd name="connsiteY24" fmla="*/ 461196 h 927483"/>
                <a:gd name="connsiteX25" fmla="*/ 1069887 w 3345917"/>
                <a:gd name="connsiteY25" fmla="*/ 409815 h 927483"/>
                <a:gd name="connsiteX26" fmla="*/ 948916 w 3345917"/>
                <a:gd name="connsiteY26" fmla="*/ 390457 h 927483"/>
                <a:gd name="connsiteX27" fmla="*/ 831914 w 3345917"/>
                <a:gd name="connsiteY27" fmla="*/ 363673 h 927483"/>
                <a:gd name="connsiteX28" fmla="*/ 631117 w 3345917"/>
                <a:gd name="connsiteY28" fmla="*/ 278548 h 927483"/>
                <a:gd name="connsiteX29" fmla="*/ 437036 w 3345917"/>
                <a:gd name="connsiteY29" fmla="*/ 191013 h 927483"/>
                <a:gd name="connsiteX30" fmla="*/ 255802 w 3345917"/>
                <a:gd name="connsiteY30" fmla="*/ 75796 h 927483"/>
                <a:gd name="connsiteX31" fmla="*/ 0 w 3345917"/>
                <a:gd name="connsiteY31" fmla="*/ 0 h 927483"/>
                <a:gd name="connsiteX0" fmla="*/ 3345917 w 3345917"/>
                <a:gd name="connsiteY0" fmla="*/ 848583 h 927483"/>
                <a:gd name="connsiteX1" fmla="*/ 3263726 w 3345917"/>
                <a:gd name="connsiteY1" fmla="*/ 814648 h 927483"/>
                <a:gd name="connsiteX2" fmla="*/ 3205443 w 3345917"/>
                <a:gd name="connsiteY2" fmla="*/ 800284 h 927483"/>
                <a:gd name="connsiteX3" fmla="*/ 3121653 w 3345917"/>
                <a:gd name="connsiteY3" fmla="*/ 828210 h 927483"/>
                <a:gd name="connsiteX4" fmla="*/ 2985604 w 3345917"/>
                <a:gd name="connsiteY4" fmla="*/ 868303 h 927483"/>
                <a:gd name="connsiteX5" fmla="*/ 2879204 w 3345917"/>
                <a:gd name="connsiteY5" fmla="*/ 839646 h 927483"/>
                <a:gd name="connsiteX6" fmla="*/ 2835923 w 3345917"/>
                <a:gd name="connsiteY6" fmla="*/ 843700 h 927483"/>
                <a:gd name="connsiteX7" fmla="*/ 2739469 w 3345917"/>
                <a:gd name="connsiteY7" fmla="*/ 927120 h 927483"/>
                <a:gd name="connsiteX8" fmla="*/ 2619450 w 3345917"/>
                <a:gd name="connsiteY8" fmla="*/ 871871 h 927483"/>
                <a:gd name="connsiteX9" fmla="*/ 2642336 w 3345917"/>
                <a:gd name="connsiteY9" fmla="*/ 819913 h 927483"/>
                <a:gd name="connsiteX10" fmla="*/ 2595048 w 3345917"/>
                <a:gd name="connsiteY10" fmla="*/ 777751 h 927483"/>
                <a:gd name="connsiteX11" fmla="*/ 2558592 w 3345917"/>
                <a:gd name="connsiteY11" fmla="*/ 733837 h 927483"/>
                <a:gd name="connsiteX12" fmla="*/ 2496544 w 3345917"/>
                <a:gd name="connsiteY12" fmla="*/ 693058 h 927483"/>
                <a:gd name="connsiteX13" fmla="*/ 2421123 w 3345917"/>
                <a:gd name="connsiteY13" fmla="*/ 659672 h 927483"/>
                <a:gd name="connsiteX14" fmla="*/ 2259379 w 3345917"/>
                <a:gd name="connsiteY14" fmla="*/ 632500 h 927483"/>
                <a:gd name="connsiteX15" fmla="*/ 2159226 w 3345917"/>
                <a:gd name="connsiteY15" fmla="*/ 619296 h 927483"/>
                <a:gd name="connsiteX16" fmla="*/ 2112645 w 3345917"/>
                <a:gd name="connsiteY16" fmla="*/ 639065 h 927483"/>
                <a:gd name="connsiteX17" fmla="*/ 1964368 w 3345917"/>
                <a:gd name="connsiteY17" fmla="*/ 679260 h 927483"/>
                <a:gd name="connsiteX18" fmla="*/ 1841450 w 3345917"/>
                <a:gd name="connsiteY18" fmla="*/ 689248 h 927483"/>
                <a:gd name="connsiteX19" fmla="*/ 1708106 w 3345917"/>
                <a:gd name="connsiteY19" fmla="*/ 690312 h 927483"/>
                <a:gd name="connsiteX20" fmla="*/ 1514158 w 3345917"/>
                <a:gd name="connsiteY20" fmla="*/ 671665 h 927483"/>
                <a:gd name="connsiteX21" fmla="*/ 1362464 w 3345917"/>
                <a:gd name="connsiteY21" fmla="*/ 648734 h 927483"/>
                <a:gd name="connsiteX22" fmla="*/ 1320246 w 3345917"/>
                <a:gd name="connsiteY22" fmla="*/ 617113 h 927483"/>
                <a:gd name="connsiteX23" fmla="*/ 1237591 w 3345917"/>
                <a:gd name="connsiteY23" fmla="*/ 530325 h 927483"/>
                <a:gd name="connsiteX24" fmla="*/ 1166966 w 3345917"/>
                <a:gd name="connsiteY24" fmla="*/ 461196 h 927483"/>
                <a:gd name="connsiteX25" fmla="*/ 1069887 w 3345917"/>
                <a:gd name="connsiteY25" fmla="*/ 409815 h 927483"/>
                <a:gd name="connsiteX26" fmla="*/ 952350 w 3345917"/>
                <a:gd name="connsiteY26" fmla="*/ 400364 h 927483"/>
                <a:gd name="connsiteX27" fmla="*/ 831914 w 3345917"/>
                <a:gd name="connsiteY27" fmla="*/ 363673 h 927483"/>
                <a:gd name="connsiteX28" fmla="*/ 631117 w 3345917"/>
                <a:gd name="connsiteY28" fmla="*/ 278548 h 927483"/>
                <a:gd name="connsiteX29" fmla="*/ 437036 w 3345917"/>
                <a:gd name="connsiteY29" fmla="*/ 191013 h 927483"/>
                <a:gd name="connsiteX30" fmla="*/ 255802 w 3345917"/>
                <a:gd name="connsiteY30" fmla="*/ 75796 h 927483"/>
                <a:gd name="connsiteX31" fmla="*/ 0 w 3345917"/>
                <a:gd name="connsiteY31" fmla="*/ 0 h 927483"/>
                <a:gd name="connsiteX0" fmla="*/ 3345917 w 3345917"/>
                <a:gd name="connsiteY0" fmla="*/ 848583 h 927483"/>
                <a:gd name="connsiteX1" fmla="*/ 3263726 w 3345917"/>
                <a:gd name="connsiteY1" fmla="*/ 814648 h 927483"/>
                <a:gd name="connsiteX2" fmla="*/ 3205443 w 3345917"/>
                <a:gd name="connsiteY2" fmla="*/ 800284 h 927483"/>
                <a:gd name="connsiteX3" fmla="*/ 3121653 w 3345917"/>
                <a:gd name="connsiteY3" fmla="*/ 828210 h 927483"/>
                <a:gd name="connsiteX4" fmla="*/ 2985604 w 3345917"/>
                <a:gd name="connsiteY4" fmla="*/ 868303 h 927483"/>
                <a:gd name="connsiteX5" fmla="*/ 2879204 w 3345917"/>
                <a:gd name="connsiteY5" fmla="*/ 839646 h 927483"/>
                <a:gd name="connsiteX6" fmla="*/ 2835923 w 3345917"/>
                <a:gd name="connsiteY6" fmla="*/ 843700 h 927483"/>
                <a:gd name="connsiteX7" fmla="*/ 2739469 w 3345917"/>
                <a:gd name="connsiteY7" fmla="*/ 927120 h 927483"/>
                <a:gd name="connsiteX8" fmla="*/ 2619450 w 3345917"/>
                <a:gd name="connsiteY8" fmla="*/ 871871 h 927483"/>
                <a:gd name="connsiteX9" fmla="*/ 2642336 w 3345917"/>
                <a:gd name="connsiteY9" fmla="*/ 819913 h 927483"/>
                <a:gd name="connsiteX10" fmla="*/ 2595048 w 3345917"/>
                <a:gd name="connsiteY10" fmla="*/ 777751 h 927483"/>
                <a:gd name="connsiteX11" fmla="*/ 2558592 w 3345917"/>
                <a:gd name="connsiteY11" fmla="*/ 733837 h 927483"/>
                <a:gd name="connsiteX12" fmla="*/ 2496544 w 3345917"/>
                <a:gd name="connsiteY12" fmla="*/ 693058 h 927483"/>
                <a:gd name="connsiteX13" fmla="*/ 2421123 w 3345917"/>
                <a:gd name="connsiteY13" fmla="*/ 659672 h 927483"/>
                <a:gd name="connsiteX14" fmla="*/ 2259379 w 3345917"/>
                <a:gd name="connsiteY14" fmla="*/ 632500 h 927483"/>
                <a:gd name="connsiteX15" fmla="*/ 2159226 w 3345917"/>
                <a:gd name="connsiteY15" fmla="*/ 619296 h 927483"/>
                <a:gd name="connsiteX16" fmla="*/ 2112645 w 3345917"/>
                <a:gd name="connsiteY16" fmla="*/ 639065 h 927483"/>
                <a:gd name="connsiteX17" fmla="*/ 1964368 w 3345917"/>
                <a:gd name="connsiteY17" fmla="*/ 679260 h 927483"/>
                <a:gd name="connsiteX18" fmla="*/ 1841450 w 3345917"/>
                <a:gd name="connsiteY18" fmla="*/ 689248 h 927483"/>
                <a:gd name="connsiteX19" fmla="*/ 1708106 w 3345917"/>
                <a:gd name="connsiteY19" fmla="*/ 690312 h 927483"/>
                <a:gd name="connsiteX20" fmla="*/ 1514158 w 3345917"/>
                <a:gd name="connsiteY20" fmla="*/ 671665 h 927483"/>
                <a:gd name="connsiteX21" fmla="*/ 1362464 w 3345917"/>
                <a:gd name="connsiteY21" fmla="*/ 648734 h 927483"/>
                <a:gd name="connsiteX22" fmla="*/ 1320246 w 3345917"/>
                <a:gd name="connsiteY22" fmla="*/ 617113 h 927483"/>
                <a:gd name="connsiteX23" fmla="*/ 1237591 w 3345917"/>
                <a:gd name="connsiteY23" fmla="*/ 530325 h 927483"/>
                <a:gd name="connsiteX24" fmla="*/ 1166966 w 3345917"/>
                <a:gd name="connsiteY24" fmla="*/ 461196 h 927483"/>
                <a:gd name="connsiteX25" fmla="*/ 1090485 w 3345917"/>
                <a:gd name="connsiteY25" fmla="*/ 413117 h 927483"/>
                <a:gd name="connsiteX26" fmla="*/ 952350 w 3345917"/>
                <a:gd name="connsiteY26" fmla="*/ 400364 h 927483"/>
                <a:gd name="connsiteX27" fmla="*/ 831914 w 3345917"/>
                <a:gd name="connsiteY27" fmla="*/ 363673 h 927483"/>
                <a:gd name="connsiteX28" fmla="*/ 631117 w 3345917"/>
                <a:gd name="connsiteY28" fmla="*/ 278548 h 927483"/>
                <a:gd name="connsiteX29" fmla="*/ 437036 w 3345917"/>
                <a:gd name="connsiteY29" fmla="*/ 191013 h 927483"/>
                <a:gd name="connsiteX30" fmla="*/ 255802 w 3345917"/>
                <a:gd name="connsiteY30" fmla="*/ 75796 h 927483"/>
                <a:gd name="connsiteX31" fmla="*/ 0 w 3345917"/>
                <a:gd name="connsiteY31" fmla="*/ 0 h 927483"/>
                <a:gd name="connsiteX0" fmla="*/ 3345917 w 3345917"/>
                <a:gd name="connsiteY0" fmla="*/ 848583 h 927483"/>
                <a:gd name="connsiteX1" fmla="*/ 3263726 w 3345917"/>
                <a:gd name="connsiteY1" fmla="*/ 814648 h 927483"/>
                <a:gd name="connsiteX2" fmla="*/ 3205443 w 3345917"/>
                <a:gd name="connsiteY2" fmla="*/ 800284 h 927483"/>
                <a:gd name="connsiteX3" fmla="*/ 3121653 w 3345917"/>
                <a:gd name="connsiteY3" fmla="*/ 828210 h 927483"/>
                <a:gd name="connsiteX4" fmla="*/ 2985604 w 3345917"/>
                <a:gd name="connsiteY4" fmla="*/ 868303 h 927483"/>
                <a:gd name="connsiteX5" fmla="*/ 2879204 w 3345917"/>
                <a:gd name="connsiteY5" fmla="*/ 839646 h 927483"/>
                <a:gd name="connsiteX6" fmla="*/ 2835923 w 3345917"/>
                <a:gd name="connsiteY6" fmla="*/ 843700 h 927483"/>
                <a:gd name="connsiteX7" fmla="*/ 2739469 w 3345917"/>
                <a:gd name="connsiteY7" fmla="*/ 927120 h 927483"/>
                <a:gd name="connsiteX8" fmla="*/ 2619450 w 3345917"/>
                <a:gd name="connsiteY8" fmla="*/ 871871 h 927483"/>
                <a:gd name="connsiteX9" fmla="*/ 2642336 w 3345917"/>
                <a:gd name="connsiteY9" fmla="*/ 819913 h 927483"/>
                <a:gd name="connsiteX10" fmla="*/ 2595048 w 3345917"/>
                <a:gd name="connsiteY10" fmla="*/ 777751 h 927483"/>
                <a:gd name="connsiteX11" fmla="*/ 2558592 w 3345917"/>
                <a:gd name="connsiteY11" fmla="*/ 733837 h 927483"/>
                <a:gd name="connsiteX12" fmla="*/ 2496544 w 3345917"/>
                <a:gd name="connsiteY12" fmla="*/ 693058 h 927483"/>
                <a:gd name="connsiteX13" fmla="*/ 2421123 w 3345917"/>
                <a:gd name="connsiteY13" fmla="*/ 659672 h 927483"/>
                <a:gd name="connsiteX14" fmla="*/ 2259379 w 3345917"/>
                <a:gd name="connsiteY14" fmla="*/ 632500 h 927483"/>
                <a:gd name="connsiteX15" fmla="*/ 2159226 w 3345917"/>
                <a:gd name="connsiteY15" fmla="*/ 619296 h 927483"/>
                <a:gd name="connsiteX16" fmla="*/ 2112645 w 3345917"/>
                <a:gd name="connsiteY16" fmla="*/ 639065 h 927483"/>
                <a:gd name="connsiteX17" fmla="*/ 1964368 w 3345917"/>
                <a:gd name="connsiteY17" fmla="*/ 679260 h 927483"/>
                <a:gd name="connsiteX18" fmla="*/ 1841450 w 3345917"/>
                <a:gd name="connsiteY18" fmla="*/ 689248 h 927483"/>
                <a:gd name="connsiteX19" fmla="*/ 1708106 w 3345917"/>
                <a:gd name="connsiteY19" fmla="*/ 690312 h 927483"/>
                <a:gd name="connsiteX20" fmla="*/ 1514158 w 3345917"/>
                <a:gd name="connsiteY20" fmla="*/ 671665 h 927483"/>
                <a:gd name="connsiteX21" fmla="*/ 1362464 w 3345917"/>
                <a:gd name="connsiteY21" fmla="*/ 648734 h 927483"/>
                <a:gd name="connsiteX22" fmla="*/ 1320246 w 3345917"/>
                <a:gd name="connsiteY22" fmla="*/ 617113 h 927483"/>
                <a:gd name="connsiteX23" fmla="*/ 1237591 w 3345917"/>
                <a:gd name="connsiteY23" fmla="*/ 530325 h 927483"/>
                <a:gd name="connsiteX24" fmla="*/ 1166966 w 3345917"/>
                <a:gd name="connsiteY24" fmla="*/ 461196 h 927483"/>
                <a:gd name="connsiteX25" fmla="*/ 1090485 w 3345917"/>
                <a:gd name="connsiteY25" fmla="*/ 429629 h 927483"/>
                <a:gd name="connsiteX26" fmla="*/ 952350 w 3345917"/>
                <a:gd name="connsiteY26" fmla="*/ 400364 h 927483"/>
                <a:gd name="connsiteX27" fmla="*/ 831914 w 3345917"/>
                <a:gd name="connsiteY27" fmla="*/ 363673 h 927483"/>
                <a:gd name="connsiteX28" fmla="*/ 631117 w 3345917"/>
                <a:gd name="connsiteY28" fmla="*/ 278548 h 927483"/>
                <a:gd name="connsiteX29" fmla="*/ 437036 w 3345917"/>
                <a:gd name="connsiteY29" fmla="*/ 191013 h 927483"/>
                <a:gd name="connsiteX30" fmla="*/ 255802 w 3345917"/>
                <a:gd name="connsiteY30" fmla="*/ 75796 h 927483"/>
                <a:gd name="connsiteX31" fmla="*/ 0 w 3345917"/>
                <a:gd name="connsiteY31" fmla="*/ 0 h 927483"/>
                <a:gd name="connsiteX0" fmla="*/ 3345917 w 3345917"/>
                <a:gd name="connsiteY0" fmla="*/ 848583 h 927483"/>
                <a:gd name="connsiteX1" fmla="*/ 3263726 w 3345917"/>
                <a:gd name="connsiteY1" fmla="*/ 814648 h 927483"/>
                <a:gd name="connsiteX2" fmla="*/ 3205443 w 3345917"/>
                <a:gd name="connsiteY2" fmla="*/ 800284 h 927483"/>
                <a:gd name="connsiteX3" fmla="*/ 3121653 w 3345917"/>
                <a:gd name="connsiteY3" fmla="*/ 828210 h 927483"/>
                <a:gd name="connsiteX4" fmla="*/ 2985604 w 3345917"/>
                <a:gd name="connsiteY4" fmla="*/ 868303 h 927483"/>
                <a:gd name="connsiteX5" fmla="*/ 2879204 w 3345917"/>
                <a:gd name="connsiteY5" fmla="*/ 839646 h 927483"/>
                <a:gd name="connsiteX6" fmla="*/ 2835923 w 3345917"/>
                <a:gd name="connsiteY6" fmla="*/ 843700 h 927483"/>
                <a:gd name="connsiteX7" fmla="*/ 2739469 w 3345917"/>
                <a:gd name="connsiteY7" fmla="*/ 927120 h 927483"/>
                <a:gd name="connsiteX8" fmla="*/ 2619450 w 3345917"/>
                <a:gd name="connsiteY8" fmla="*/ 871871 h 927483"/>
                <a:gd name="connsiteX9" fmla="*/ 2642336 w 3345917"/>
                <a:gd name="connsiteY9" fmla="*/ 819913 h 927483"/>
                <a:gd name="connsiteX10" fmla="*/ 2595048 w 3345917"/>
                <a:gd name="connsiteY10" fmla="*/ 777751 h 927483"/>
                <a:gd name="connsiteX11" fmla="*/ 2558592 w 3345917"/>
                <a:gd name="connsiteY11" fmla="*/ 733837 h 927483"/>
                <a:gd name="connsiteX12" fmla="*/ 2496544 w 3345917"/>
                <a:gd name="connsiteY12" fmla="*/ 693058 h 927483"/>
                <a:gd name="connsiteX13" fmla="*/ 2421123 w 3345917"/>
                <a:gd name="connsiteY13" fmla="*/ 659672 h 927483"/>
                <a:gd name="connsiteX14" fmla="*/ 2259379 w 3345917"/>
                <a:gd name="connsiteY14" fmla="*/ 632500 h 927483"/>
                <a:gd name="connsiteX15" fmla="*/ 2159226 w 3345917"/>
                <a:gd name="connsiteY15" fmla="*/ 619296 h 927483"/>
                <a:gd name="connsiteX16" fmla="*/ 2112645 w 3345917"/>
                <a:gd name="connsiteY16" fmla="*/ 639065 h 927483"/>
                <a:gd name="connsiteX17" fmla="*/ 1964368 w 3345917"/>
                <a:gd name="connsiteY17" fmla="*/ 679260 h 927483"/>
                <a:gd name="connsiteX18" fmla="*/ 1841450 w 3345917"/>
                <a:gd name="connsiteY18" fmla="*/ 689248 h 927483"/>
                <a:gd name="connsiteX19" fmla="*/ 1708106 w 3345917"/>
                <a:gd name="connsiteY19" fmla="*/ 690312 h 927483"/>
                <a:gd name="connsiteX20" fmla="*/ 1514158 w 3345917"/>
                <a:gd name="connsiteY20" fmla="*/ 671665 h 927483"/>
                <a:gd name="connsiteX21" fmla="*/ 1362464 w 3345917"/>
                <a:gd name="connsiteY21" fmla="*/ 648734 h 927483"/>
                <a:gd name="connsiteX22" fmla="*/ 1320246 w 3345917"/>
                <a:gd name="connsiteY22" fmla="*/ 617113 h 927483"/>
                <a:gd name="connsiteX23" fmla="*/ 1237591 w 3345917"/>
                <a:gd name="connsiteY23" fmla="*/ 530325 h 927483"/>
                <a:gd name="connsiteX24" fmla="*/ 1166966 w 3345917"/>
                <a:gd name="connsiteY24" fmla="*/ 461196 h 927483"/>
                <a:gd name="connsiteX25" fmla="*/ 1087052 w 3345917"/>
                <a:gd name="connsiteY25" fmla="*/ 416419 h 927483"/>
                <a:gd name="connsiteX26" fmla="*/ 952350 w 3345917"/>
                <a:gd name="connsiteY26" fmla="*/ 400364 h 927483"/>
                <a:gd name="connsiteX27" fmla="*/ 831914 w 3345917"/>
                <a:gd name="connsiteY27" fmla="*/ 363673 h 927483"/>
                <a:gd name="connsiteX28" fmla="*/ 631117 w 3345917"/>
                <a:gd name="connsiteY28" fmla="*/ 278548 h 927483"/>
                <a:gd name="connsiteX29" fmla="*/ 437036 w 3345917"/>
                <a:gd name="connsiteY29" fmla="*/ 191013 h 927483"/>
                <a:gd name="connsiteX30" fmla="*/ 255802 w 3345917"/>
                <a:gd name="connsiteY30" fmla="*/ 75796 h 927483"/>
                <a:gd name="connsiteX31" fmla="*/ 0 w 3345917"/>
                <a:gd name="connsiteY31" fmla="*/ 0 h 927483"/>
                <a:gd name="connsiteX0" fmla="*/ 3345917 w 3345917"/>
                <a:gd name="connsiteY0" fmla="*/ 848583 h 927483"/>
                <a:gd name="connsiteX1" fmla="*/ 3263726 w 3345917"/>
                <a:gd name="connsiteY1" fmla="*/ 814648 h 927483"/>
                <a:gd name="connsiteX2" fmla="*/ 3205443 w 3345917"/>
                <a:gd name="connsiteY2" fmla="*/ 800284 h 927483"/>
                <a:gd name="connsiteX3" fmla="*/ 3121653 w 3345917"/>
                <a:gd name="connsiteY3" fmla="*/ 828210 h 927483"/>
                <a:gd name="connsiteX4" fmla="*/ 2985604 w 3345917"/>
                <a:gd name="connsiteY4" fmla="*/ 868303 h 927483"/>
                <a:gd name="connsiteX5" fmla="*/ 2879204 w 3345917"/>
                <a:gd name="connsiteY5" fmla="*/ 839646 h 927483"/>
                <a:gd name="connsiteX6" fmla="*/ 2835923 w 3345917"/>
                <a:gd name="connsiteY6" fmla="*/ 843700 h 927483"/>
                <a:gd name="connsiteX7" fmla="*/ 2739469 w 3345917"/>
                <a:gd name="connsiteY7" fmla="*/ 927120 h 927483"/>
                <a:gd name="connsiteX8" fmla="*/ 2619450 w 3345917"/>
                <a:gd name="connsiteY8" fmla="*/ 871871 h 927483"/>
                <a:gd name="connsiteX9" fmla="*/ 2642336 w 3345917"/>
                <a:gd name="connsiteY9" fmla="*/ 819913 h 927483"/>
                <a:gd name="connsiteX10" fmla="*/ 2595048 w 3345917"/>
                <a:gd name="connsiteY10" fmla="*/ 777751 h 927483"/>
                <a:gd name="connsiteX11" fmla="*/ 2558592 w 3345917"/>
                <a:gd name="connsiteY11" fmla="*/ 733837 h 927483"/>
                <a:gd name="connsiteX12" fmla="*/ 2496544 w 3345917"/>
                <a:gd name="connsiteY12" fmla="*/ 693058 h 927483"/>
                <a:gd name="connsiteX13" fmla="*/ 2421123 w 3345917"/>
                <a:gd name="connsiteY13" fmla="*/ 659672 h 927483"/>
                <a:gd name="connsiteX14" fmla="*/ 2259379 w 3345917"/>
                <a:gd name="connsiteY14" fmla="*/ 632500 h 927483"/>
                <a:gd name="connsiteX15" fmla="*/ 2159226 w 3345917"/>
                <a:gd name="connsiteY15" fmla="*/ 619296 h 927483"/>
                <a:gd name="connsiteX16" fmla="*/ 2112645 w 3345917"/>
                <a:gd name="connsiteY16" fmla="*/ 639065 h 927483"/>
                <a:gd name="connsiteX17" fmla="*/ 1964368 w 3345917"/>
                <a:gd name="connsiteY17" fmla="*/ 679260 h 927483"/>
                <a:gd name="connsiteX18" fmla="*/ 1841450 w 3345917"/>
                <a:gd name="connsiteY18" fmla="*/ 689248 h 927483"/>
                <a:gd name="connsiteX19" fmla="*/ 1708106 w 3345917"/>
                <a:gd name="connsiteY19" fmla="*/ 690312 h 927483"/>
                <a:gd name="connsiteX20" fmla="*/ 1514158 w 3345917"/>
                <a:gd name="connsiteY20" fmla="*/ 671665 h 927483"/>
                <a:gd name="connsiteX21" fmla="*/ 1362464 w 3345917"/>
                <a:gd name="connsiteY21" fmla="*/ 648734 h 927483"/>
                <a:gd name="connsiteX22" fmla="*/ 1320246 w 3345917"/>
                <a:gd name="connsiteY22" fmla="*/ 617113 h 927483"/>
                <a:gd name="connsiteX23" fmla="*/ 1237591 w 3345917"/>
                <a:gd name="connsiteY23" fmla="*/ 530325 h 927483"/>
                <a:gd name="connsiteX24" fmla="*/ 1166966 w 3345917"/>
                <a:gd name="connsiteY24" fmla="*/ 461196 h 927483"/>
                <a:gd name="connsiteX25" fmla="*/ 1083618 w 3345917"/>
                <a:gd name="connsiteY25" fmla="*/ 423024 h 927483"/>
                <a:gd name="connsiteX26" fmla="*/ 952350 w 3345917"/>
                <a:gd name="connsiteY26" fmla="*/ 400364 h 927483"/>
                <a:gd name="connsiteX27" fmla="*/ 831914 w 3345917"/>
                <a:gd name="connsiteY27" fmla="*/ 363673 h 927483"/>
                <a:gd name="connsiteX28" fmla="*/ 631117 w 3345917"/>
                <a:gd name="connsiteY28" fmla="*/ 278548 h 927483"/>
                <a:gd name="connsiteX29" fmla="*/ 437036 w 3345917"/>
                <a:gd name="connsiteY29" fmla="*/ 191013 h 927483"/>
                <a:gd name="connsiteX30" fmla="*/ 255802 w 3345917"/>
                <a:gd name="connsiteY30" fmla="*/ 75796 h 927483"/>
                <a:gd name="connsiteX31" fmla="*/ 0 w 3345917"/>
                <a:gd name="connsiteY31" fmla="*/ 0 h 927483"/>
                <a:gd name="connsiteX0" fmla="*/ 3345917 w 3345917"/>
                <a:gd name="connsiteY0" fmla="*/ 848583 h 927483"/>
                <a:gd name="connsiteX1" fmla="*/ 3263726 w 3345917"/>
                <a:gd name="connsiteY1" fmla="*/ 814648 h 927483"/>
                <a:gd name="connsiteX2" fmla="*/ 3205443 w 3345917"/>
                <a:gd name="connsiteY2" fmla="*/ 800284 h 927483"/>
                <a:gd name="connsiteX3" fmla="*/ 3121653 w 3345917"/>
                <a:gd name="connsiteY3" fmla="*/ 828210 h 927483"/>
                <a:gd name="connsiteX4" fmla="*/ 2985604 w 3345917"/>
                <a:gd name="connsiteY4" fmla="*/ 868303 h 927483"/>
                <a:gd name="connsiteX5" fmla="*/ 2879204 w 3345917"/>
                <a:gd name="connsiteY5" fmla="*/ 839646 h 927483"/>
                <a:gd name="connsiteX6" fmla="*/ 2835923 w 3345917"/>
                <a:gd name="connsiteY6" fmla="*/ 843700 h 927483"/>
                <a:gd name="connsiteX7" fmla="*/ 2739469 w 3345917"/>
                <a:gd name="connsiteY7" fmla="*/ 927120 h 927483"/>
                <a:gd name="connsiteX8" fmla="*/ 2619450 w 3345917"/>
                <a:gd name="connsiteY8" fmla="*/ 871871 h 927483"/>
                <a:gd name="connsiteX9" fmla="*/ 2642336 w 3345917"/>
                <a:gd name="connsiteY9" fmla="*/ 819913 h 927483"/>
                <a:gd name="connsiteX10" fmla="*/ 2595048 w 3345917"/>
                <a:gd name="connsiteY10" fmla="*/ 777751 h 927483"/>
                <a:gd name="connsiteX11" fmla="*/ 2558592 w 3345917"/>
                <a:gd name="connsiteY11" fmla="*/ 733837 h 927483"/>
                <a:gd name="connsiteX12" fmla="*/ 2496544 w 3345917"/>
                <a:gd name="connsiteY12" fmla="*/ 693058 h 927483"/>
                <a:gd name="connsiteX13" fmla="*/ 2421123 w 3345917"/>
                <a:gd name="connsiteY13" fmla="*/ 659672 h 927483"/>
                <a:gd name="connsiteX14" fmla="*/ 2259379 w 3345917"/>
                <a:gd name="connsiteY14" fmla="*/ 632500 h 927483"/>
                <a:gd name="connsiteX15" fmla="*/ 2159226 w 3345917"/>
                <a:gd name="connsiteY15" fmla="*/ 619296 h 927483"/>
                <a:gd name="connsiteX16" fmla="*/ 2112645 w 3345917"/>
                <a:gd name="connsiteY16" fmla="*/ 639065 h 927483"/>
                <a:gd name="connsiteX17" fmla="*/ 1964368 w 3345917"/>
                <a:gd name="connsiteY17" fmla="*/ 679260 h 927483"/>
                <a:gd name="connsiteX18" fmla="*/ 1841450 w 3345917"/>
                <a:gd name="connsiteY18" fmla="*/ 689248 h 927483"/>
                <a:gd name="connsiteX19" fmla="*/ 1708106 w 3345917"/>
                <a:gd name="connsiteY19" fmla="*/ 690312 h 927483"/>
                <a:gd name="connsiteX20" fmla="*/ 1514158 w 3345917"/>
                <a:gd name="connsiteY20" fmla="*/ 671665 h 927483"/>
                <a:gd name="connsiteX21" fmla="*/ 1376197 w 3345917"/>
                <a:gd name="connsiteY21" fmla="*/ 658642 h 927483"/>
                <a:gd name="connsiteX22" fmla="*/ 1320246 w 3345917"/>
                <a:gd name="connsiteY22" fmla="*/ 617113 h 927483"/>
                <a:gd name="connsiteX23" fmla="*/ 1237591 w 3345917"/>
                <a:gd name="connsiteY23" fmla="*/ 530325 h 927483"/>
                <a:gd name="connsiteX24" fmla="*/ 1166966 w 3345917"/>
                <a:gd name="connsiteY24" fmla="*/ 461196 h 927483"/>
                <a:gd name="connsiteX25" fmla="*/ 1083618 w 3345917"/>
                <a:gd name="connsiteY25" fmla="*/ 423024 h 927483"/>
                <a:gd name="connsiteX26" fmla="*/ 952350 w 3345917"/>
                <a:gd name="connsiteY26" fmla="*/ 400364 h 927483"/>
                <a:gd name="connsiteX27" fmla="*/ 831914 w 3345917"/>
                <a:gd name="connsiteY27" fmla="*/ 363673 h 927483"/>
                <a:gd name="connsiteX28" fmla="*/ 631117 w 3345917"/>
                <a:gd name="connsiteY28" fmla="*/ 278548 h 927483"/>
                <a:gd name="connsiteX29" fmla="*/ 437036 w 3345917"/>
                <a:gd name="connsiteY29" fmla="*/ 191013 h 927483"/>
                <a:gd name="connsiteX30" fmla="*/ 255802 w 3345917"/>
                <a:gd name="connsiteY30" fmla="*/ 75796 h 927483"/>
                <a:gd name="connsiteX31" fmla="*/ 0 w 3345917"/>
                <a:gd name="connsiteY31" fmla="*/ 0 h 927483"/>
                <a:gd name="connsiteX0" fmla="*/ 3345917 w 3345917"/>
                <a:gd name="connsiteY0" fmla="*/ 848583 h 927483"/>
                <a:gd name="connsiteX1" fmla="*/ 3263726 w 3345917"/>
                <a:gd name="connsiteY1" fmla="*/ 814648 h 927483"/>
                <a:gd name="connsiteX2" fmla="*/ 3205443 w 3345917"/>
                <a:gd name="connsiteY2" fmla="*/ 800284 h 927483"/>
                <a:gd name="connsiteX3" fmla="*/ 3121653 w 3345917"/>
                <a:gd name="connsiteY3" fmla="*/ 828210 h 927483"/>
                <a:gd name="connsiteX4" fmla="*/ 2985604 w 3345917"/>
                <a:gd name="connsiteY4" fmla="*/ 868303 h 927483"/>
                <a:gd name="connsiteX5" fmla="*/ 2879204 w 3345917"/>
                <a:gd name="connsiteY5" fmla="*/ 839646 h 927483"/>
                <a:gd name="connsiteX6" fmla="*/ 2835923 w 3345917"/>
                <a:gd name="connsiteY6" fmla="*/ 843700 h 927483"/>
                <a:gd name="connsiteX7" fmla="*/ 2739469 w 3345917"/>
                <a:gd name="connsiteY7" fmla="*/ 927120 h 927483"/>
                <a:gd name="connsiteX8" fmla="*/ 2619450 w 3345917"/>
                <a:gd name="connsiteY8" fmla="*/ 871871 h 927483"/>
                <a:gd name="connsiteX9" fmla="*/ 2642336 w 3345917"/>
                <a:gd name="connsiteY9" fmla="*/ 819913 h 927483"/>
                <a:gd name="connsiteX10" fmla="*/ 2595048 w 3345917"/>
                <a:gd name="connsiteY10" fmla="*/ 777751 h 927483"/>
                <a:gd name="connsiteX11" fmla="*/ 2558592 w 3345917"/>
                <a:gd name="connsiteY11" fmla="*/ 733837 h 927483"/>
                <a:gd name="connsiteX12" fmla="*/ 2496544 w 3345917"/>
                <a:gd name="connsiteY12" fmla="*/ 693058 h 927483"/>
                <a:gd name="connsiteX13" fmla="*/ 2421123 w 3345917"/>
                <a:gd name="connsiteY13" fmla="*/ 659672 h 927483"/>
                <a:gd name="connsiteX14" fmla="*/ 2259379 w 3345917"/>
                <a:gd name="connsiteY14" fmla="*/ 632500 h 927483"/>
                <a:gd name="connsiteX15" fmla="*/ 2159226 w 3345917"/>
                <a:gd name="connsiteY15" fmla="*/ 619296 h 927483"/>
                <a:gd name="connsiteX16" fmla="*/ 2112645 w 3345917"/>
                <a:gd name="connsiteY16" fmla="*/ 639065 h 927483"/>
                <a:gd name="connsiteX17" fmla="*/ 1964368 w 3345917"/>
                <a:gd name="connsiteY17" fmla="*/ 679260 h 927483"/>
                <a:gd name="connsiteX18" fmla="*/ 1841450 w 3345917"/>
                <a:gd name="connsiteY18" fmla="*/ 689248 h 927483"/>
                <a:gd name="connsiteX19" fmla="*/ 1708106 w 3345917"/>
                <a:gd name="connsiteY19" fmla="*/ 690312 h 927483"/>
                <a:gd name="connsiteX20" fmla="*/ 1524458 w 3345917"/>
                <a:gd name="connsiteY20" fmla="*/ 684875 h 927483"/>
                <a:gd name="connsiteX21" fmla="*/ 1376197 w 3345917"/>
                <a:gd name="connsiteY21" fmla="*/ 658642 h 927483"/>
                <a:gd name="connsiteX22" fmla="*/ 1320246 w 3345917"/>
                <a:gd name="connsiteY22" fmla="*/ 617113 h 927483"/>
                <a:gd name="connsiteX23" fmla="*/ 1237591 w 3345917"/>
                <a:gd name="connsiteY23" fmla="*/ 530325 h 927483"/>
                <a:gd name="connsiteX24" fmla="*/ 1166966 w 3345917"/>
                <a:gd name="connsiteY24" fmla="*/ 461196 h 927483"/>
                <a:gd name="connsiteX25" fmla="*/ 1083618 w 3345917"/>
                <a:gd name="connsiteY25" fmla="*/ 423024 h 927483"/>
                <a:gd name="connsiteX26" fmla="*/ 952350 w 3345917"/>
                <a:gd name="connsiteY26" fmla="*/ 400364 h 927483"/>
                <a:gd name="connsiteX27" fmla="*/ 831914 w 3345917"/>
                <a:gd name="connsiteY27" fmla="*/ 363673 h 927483"/>
                <a:gd name="connsiteX28" fmla="*/ 631117 w 3345917"/>
                <a:gd name="connsiteY28" fmla="*/ 278548 h 927483"/>
                <a:gd name="connsiteX29" fmla="*/ 437036 w 3345917"/>
                <a:gd name="connsiteY29" fmla="*/ 191013 h 927483"/>
                <a:gd name="connsiteX30" fmla="*/ 255802 w 3345917"/>
                <a:gd name="connsiteY30" fmla="*/ 75796 h 927483"/>
                <a:gd name="connsiteX31" fmla="*/ 0 w 3345917"/>
                <a:gd name="connsiteY31" fmla="*/ 0 h 927483"/>
                <a:gd name="connsiteX0" fmla="*/ 3345917 w 3345917"/>
                <a:gd name="connsiteY0" fmla="*/ 848583 h 927483"/>
                <a:gd name="connsiteX1" fmla="*/ 3263726 w 3345917"/>
                <a:gd name="connsiteY1" fmla="*/ 814648 h 927483"/>
                <a:gd name="connsiteX2" fmla="*/ 3205443 w 3345917"/>
                <a:gd name="connsiteY2" fmla="*/ 800284 h 927483"/>
                <a:gd name="connsiteX3" fmla="*/ 3121653 w 3345917"/>
                <a:gd name="connsiteY3" fmla="*/ 828210 h 927483"/>
                <a:gd name="connsiteX4" fmla="*/ 2985604 w 3345917"/>
                <a:gd name="connsiteY4" fmla="*/ 868303 h 927483"/>
                <a:gd name="connsiteX5" fmla="*/ 2879204 w 3345917"/>
                <a:gd name="connsiteY5" fmla="*/ 839646 h 927483"/>
                <a:gd name="connsiteX6" fmla="*/ 2835923 w 3345917"/>
                <a:gd name="connsiteY6" fmla="*/ 843700 h 927483"/>
                <a:gd name="connsiteX7" fmla="*/ 2739469 w 3345917"/>
                <a:gd name="connsiteY7" fmla="*/ 927120 h 927483"/>
                <a:gd name="connsiteX8" fmla="*/ 2619450 w 3345917"/>
                <a:gd name="connsiteY8" fmla="*/ 871871 h 927483"/>
                <a:gd name="connsiteX9" fmla="*/ 2642336 w 3345917"/>
                <a:gd name="connsiteY9" fmla="*/ 819913 h 927483"/>
                <a:gd name="connsiteX10" fmla="*/ 2595048 w 3345917"/>
                <a:gd name="connsiteY10" fmla="*/ 777751 h 927483"/>
                <a:gd name="connsiteX11" fmla="*/ 2558592 w 3345917"/>
                <a:gd name="connsiteY11" fmla="*/ 733837 h 927483"/>
                <a:gd name="connsiteX12" fmla="*/ 2496544 w 3345917"/>
                <a:gd name="connsiteY12" fmla="*/ 693058 h 927483"/>
                <a:gd name="connsiteX13" fmla="*/ 2421123 w 3345917"/>
                <a:gd name="connsiteY13" fmla="*/ 659672 h 927483"/>
                <a:gd name="connsiteX14" fmla="*/ 2259379 w 3345917"/>
                <a:gd name="connsiteY14" fmla="*/ 632500 h 927483"/>
                <a:gd name="connsiteX15" fmla="*/ 2159226 w 3345917"/>
                <a:gd name="connsiteY15" fmla="*/ 619296 h 927483"/>
                <a:gd name="connsiteX16" fmla="*/ 2112645 w 3345917"/>
                <a:gd name="connsiteY16" fmla="*/ 639065 h 927483"/>
                <a:gd name="connsiteX17" fmla="*/ 1964368 w 3345917"/>
                <a:gd name="connsiteY17" fmla="*/ 679260 h 927483"/>
                <a:gd name="connsiteX18" fmla="*/ 1841450 w 3345917"/>
                <a:gd name="connsiteY18" fmla="*/ 689248 h 927483"/>
                <a:gd name="connsiteX19" fmla="*/ 1708106 w 3345917"/>
                <a:gd name="connsiteY19" fmla="*/ 700219 h 927483"/>
                <a:gd name="connsiteX20" fmla="*/ 1524458 w 3345917"/>
                <a:gd name="connsiteY20" fmla="*/ 684875 h 927483"/>
                <a:gd name="connsiteX21" fmla="*/ 1376197 w 3345917"/>
                <a:gd name="connsiteY21" fmla="*/ 658642 h 927483"/>
                <a:gd name="connsiteX22" fmla="*/ 1320246 w 3345917"/>
                <a:gd name="connsiteY22" fmla="*/ 617113 h 927483"/>
                <a:gd name="connsiteX23" fmla="*/ 1237591 w 3345917"/>
                <a:gd name="connsiteY23" fmla="*/ 530325 h 927483"/>
                <a:gd name="connsiteX24" fmla="*/ 1166966 w 3345917"/>
                <a:gd name="connsiteY24" fmla="*/ 461196 h 927483"/>
                <a:gd name="connsiteX25" fmla="*/ 1083618 w 3345917"/>
                <a:gd name="connsiteY25" fmla="*/ 423024 h 927483"/>
                <a:gd name="connsiteX26" fmla="*/ 952350 w 3345917"/>
                <a:gd name="connsiteY26" fmla="*/ 400364 h 927483"/>
                <a:gd name="connsiteX27" fmla="*/ 831914 w 3345917"/>
                <a:gd name="connsiteY27" fmla="*/ 363673 h 927483"/>
                <a:gd name="connsiteX28" fmla="*/ 631117 w 3345917"/>
                <a:gd name="connsiteY28" fmla="*/ 278548 h 927483"/>
                <a:gd name="connsiteX29" fmla="*/ 437036 w 3345917"/>
                <a:gd name="connsiteY29" fmla="*/ 191013 h 927483"/>
                <a:gd name="connsiteX30" fmla="*/ 255802 w 3345917"/>
                <a:gd name="connsiteY30" fmla="*/ 75796 h 927483"/>
                <a:gd name="connsiteX31" fmla="*/ 0 w 3345917"/>
                <a:gd name="connsiteY31" fmla="*/ 0 h 927483"/>
                <a:gd name="connsiteX0" fmla="*/ 3345917 w 3345917"/>
                <a:gd name="connsiteY0" fmla="*/ 848583 h 927483"/>
                <a:gd name="connsiteX1" fmla="*/ 3263726 w 3345917"/>
                <a:gd name="connsiteY1" fmla="*/ 814648 h 927483"/>
                <a:gd name="connsiteX2" fmla="*/ 3205443 w 3345917"/>
                <a:gd name="connsiteY2" fmla="*/ 800284 h 927483"/>
                <a:gd name="connsiteX3" fmla="*/ 3121653 w 3345917"/>
                <a:gd name="connsiteY3" fmla="*/ 828210 h 927483"/>
                <a:gd name="connsiteX4" fmla="*/ 2985604 w 3345917"/>
                <a:gd name="connsiteY4" fmla="*/ 868303 h 927483"/>
                <a:gd name="connsiteX5" fmla="*/ 2879204 w 3345917"/>
                <a:gd name="connsiteY5" fmla="*/ 839646 h 927483"/>
                <a:gd name="connsiteX6" fmla="*/ 2835923 w 3345917"/>
                <a:gd name="connsiteY6" fmla="*/ 843700 h 927483"/>
                <a:gd name="connsiteX7" fmla="*/ 2739469 w 3345917"/>
                <a:gd name="connsiteY7" fmla="*/ 927120 h 927483"/>
                <a:gd name="connsiteX8" fmla="*/ 2619450 w 3345917"/>
                <a:gd name="connsiteY8" fmla="*/ 871871 h 927483"/>
                <a:gd name="connsiteX9" fmla="*/ 2642336 w 3345917"/>
                <a:gd name="connsiteY9" fmla="*/ 819913 h 927483"/>
                <a:gd name="connsiteX10" fmla="*/ 2595048 w 3345917"/>
                <a:gd name="connsiteY10" fmla="*/ 777751 h 927483"/>
                <a:gd name="connsiteX11" fmla="*/ 2558592 w 3345917"/>
                <a:gd name="connsiteY11" fmla="*/ 733837 h 927483"/>
                <a:gd name="connsiteX12" fmla="*/ 2496544 w 3345917"/>
                <a:gd name="connsiteY12" fmla="*/ 693058 h 927483"/>
                <a:gd name="connsiteX13" fmla="*/ 2421123 w 3345917"/>
                <a:gd name="connsiteY13" fmla="*/ 659672 h 927483"/>
                <a:gd name="connsiteX14" fmla="*/ 2259379 w 3345917"/>
                <a:gd name="connsiteY14" fmla="*/ 632500 h 927483"/>
                <a:gd name="connsiteX15" fmla="*/ 2159226 w 3345917"/>
                <a:gd name="connsiteY15" fmla="*/ 619296 h 927483"/>
                <a:gd name="connsiteX16" fmla="*/ 2112645 w 3345917"/>
                <a:gd name="connsiteY16" fmla="*/ 639065 h 927483"/>
                <a:gd name="connsiteX17" fmla="*/ 1964368 w 3345917"/>
                <a:gd name="connsiteY17" fmla="*/ 679260 h 927483"/>
                <a:gd name="connsiteX18" fmla="*/ 1841450 w 3345917"/>
                <a:gd name="connsiteY18" fmla="*/ 702458 h 927483"/>
                <a:gd name="connsiteX19" fmla="*/ 1708106 w 3345917"/>
                <a:gd name="connsiteY19" fmla="*/ 700219 h 927483"/>
                <a:gd name="connsiteX20" fmla="*/ 1524458 w 3345917"/>
                <a:gd name="connsiteY20" fmla="*/ 684875 h 927483"/>
                <a:gd name="connsiteX21" fmla="*/ 1376197 w 3345917"/>
                <a:gd name="connsiteY21" fmla="*/ 658642 h 927483"/>
                <a:gd name="connsiteX22" fmla="*/ 1320246 w 3345917"/>
                <a:gd name="connsiteY22" fmla="*/ 617113 h 927483"/>
                <a:gd name="connsiteX23" fmla="*/ 1237591 w 3345917"/>
                <a:gd name="connsiteY23" fmla="*/ 530325 h 927483"/>
                <a:gd name="connsiteX24" fmla="*/ 1166966 w 3345917"/>
                <a:gd name="connsiteY24" fmla="*/ 461196 h 927483"/>
                <a:gd name="connsiteX25" fmla="*/ 1083618 w 3345917"/>
                <a:gd name="connsiteY25" fmla="*/ 423024 h 927483"/>
                <a:gd name="connsiteX26" fmla="*/ 952350 w 3345917"/>
                <a:gd name="connsiteY26" fmla="*/ 400364 h 927483"/>
                <a:gd name="connsiteX27" fmla="*/ 831914 w 3345917"/>
                <a:gd name="connsiteY27" fmla="*/ 363673 h 927483"/>
                <a:gd name="connsiteX28" fmla="*/ 631117 w 3345917"/>
                <a:gd name="connsiteY28" fmla="*/ 278548 h 927483"/>
                <a:gd name="connsiteX29" fmla="*/ 437036 w 3345917"/>
                <a:gd name="connsiteY29" fmla="*/ 191013 h 927483"/>
                <a:gd name="connsiteX30" fmla="*/ 255802 w 3345917"/>
                <a:gd name="connsiteY30" fmla="*/ 75796 h 927483"/>
                <a:gd name="connsiteX31" fmla="*/ 0 w 3345917"/>
                <a:gd name="connsiteY31" fmla="*/ 0 h 927483"/>
                <a:gd name="connsiteX0" fmla="*/ 3345917 w 3345917"/>
                <a:gd name="connsiteY0" fmla="*/ 848583 h 927483"/>
                <a:gd name="connsiteX1" fmla="*/ 3263726 w 3345917"/>
                <a:gd name="connsiteY1" fmla="*/ 814648 h 927483"/>
                <a:gd name="connsiteX2" fmla="*/ 3205443 w 3345917"/>
                <a:gd name="connsiteY2" fmla="*/ 800284 h 927483"/>
                <a:gd name="connsiteX3" fmla="*/ 3121653 w 3345917"/>
                <a:gd name="connsiteY3" fmla="*/ 828210 h 927483"/>
                <a:gd name="connsiteX4" fmla="*/ 2985604 w 3345917"/>
                <a:gd name="connsiteY4" fmla="*/ 868303 h 927483"/>
                <a:gd name="connsiteX5" fmla="*/ 2879204 w 3345917"/>
                <a:gd name="connsiteY5" fmla="*/ 839646 h 927483"/>
                <a:gd name="connsiteX6" fmla="*/ 2835923 w 3345917"/>
                <a:gd name="connsiteY6" fmla="*/ 843700 h 927483"/>
                <a:gd name="connsiteX7" fmla="*/ 2739469 w 3345917"/>
                <a:gd name="connsiteY7" fmla="*/ 927120 h 927483"/>
                <a:gd name="connsiteX8" fmla="*/ 2619450 w 3345917"/>
                <a:gd name="connsiteY8" fmla="*/ 871871 h 927483"/>
                <a:gd name="connsiteX9" fmla="*/ 2642336 w 3345917"/>
                <a:gd name="connsiteY9" fmla="*/ 819913 h 927483"/>
                <a:gd name="connsiteX10" fmla="*/ 2595048 w 3345917"/>
                <a:gd name="connsiteY10" fmla="*/ 777751 h 927483"/>
                <a:gd name="connsiteX11" fmla="*/ 2558592 w 3345917"/>
                <a:gd name="connsiteY11" fmla="*/ 733837 h 927483"/>
                <a:gd name="connsiteX12" fmla="*/ 2496544 w 3345917"/>
                <a:gd name="connsiteY12" fmla="*/ 693058 h 927483"/>
                <a:gd name="connsiteX13" fmla="*/ 2421123 w 3345917"/>
                <a:gd name="connsiteY13" fmla="*/ 659672 h 927483"/>
                <a:gd name="connsiteX14" fmla="*/ 2259379 w 3345917"/>
                <a:gd name="connsiteY14" fmla="*/ 632500 h 927483"/>
                <a:gd name="connsiteX15" fmla="*/ 2159226 w 3345917"/>
                <a:gd name="connsiteY15" fmla="*/ 619296 h 927483"/>
                <a:gd name="connsiteX16" fmla="*/ 2112645 w 3345917"/>
                <a:gd name="connsiteY16" fmla="*/ 639065 h 927483"/>
                <a:gd name="connsiteX17" fmla="*/ 1981534 w 3345917"/>
                <a:gd name="connsiteY17" fmla="*/ 689167 h 927483"/>
                <a:gd name="connsiteX18" fmla="*/ 1841450 w 3345917"/>
                <a:gd name="connsiteY18" fmla="*/ 702458 h 927483"/>
                <a:gd name="connsiteX19" fmla="*/ 1708106 w 3345917"/>
                <a:gd name="connsiteY19" fmla="*/ 700219 h 927483"/>
                <a:gd name="connsiteX20" fmla="*/ 1524458 w 3345917"/>
                <a:gd name="connsiteY20" fmla="*/ 684875 h 927483"/>
                <a:gd name="connsiteX21" fmla="*/ 1376197 w 3345917"/>
                <a:gd name="connsiteY21" fmla="*/ 658642 h 927483"/>
                <a:gd name="connsiteX22" fmla="*/ 1320246 w 3345917"/>
                <a:gd name="connsiteY22" fmla="*/ 617113 h 927483"/>
                <a:gd name="connsiteX23" fmla="*/ 1237591 w 3345917"/>
                <a:gd name="connsiteY23" fmla="*/ 530325 h 927483"/>
                <a:gd name="connsiteX24" fmla="*/ 1166966 w 3345917"/>
                <a:gd name="connsiteY24" fmla="*/ 461196 h 927483"/>
                <a:gd name="connsiteX25" fmla="*/ 1083618 w 3345917"/>
                <a:gd name="connsiteY25" fmla="*/ 423024 h 927483"/>
                <a:gd name="connsiteX26" fmla="*/ 952350 w 3345917"/>
                <a:gd name="connsiteY26" fmla="*/ 400364 h 927483"/>
                <a:gd name="connsiteX27" fmla="*/ 831914 w 3345917"/>
                <a:gd name="connsiteY27" fmla="*/ 363673 h 927483"/>
                <a:gd name="connsiteX28" fmla="*/ 631117 w 3345917"/>
                <a:gd name="connsiteY28" fmla="*/ 278548 h 927483"/>
                <a:gd name="connsiteX29" fmla="*/ 437036 w 3345917"/>
                <a:gd name="connsiteY29" fmla="*/ 191013 h 927483"/>
                <a:gd name="connsiteX30" fmla="*/ 255802 w 3345917"/>
                <a:gd name="connsiteY30" fmla="*/ 75796 h 927483"/>
                <a:gd name="connsiteX31" fmla="*/ 0 w 3345917"/>
                <a:gd name="connsiteY31" fmla="*/ 0 h 927483"/>
                <a:gd name="connsiteX0" fmla="*/ 3345917 w 3345917"/>
                <a:gd name="connsiteY0" fmla="*/ 848583 h 927483"/>
                <a:gd name="connsiteX1" fmla="*/ 3263726 w 3345917"/>
                <a:gd name="connsiteY1" fmla="*/ 814648 h 927483"/>
                <a:gd name="connsiteX2" fmla="*/ 3205443 w 3345917"/>
                <a:gd name="connsiteY2" fmla="*/ 800284 h 927483"/>
                <a:gd name="connsiteX3" fmla="*/ 3121653 w 3345917"/>
                <a:gd name="connsiteY3" fmla="*/ 828210 h 927483"/>
                <a:gd name="connsiteX4" fmla="*/ 2985604 w 3345917"/>
                <a:gd name="connsiteY4" fmla="*/ 868303 h 927483"/>
                <a:gd name="connsiteX5" fmla="*/ 2879204 w 3345917"/>
                <a:gd name="connsiteY5" fmla="*/ 839646 h 927483"/>
                <a:gd name="connsiteX6" fmla="*/ 2835923 w 3345917"/>
                <a:gd name="connsiteY6" fmla="*/ 843700 h 927483"/>
                <a:gd name="connsiteX7" fmla="*/ 2739469 w 3345917"/>
                <a:gd name="connsiteY7" fmla="*/ 927120 h 927483"/>
                <a:gd name="connsiteX8" fmla="*/ 2619450 w 3345917"/>
                <a:gd name="connsiteY8" fmla="*/ 871871 h 927483"/>
                <a:gd name="connsiteX9" fmla="*/ 2642336 w 3345917"/>
                <a:gd name="connsiteY9" fmla="*/ 819913 h 927483"/>
                <a:gd name="connsiteX10" fmla="*/ 2595048 w 3345917"/>
                <a:gd name="connsiteY10" fmla="*/ 777751 h 927483"/>
                <a:gd name="connsiteX11" fmla="*/ 2558592 w 3345917"/>
                <a:gd name="connsiteY11" fmla="*/ 733837 h 927483"/>
                <a:gd name="connsiteX12" fmla="*/ 2496544 w 3345917"/>
                <a:gd name="connsiteY12" fmla="*/ 693058 h 927483"/>
                <a:gd name="connsiteX13" fmla="*/ 2421123 w 3345917"/>
                <a:gd name="connsiteY13" fmla="*/ 659672 h 927483"/>
                <a:gd name="connsiteX14" fmla="*/ 2259379 w 3345917"/>
                <a:gd name="connsiteY14" fmla="*/ 632500 h 927483"/>
                <a:gd name="connsiteX15" fmla="*/ 2159226 w 3345917"/>
                <a:gd name="connsiteY15" fmla="*/ 619296 h 927483"/>
                <a:gd name="connsiteX16" fmla="*/ 2112645 w 3345917"/>
                <a:gd name="connsiteY16" fmla="*/ 639065 h 927483"/>
                <a:gd name="connsiteX17" fmla="*/ 1981534 w 3345917"/>
                <a:gd name="connsiteY17" fmla="*/ 689167 h 927483"/>
                <a:gd name="connsiteX18" fmla="*/ 1858617 w 3345917"/>
                <a:gd name="connsiteY18" fmla="*/ 705761 h 927483"/>
                <a:gd name="connsiteX19" fmla="*/ 1708106 w 3345917"/>
                <a:gd name="connsiteY19" fmla="*/ 700219 h 927483"/>
                <a:gd name="connsiteX20" fmla="*/ 1524458 w 3345917"/>
                <a:gd name="connsiteY20" fmla="*/ 684875 h 927483"/>
                <a:gd name="connsiteX21" fmla="*/ 1376197 w 3345917"/>
                <a:gd name="connsiteY21" fmla="*/ 658642 h 927483"/>
                <a:gd name="connsiteX22" fmla="*/ 1320246 w 3345917"/>
                <a:gd name="connsiteY22" fmla="*/ 617113 h 927483"/>
                <a:gd name="connsiteX23" fmla="*/ 1237591 w 3345917"/>
                <a:gd name="connsiteY23" fmla="*/ 530325 h 927483"/>
                <a:gd name="connsiteX24" fmla="*/ 1166966 w 3345917"/>
                <a:gd name="connsiteY24" fmla="*/ 461196 h 927483"/>
                <a:gd name="connsiteX25" fmla="*/ 1083618 w 3345917"/>
                <a:gd name="connsiteY25" fmla="*/ 423024 h 927483"/>
                <a:gd name="connsiteX26" fmla="*/ 952350 w 3345917"/>
                <a:gd name="connsiteY26" fmla="*/ 400364 h 927483"/>
                <a:gd name="connsiteX27" fmla="*/ 831914 w 3345917"/>
                <a:gd name="connsiteY27" fmla="*/ 363673 h 927483"/>
                <a:gd name="connsiteX28" fmla="*/ 631117 w 3345917"/>
                <a:gd name="connsiteY28" fmla="*/ 278548 h 927483"/>
                <a:gd name="connsiteX29" fmla="*/ 437036 w 3345917"/>
                <a:gd name="connsiteY29" fmla="*/ 191013 h 927483"/>
                <a:gd name="connsiteX30" fmla="*/ 255802 w 3345917"/>
                <a:gd name="connsiteY30" fmla="*/ 75796 h 927483"/>
                <a:gd name="connsiteX31" fmla="*/ 0 w 3345917"/>
                <a:gd name="connsiteY31" fmla="*/ 0 h 927483"/>
                <a:gd name="connsiteX0" fmla="*/ 3345917 w 3345917"/>
                <a:gd name="connsiteY0" fmla="*/ 848583 h 927483"/>
                <a:gd name="connsiteX1" fmla="*/ 3263726 w 3345917"/>
                <a:gd name="connsiteY1" fmla="*/ 814648 h 927483"/>
                <a:gd name="connsiteX2" fmla="*/ 3205443 w 3345917"/>
                <a:gd name="connsiteY2" fmla="*/ 800284 h 927483"/>
                <a:gd name="connsiteX3" fmla="*/ 3121653 w 3345917"/>
                <a:gd name="connsiteY3" fmla="*/ 828210 h 927483"/>
                <a:gd name="connsiteX4" fmla="*/ 2985604 w 3345917"/>
                <a:gd name="connsiteY4" fmla="*/ 868303 h 927483"/>
                <a:gd name="connsiteX5" fmla="*/ 2879204 w 3345917"/>
                <a:gd name="connsiteY5" fmla="*/ 839646 h 927483"/>
                <a:gd name="connsiteX6" fmla="*/ 2835923 w 3345917"/>
                <a:gd name="connsiteY6" fmla="*/ 843700 h 927483"/>
                <a:gd name="connsiteX7" fmla="*/ 2739469 w 3345917"/>
                <a:gd name="connsiteY7" fmla="*/ 927120 h 927483"/>
                <a:gd name="connsiteX8" fmla="*/ 2619450 w 3345917"/>
                <a:gd name="connsiteY8" fmla="*/ 871871 h 927483"/>
                <a:gd name="connsiteX9" fmla="*/ 2642336 w 3345917"/>
                <a:gd name="connsiteY9" fmla="*/ 819913 h 927483"/>
                <a:gd name="connsiteX10" fmla="*/ 2595048 w 3345917"/>
                <a:gd name="connsiteY10" fmla="*/ 777751 h 927483"/>
                <a:gd name="connsiteX11" fmla="*/ 2558592 w 3345917"/>
                <a:gd name="connsiteY11" fmla="*/ 733837 h 927483"/>
                <a:gd name="connsiteX12" fmla="*/ 2496544 w 3345917"/>
                <a:gd name="connsiteY12" fmla="*/ 693058 h 927483"/>
                <a:gd name="connsiteX13" fmla="*/ 2421123 w 3345917"/>
                <a:gd name="connsiteY13" fmla="*/ 659672 h 927483"/>
                <a:gd name="connsiteX14" fmla="*/ 2259379 w 3345917"/>
                <a:gd name="connsiteY14" fmla="*/ 632500 h 927483"/>
                <a:gd name="connsiteX15" fmla="*/ 2159226 w 3345917"/>
                <a:gd name="connsiteY15" fmla="*/ 619296 h 927483"/>
                <a:gd name="connsiteX16" fmla="*/ 2112645 w 3345917"/>
                <a:gd name="connsiteY16" fmla="*/ 658879 h 927483"/>
                <a:gd name="connsiteX17" fmla="*/ 1981534 w 3345917"/>
                <a:gd name="connsiteY17" fmla="*/ 689167 h 927483"/>
                <a:gd name="connsiteX18" fmla="*/ 1858617 w 3345917"/>
                <a:gd name="connsiteY18" fmla="*/ 705761 h 927483"/>
                <a:gd name="connsiteX19" fmla="*/ 1708106 w 3345917"/>
                <a:gd name="connsiteY19" fmla="*/ 700219 h 927483"/>
                <a:gd name="connsiteX20" fmla="*/ 1524458 w 3345917"/>
                <a:gd name="connsiteY20" fmla="*/ 684875 h 927483"/>
                <a:gd name="connsiteX21" fmla="*/ 1376197 w 3345917"/>
                <a:gd name="connsiteY21" fmla="*/ 658642 h 927483"/>
                <a:gd name="connsiteX22" fmla="*/ 1320246 w 3345917"/>
                <a:gd name="connsiteY22" fmla="*/ 617113 h 927483"/>
                <a:gd name="connsiteX23" fmla="*/ 1237591 w 3345917"/>
                <a:gd name="connsiteY23" fmla="*/ 530325 h 927483"/>
                <a:gd name="connsiteX24" fmla="*/ 1166966 w 3345917"/>
                <a:gd name="connsiteY24" fmla="*/ 461196 h 927483"/>
                <a:gd name="connsiteX25" fmla="*/ 1083618 w 3345917"/>
                <a:gd name="connsiteY25" fmla="*/ 423024 h 927483"/>
                <a:gd name="connsiteX26" fmla="*/ 952350 w 3345917"/>
                <a:gd name="connsiteY26" fmla="*/ 400364 h 927483"/>
                <a:gd name="connsiteX27" fmla="*/ 831914 w 3345917"/>
                <a:gd name="connsiteY27" fmla="*/ 363673 h 927483"/>
                <a:gd name="connsiteX28" fmla="*/ 631117 w 3345917"/>
                <a:gd name="connsiteY28" fmla="*/ 278548 h 927483"/>
                <a:gd name="connsiteX29" fmla="*/ 437036 w 3345917"/>
                <a:gd name="connsiteY29" fmla="*/ 191013 h 927483"/>
                <a:gd name="connsiteX30" fmla="*/ 255802 w 3345917"/>
                <a:gd name="connsiteY30" fmla="*/ 75796 h 927483"/>
                <a:gd name="connsiteX31" fmla="*/ 0 w 3345917"/>
                <a:gd name="connsiteY31" fmla="*/ 0 h 927483"/>
                <a:gd name="connsiteX0" fmla="*/ 3345917 w 3345917"/>
                <a:gd name="connsiteY0" fmla="*/ 848583 h 927483"/>
                <a:gd name="connsiteX1" fmla="*/ 3263726 w 3345917"/>
                <a:gd name="connsiteY1" fmla="*/ 814648 h 927483"/>
                <a:gd name="connsiteX2" fmla="*/ 3205443 w 3345917"/>
                <a:gd name="connsiteY2" fmla="*/ 800284 h 927483"/>
                <a:gd name="connsiteX3" fmla="*/ 3121653 w 3345917"/>
                <a:gd name="connsiteY3" fmla="*/ 828210 h 927483"/>
                <a:gd name="connsiteX4" fmla="*/ 2985604 w 3345917"/>
                <a:gd name="connsiteY4" fmla="*/ 868303 h 927483"/>
                <a:gd name="connsiteX5" fmla="*/ 2879204 w 3345917"/>
                <a:gd name="connsiteY5" fmla="*/ 839646 h 927483"/>
                <a:gd name="connsiteX6" fmla="*/ 2835923 w 3345917"/>
                <a:gd name="connsiteY6" fmla="*/ 843700 h 927483"/>
                <a:gd name="connsiteX7" fmla="*/ 2739469 w 3345917"/>
                <a:gd name="connsiteY7" fmla="*/ 927120 h 927483"/>
                <a:gd name="connsiteX8" fmla="*/ 2619450 w 3345917"/>
                <a:gd name="connsiteY8" fmla="*/ 871871 h 927483"/>
                <a:gd name="connsiteX9" fmla="*/ 2642336 w 3345917"/>
                <a:gd name="connsiteY9" fmla="*/ 819913 h 927483"/>
                <a:gd name="connsiteX10" fmla="*/ 2595048 w 3345917"/>
                <a:gd name="connsiteY10" fmla="*/ 777751 h 927483"/>
                <a:gd name="connsiteX11" fmla="*/ 2558592 w 3345917"/>
                <a:gd name="connsiteY11" fmla="*/ 733837 h 927483"/>
                <a:gd name="connsiteX12" fmla="*/ 2496544 w 3345917"/>
                <a:gd name="connsiteY12" fmla="*/ 693058 h 927483"/>
                <a:gd name="connsiteX13" fmla="*/ 2421123 w 3345917"/>
                <a:gd name="connsiteY13" fmla="*/ 659672 h 927483"/>
                <a:gd name="connsiteX14" fmla="*/ 2259379 w 3345917"/>
                <a:gd name="connsiteY14" fmla="*/ 632500 h 927483"/>
                <a:gd name="connsiteX15" fmla="*/ 2166092 w 3345917"/>
                <a:gd name="connsiteY15" fmla="*/ 632506 h 927483"/>
                <a:gd name="connsiteX16" fmla="*/ 2112645 w 3345917"/>
                <a:gd name="connsiteY16" fmla="*/ 658879 h 927483"/>
                <a:gd name="connsiteX17" fmla="*/ 1981534 w 3345917"/>
                <a:gd name="connsiteY17" fmla="*/ 689167 h 927483"/>
                <a:gd name="connsiteX18" fmla="*/ 1858617 w 3345917"/>
                <a:gd name="connsiteY18" fmla="*/ 705761 h 927483"/>
                <a:gd name="connsiteX19" fmla="*/ 1708106 w 3345917"/>
                <a:gd name="connsiteY19" fmla="*/ 700219 h 927483"/>
                <a:gd name="connsiteX20" fmla="*/ 1524458 w 3345917"/>
                <a:gd name="connsiteY20" fmla="*/ 684875 h 927483"/>
                <a:gd name="connsiteX21" fmla="*/ 1376197 w 3345917"/>
                <a:gd name="connsiteY21" fmla="*/ 658642 h 927483"/>
                <a:gd name="connsiteX22" fmla="*/ 1320246 w 3345917"/>
                <a:gd name="connsiteY22" fmla="*/ 617113 h 927483"/>
                <a:gd name="connsiteX23" fmla="*/ 1237591 w 3345917"/>
                <a:gd name="connsiteY23" fmla="*/ 530325 h 927483"/>
                <a:gd name="connsiteX24" fmla="*/ 1166966 w 3345917"/>
                <a:gd name="connsiteY24" fmla="*/ 461196 h 927483"/>
                <a:gd name="connsiteX25" fmla="*/ 1083618 w 3345917"/>
                <a:gd name="connsiteY25" fmla="*/ 423024 h 927483"/>
                <a:gd name="connsiteX26" fmla="*/ 952350 w 3345917"/>
                <a:gd name="connsiteY26" fmla="*/ 400364 h 927483"/>
                <a:gd name="connsiteX27" fmla="*/ 831914 w 3345917"/>
                <a:gd name="connsiteY27" fmla="*/ 363673 h 927483"/>
                <a:gd name="connsiteX28" fmla="*/ 631117 w 3345917"/>
                <a:gd name="connsiteY28" fmla="*/ 278548 h 927483"/>
                <a:gd name="connsiteX29" fmla="*/ 437036 w 3345917"/>
                <a:gd name="connsiteY29" fmla="*/ 191013 h 927483"/>
                <a:gd name="connsiteX30" fmla="*/ 255802 w 3345917"/>
                <a:gd name="connsiteY30" fmla="*/ 75796 h 927483"/>
                <a:gd name="connsiteX31" fmla="*/ 0 w 3345917"/>
                <a:gd name="connsiteY31" fmla="*/ 0 h 927483"/>
                <a:gd name="connsiteX0" fmla="*/ 3345917 w 3345917"/>
                <a:gd name="connsiteY0" fmla="*/ 848583 h 927483"/>
                <a:gd name="connsiteX1" fmla="*/ 3263726 w 3345917"/>
                <a:gd name="connsiteY1" fmla="*/ 814648 h 927483"/>
                <a:gd name="connsiteX2" fmla="*/ 3205443 w 3345917"/>
                <a:gd name="connsiteY2" fmla="*/ 800284 h 927483"/>
                <a:gd name="connsiteX3" fmla="*/ 3121653 w 3345917"/>
                <a:gd name="connsiteY3" fmla="*/ 828210 h 927483"/>
                <a:gd name="connsiteX4" fmla="*/ 2985604 w 3345917"/>
                <a:gd name="connsiteY4" fmla="*/ 868303 h 927483"/>
                <a:gd name="connsiteX5" fmla="*/ 2879204 w 3345917"/>
                <a:gd name="connsiteY5" fmla="*/ 839646 h 927483"/>
                <a:gd name="connsiteX6" fmla="*/ 2835923 w 3345917"/>
                <a:gd name="connsiteY6" fmla="*/ 843700 h 927483"/>
                <a:gd name="connsiteX7" fmla="*/ 2739469 w 3345917"/>
                <a:gd name="connsiteY7" fmla="*/ 927120 h 927483"/>
                <a:gd name="connsiteX8" fmla="*/ 2619450 w 3345917"/>
                <a:gd name="connsiteY8" fmla="*/ 871871 h 927483"/>
                <a:gd name="connsiteX9" fmla="*/ 2642336 w 3345917"/>
                <a:gd name="connsiteY9" fmla="*/ 819913 h 927483"/>
                <a:gd name="connsiteX10" fmla="*/ 2595048 w 3345917"/>
                <a:gd name="connsiteY10" fmla="*/ 777751 h 927483"/>
                <a:gd name="connsiteX11" fmla="*/ 2558592 w 3345917"/>
                <a:gd name="connsiteY11" fmla="*/ 733837 h 927483"/>
                <a:gd name="connsiteX12" fmla="*/ 2496544 w 3345917"/>
                <a:gd name="connsiteY12" fmla="*/ 693058 h 927483"/>
                <a:gd name="connsiteX13" fmla="*/ 2421123 w 3345917"/>
                <a:gd name="connsiteY13" fmla="*/ 659672 h 927483"/>
                <a:gd name="connsiteX14" fmla="*/ 2259379 w 3345917"/>
                <a:gd name="connsiteY14" fmla="*/ 632500 h 927483"/>
                <a:gd name="connsiteX15" fmla="*/ 2179825 w 3345917"/>
                <a:gd name="connsiteY15" fmla="*/ 632506 h 927483"/>
                <a:gd name="connsiteX16" fmla="*/ 2112645 w 3345917"/>
                <a:gd name="connsiteY16" fmla="*/ 658879 h 927483"/>
                <a:gd name="connsiteX17" fmla="*/ 1981534 w 3345917"/>
                <a:gd name="connsiteY17" fmla="*/ 689167 h 927483"/>
                <a:gd name="connsiteX18" fmla="*/ 1858617 w 3345917"/>
                <a:gd name="connsiteY18" fmla="*/ 705761 h 927483"/>
                <a:gd name="connsiteX19" fmla="*/ 1708106 w 3345917"/>
                <a:gd name="connsiteY19" fmla="*/ 700219 h 927483"/>
                <a:gd name="connsiteX20" fmla="*/ 1524458 w 3345917"/>
                <a:gd name="connsiteY20" fmla="*/ 684875 h 927483"/>
                <a:gd name="connsiteX21" fmla="*/ 1376197 w 3345917"/>
                <a:gd name="connsiteY21" fmla="*/ 658642 h 927483"/>
                <a:gd name="connsiteX22" fmla="*/ 1320246 w 3345917"/>
                <a:gd name="connsiteY22" fmla="*/ 617113 h 927483"/>
                <a:gd name="connsiteX23" fmla="*/ 1237591 w 3345917"/>
                <a:gd name="connsiteY23" fmla="*/ 530325 h 927483"/>
                <a:gd name="connsiteX24" fmla="*/ 1166966 w 3345917"/>
                <a:gd name="connsiteY24" fmla="*/ 461196 h 927483"/>
                <a:gd name="connsiteX25" fmla="*/ 1083618 w 3345917"/>
                <a:gd name="connsiteY25" fmla="*/ 423024 h 927483"/>
                <a:gd name="connsiteX26" fmla="*/ 952350 w 3345917"/>
                <a:gd name="connsiteY26" fmla="*/ 400364 h 927483"/>
                <a:gd name="connsiteX27" fmla="*/ 831914 w 3345917"/>
                <a:gd name="connsiteY27" fmla="*/ 363673 h 927483"/>
                <a:gd name="connsiteX28" fmla="*/ 631117 w 3345917"/>
                <a:gd name="connsiteY28" fmla="*/ 278548 h 927483"/>
                <a:gd name="connsiteX29" fmla="*/ 437036 w 3345917"/>
                <a:gd name="connsiteY29" fmla="*/ 191013 h 927483"/>
                <a:gd name="connsiteX30" fmla="*/ 255802 w 3345917"/>
                <a:gd name="connsiteY30" fmla="*/ 75796 h 927483"/>
                <a:gd name="connsiteX31" fmla="*/ 0 w 3345917"/>
                <a:gd name="connsiteY31" fmla="*/ 0 h 927483"/>
                <a:gd name="connsiteX0" fmla="*/ 3345917 w 3345917"/>
                <a:gd name="connsiteY0" fmla="*/ 848583 h 927483"/>
                <a:gd name="connsiteX1" fmla="*/ 3263726 w 3345917"/>
                <a:gd name="connsiteY1" fmla="*/ 814648 h 927483"/>
                <a:gd name="connsiteX2" fmla="*/ 3205443 w 3345917"/>
                <a:gd name="connsiteY2" fmla="*/ 800284 h 927483"/>
                <a:gd name="connsiteX3" fmla="*/ 3121653 w 3345917"/>
                <a:gd name="connsiteY3" fmla="*/ 828210 h 927483"/>
                <a:gd name="connsiteX4" fmla="*/ 2985604 w 3345917"/>
                <a:gd name="connsiteY4" fmla="*/ 868303 h 927483"/>
                <a:gd name="connsiteX5" fmla="*/ 2879204 w 3345917"/>
                <a:gd name="connsiteY5" fmla="*/ 839646 h 927483"/>
                <a:gd name="connsiteX6" fmla="*/ 2835923 w 3345917"/>
                <a:gd name="connsiteY6" fmla="*/ 843700 h 927483"/>
                <a:gd name="connsiteX7" fmla="*/ 2739469 w 3345917"/>
                <a:gd name="connsiteY7" fmla="*/ 927120 h 927483"/>
                <a:gd name="connsiteX8" fmla="*/ 2619450 w 3345917"/>
                <a:gd name="connsiteY8" fmla="*/ 871871 h 927483"/>
                <a:gd name="connsiteX9" fmla="*/ 2642336 w 3345917"/>
                <a:gd name="connsiteY9" fmla="*/ 819913 h 927483"/>
                <a:gd name="connsiteX10" fmla="*/ 2595048 w 3345917"/>
                <a:gd name="connsiteY10" fmla="*/ 777751 h 927483"/>
                <a:gd name="connsiteX11" fmla="*/ 2558592 w 3345917"/>
                <a:gd name="connsiteY11" fmla="*/ 733837 h 927483"/>
                <a:gd name="connsiteX12" fmla="*/ 2496544 w 3345917"/>
                <a:gd name="connsiteY12" fmla="*/ 693058 h 927483"/>
                <a:gd name="connsiteX13" fmla="*/ 2421123 w 3345917"/>
                <a:gd name="connsiteY13" fmla="*/ 659672 h 927483"/>
                <a:gd name="connsiteX14" fmla="*/ 2259379 w 3345917"/>
                <a:gd name="connsiteY14" fmla="*/ 642407 h 927483"/>
                <a:gd name="connsiteX15" fmla="*/ 2179825 w 3345917"/>
                <a:gd name="connsiteY15" fmla="*/ 632506 h 927483"/>
                <a:gd name="connsiteX16" fmla="*/ 2112645 w 3345917"/>
                <a:gd name="connsiteY16" fmla="*/ 658879 h 927483"/>
                <a:gd name="connsiteX17" fmla="*/ 1981534 w 3345917"/>
                <a:gd name="connsiteY17" fmla="*/ 689167 h 927483"/>
                <a:gd name="connsiteX18" fmla="*/ 1858617 w 3345917"/>
                <a:gd name="connsiteY18" fmla="*/ 705761 h 927483"/>
                <a:gd name="connsiteX19" fmla="*/ 1708106 w 3345917"/>
                <a:gd name="connsiteY19" fmla="*/ 700219 h 927483"/>
                <a:gd name="connsiteX20" fmla="*/ 1524458 w 3345917"/>
                <a:gd name="connsiteY20" fmla="*/ 684875 h 927483"/>
                <a:gd name="connsiteX21" fmla="*/ 1376197 w 3345917"/>
                <a:gd name="connsiteY21" fmla="*/ 658642 h 927483"/>
                <a:gd name="connsiteX22" fmla="*/ 1320246 w 3345917"/>
                <a:gd name="connsiteY22" fmla="*/ 617113 h 927483"/>
                <a:gd name="connsiteX23" fmla="*/ 1237591 w 3345917"/>
                <a:gd name="connsiteY23" fmla="*/ 530325 h 927483"/>
                <a:gd name="connsiteX24" fmla="*/ 1166966 w 3345917"/>
                <a:gd name="connsiteY24" fmla="*/ 461196 h 927483"/>
                <a:gd name="connsiteX25" fmla="*/ 1083618 w 3345917"/>
                <a:gd name="connsiteY25" fmla="*/ 423024 h 927483"/>
                <a:gd name="connsiteX26" fmla="*/ 952350 w 3345917"/>
                <a:gd name="connsiteY26" fmla="*/ 400364 h 927483"/>
                <a:gd name="connsiteX27" fmla="*/ 831914 w 3345917"/>
                <a:gd name="connsiteY27" fmla="*/ 363673 h 927483"/>
                <a:gd name="connsiteX28" fmla="*/ 631117 w 3345917"/>
                <a:gd name="connsiteY28" fmla="*/ 278548 h 927483"/>
                <a:gd name="connsiteX29" fmla="*/ 437036 w 3345917"/>
                <a:gd name="connsiteY29" fmla="*/ 191013 h 927483"/>
                <a:gd name="connsiteX30" fmla="*/ 255802 w 3345917"/>
                <a:gd name="connsiteY30" fmla="*/ 75796 h 927483"/>
                <a:gd name="connsiteX31" fmla="*/ 0 w 3345917"/>
                <a:gd name="connsiteY31" fmla="*/ 0 h 927483"/>
                <a:gd name="connsiteX0" fmla="*/ 3345917 w 3345917"/>
                <a:gd name="connsiteY0" fmla="*/ 848583 h 927483"/>
                <a:gd name="connsiteX1" fmla="*/ 3263726 w 3345917"/>
                <a:gd name="connsiteY1" fmla="*/ 814648 h 927483"/>
                <a:gd name="connsiteX2" fmla="*/ 3205443 w 3345917"/>
                <a:gd name="connsiteY2" fmla="*/ 800284 h 927483"/>
                <a:gd name="connsiteX3" fmla="*/ 3121653 w 3345917"/>
                <a:gd name="connsiteY3" fmla="*/ 828210 h 927483"/>
                <a:gd name="connsiteX4" fmla="*/ 2985604 w 3345917"/>
                <a:gd name="connsiteY4" fmla="*/ 868303 h 927483"/>
                <a:gd name="connsiteX5" fmla="*/ 2879204 w 3345917"/>
                <a:gd name="connsiteY5" fmla="*/ 839646 h 927483"/>
                <a:gd name="connsiteX6" fmla="*/ 2835923 w 3345917"/>
                <a:gd name="connsiteY6" fmla="*/ 843700 h 927483"/>
                <a:gd name="connsiteX7" fmla="*/ 2739469 w 3345917"/>
                <a:gd name="connsiteY7" fmla="*/ 927120 h 927483"/>
                <a:gd name="connsiteX8" fmla="*/ 2619450 w 3345917"/>
                <a:gd name="connsiteY8" fmla="*/ 871871 h 927483"/>
                <a:gd name="connsiteX9" fmla="*/ 2642336 w 3345917"/>
                <a:gd name="connsiteY9" fmla="*/ 819913 h 927483"/>
                <a:gd name="connsiteX10" fmla="*/ 2595048 w 3345917"/>
                <a:gd name="connsiteY10" fmla="*/ 777751 h 927483"/>
                <a:gd name="connsiteX11" fmla="*/ 2558592 w 3345917"/>
                <a:gd name="connsiteY11" fmla="*/ 733837 h 927483"/>
                <a:gd name="connsiteX12" fmla="*/ 2496544 w 3345917"/>
                <a:gd name="connsiteY12" fmla="*/ 693058 h 927483"/>
                <a:gd name="connsiteX13" fmla="*/ 2410824 w 3345917"/>
                <a:gd name="connsiteY13" fmla="*/ 666277 h 927483"/>
                <a:gd name="connsiteX14" fmla="*/ 2259379 w 3345917"/>
                <a:gd name="connsiteY14" fmla="*/ 642407 h 927483"/>
                <a:gd name="connsiteX15" fmla="*/ 2179825 w 3345917"/>
                <a:gd name="connsiteY15" fmla="*/ 632506 h 927483"/>
                <a:gd name="connsiteX16" fmla="*/ 2112645 w 3345917"/>
                <a:gd name="connsiteY16" fmla="*/ 658879 h 927483"/>
                <a:gd name="connsiteX17" fmla="*/ 1981534 w 3345917"/>
                <a:gd name="connsiteY17" fmla="*/ 689167 h 927483"/>
                <a:gd name="connsiteX18" fmla="*/ 1858617 w 3345917"/>
                <a:gd name="connsiteY18" fmla="*/ 705761 h 927483"/>
                <a:gd name="connsiteX19" fmla="*/ 1708106 w 3345917"/>
                <a:gd name="connsiteY19" fmla="*/ 700219 h 927483"/>
                <a:gd name="connsiteX20" fmla="*/ 1524458 w 3345917"/>
                <a:gd name="connsiteY20" fmla="*/ 684875 h 927483"/>
                <a:gd name="connsiteX21" fmla="*/ 1376197 w 3345917"/>
                <a:gd name="connsiteY21" fmla="*/ 658642 h 927483"/>
                <a:gd name="connsiteX22" fmla="*/ 1320246 w 3345917"/>
                <a:gd name="connsiteY22" fmla="*/ 617113 h 927483"/>
                <a:gd name="connsiteX23" fmla="*/ 1237591 w 3345917"/>
                <a:gd name="connsiteY23" fmla="*/ 530325 h 927483"/>
                <a:gd name="connsiteX24" fmla="*/ 1166966 w 3345917"/>
                <a:gd name="connsiteY24" fmla="*/ 461196 h 927483"/>
                <a:gd name="connsiteX25" fmla="*/ 1083618 w 3345917"/>
                <a:gd name="connsiteY25" fmla="*/ 423024 h 927483"/>
                <a:gd name="connsiteX26" fmla="*/ 952350 w 3345917"/>
                <a:gd name="connsiteY26" fmla="*/ 400364 h 927483"/>
                <a:gd name="connsiteX27" fmla="*/ 831914 w 3345917"/>
                <a:gd name="connsiteY27" fmla="*/ 363673 h 927483"/>
                <a:gd name="connsiteX28" fmla="*/ 631117 w 3345917"/>
                <a:gd name="connsiteY28" fmla="*/ 278548 h 927483"/>
                <a:gd name="connsiteX29" fmla="*/ 437036 w 3345917"/>
                <a:gd name="connsiteY29" fmla="*/ 191013 h 927483"/>
                <a:gd name="connsiteX30" fmla="*/ 255802 w 3345917"/>
                <a:gd name="connsiteY30" fmla="*/ 75796 h 927483"/>
                <a:gd name="connsiteX31" fmla="*/ 0 w 3345917"/>
                <a:gd name="connsiteY31" fmla="*/ 0 h 927483"/>
                <a:gd name="connsiteX0" fmla="*/ 3345917 w 3345917"/>
                <a:gd name="connsiteY0" fmla="*/ 848583 h 927500"/>
                <a:gd name="connsiteX1" fmla="*/ 3263726 w 3345917"/>
                <a:gd name="connsiteY1" fmla="*/ 814648 h 927500"/>
                <a:gd name="connsiteX2" fmla="*/ 3205443 w 3345917"/>
                <a:gd name="connsiteY2" fmla="*/ 800284 h 927500"/>
                <a:gd name="connsiteX3" fmla="*/ 3121653 w 3345917"/>
                <a:gd name="connsiteY3" fmla="*/ 828210 h 927500"/>
                <a:gd name="connsiteX4" fmla="*/ 2985604 w 3345917"/>
                <a:gd name="connsiteY4" fmla="*/ 868303 h 927500"/>
                <a:gd name="connsiteX5" fmla="*/ 2879204 w 3345917"/>
                <a:gd name="connsiteY5" fmla="*/ 839646 h 927500"/>
                <a:gd name="connsiteX6" fmla="*/ 2835923 w 3345917"/>
                <a:gd name="connsiteY6" fmla="*/ 843700 h 927500"/>
                <a:gd name="connsiteX7" fmla="*/ 2739469 w 3345917"/>
                <a:gd name="connsiteY7" fmla="*/ 927120 h 927500"/>
                <a:gd name="connsiteX8" fmla="*/ 2619450 w 3345917"/>
                <a:gd name="connsiteY8" fmla="*/ 871871 h 927500"/>
                <a:gd name="connsiteX9" fmla="*/ 2628603 w 3345917"/>
                <a:gd name="connsiteY9" fmla="*/ 806704 h 927500"/>
                <a:gd name="connsiteX10" fmla="*/ 2595048 w 3345917"/>
                <a:gd name="connsiteY10" fmla="*/ 777751 h 927500"/>
                <a:gd name="connsiteX11" fmla="*/ 2558592 w 3345917"/>
                <a:gd name="connsiteY11" fmla="*/ 733837 h 927500"/>
                <a:gd name="connsiteX12" fmla="*/ 2496544 w 3345917"/>
                <a:gd name="connsiteY12" fmla="*/ 693058 h 927500"/>
                <a:gd name="connsiteX13" fmla="*/ 2410824 w 3345917"/>
                <a:gd name="connsiteY13" fmla="*/ 666277 h 927500"/>
                <a:gd name="connsiteX14" fmla="*/ 2259379 w 3345917"/>
                <a:gd name="connsiteY14" fmla="*/ 642407 h 927500"/>
                <a:gd name="connsiteX15" fmla="*/ 2179825 w 3345917"/>
                <a:gd name="connsiteY15" fmla="*/ 632506 h 927500"/>
                <a:gd name="connsiteX16" fmla="*/ 2112645 w 3345917"/>
                <a:gd name="connsiteY16" fmla="*/ 658879 h 927500"/>
                <a:gd name="connsiteX17" fmla="*/ 1981534 w 3345917"/>
                <a:gd name="connsiteY17" fmla="*/ 689167 h 927500"/>
                <a:gd name="connsiteX18" fmla="*/ 1858617 w 3345917"/>
                <a:gd name="connsiteY18" fmla="*/ 705761 h 927500"/>
                <a:gd name="connsiteX19" fmla="*/ 1708106 w 3345917"/>
                <a:gd name="connsiteY19" fmla="*/ 700219 h 927500"/>
                <a:gd name="connsiteX20" fmla="*/ 1524458 w 3345917"/>
                <a:gd name="connsiteY20" fmla="*/ 684875 h 927500"/>
                <a:gd name="connsiteX21" fmla="*/ 1376197 w 3345917"/>
                <a:gd name="connsiteY21" fmla="*/ 658642 h 927500"/>
                <a:gd name="connsiteX22" fmla="*/ 1320246 w 3345917"/>
                <a:gd name="connsiteY22" fmla="*/ 617113 h 927500"/>
                <a:gd name="connsiteX23" fmla="*/ 1237591 w 3345917"/>
                <a:gd name="connsiteY23" fmla="*/ 530325 h 927500"/>
                <a:gd name="connsiteX24" fmla="*/ 1166966 w 3345917"/>
                <a:gd name="connsiteY24" fmla="*/ 461196 h 927500"/>
                <a:gd name="connsiteX25" fmla="*/ 1083618 w 3345917"/>
                <a:gd name="connsiteY25" fmla="*/ 423024 h 927500"/>
                <a:gd name="connsiteX26" fmla="*/ 952350 w 3345917"/>
                <a:gd name="connsiteY26" fmla="*/ 400364 h 927500"/>
                <a:gd name="connsiteX27" fmla="*/ 831914 w 3345917"/>
                <a:gd name="connsiteY27" fmla="*/ 363673 h 927500"/>
                <a:gd name="connsiteX28" fmla="*/ 631117 w 3345917"/>
                <a:gd name="connsiteY28" fmla="*/ 278548 h 927500"/>
                <a:gd name="connsiteX29" fmla="*/ 437036 w 3345917"/>
                <a:gd name="connsiteY29" fmla="*/ 191013 h 927500"/>
                <a:gd name="connsiteX30" fmla="*/ 255802 w 3345917"/>
                <a:gd name="connsiteY30" fmla="*/ 75796 h 927500"/>
                <a:gd name="connsiteX31" fmla="*/ 0 w 3345917"/>
                <a:gd name="connsiteY31" fmla="*/ 0 h 927500"/>
                <a:gd name="connsiteX0" fmla="*/ 3345917 w 3345917"/>
                <a:gd name="connsiteY0" fmla="*/ 848583 h 927145"/>
                <a:gd name="connsiteX1" fmla="*/ 3263726 w 3345917"/>
                <a:gd name="connsiteY1" fmla="*/ 814648 h 927145"/>
                <a:gd name="connsiteX2" fmla="*/ 3205443 w 3345917"/>
                <a:gd name="connsiteY2" fmla="*/ 800284 h 927145"/>
                <a:gd name="connsiteX3" fmla="*/ 3121653 w 3345917"/>
                <a:gd name="connsiteY3" fmla="*/ 828210 h 927145"/>
                <a:gd name="connsiteX4" fmla="*/ 2985604 w 3345917"/>
                <a:gd name="connsiteY4" fmla="*/ 868303 h 927145"/>
                <a:gd name="connsiteX5" fmla="*/ 2879204 w 3345917"/>
                <a:gd name="connsiteY5" fmla="*/ 839646 h 927145"/>
                <a:gd name="connsiteX6" fmla="*/ 2835923 w 3345917"/>
                <a:gd name="connsiteY6" fmla="*/ 843700 h 927145"/>
                <a:gd name="connsiteX7" fmla="*/ 2739469 w 3345917"/>
                <a:gd name="connsiteY7" fmla="*/ 927120 h 927145"/>
                <a:gd name="connsiteX8" fmla="*/ 2602284 w 3345917"/>
                <a:gd name="connsiteY8" fmla="*/ 852057 h 927145"/>
                <a:gd name="connsiteX9" fmla="*/ 2628603 w 3345917"/>
                <a:gd name="connsiteY9" fmla="*/ 806704 h 927145"/>
                <a:gd name="connsiteX10" fmla="*/ 2595048 w 3345917"/>
                <a:gd name="connsiteY10" fmla="*/ 777751 h 927145"/>
                <a:gd name="connsiteX11" fmla="*/ 2558592 w 3345917"/>
                <a:gd name="connsiteY11" fmla="*/ 733837 h 927145"/>
                <a:gd name="connsiteX12" fmla="*/ 2496544 w 3345917"/>
                <a:gd name="connsiteY12" fmla="*/ 693058 h 927145"/>
                <a:gd name="connsiteX13" fmla="*/ 2410824 w 3345917"/>
                <a:gd name="connsiteY13" fmla="*/ 666277 h 927145"/>
                <a:gd name="connsiteX14" fmla="*/ 2259379 w 3345917"/>
                <a:gd name="connsiteY14" fmla="*/ 642407 h 927145"/>
                <a:gd name="connsiteX15" fmla="*/ 2179825 w 3345917"/>
                <a:gd name="connsiteY15" fmla="*/ 632506 h 927145"/>
                <a:gd name="connsiteX16" fmla="*/ 2112645 w 3345917"/>
                <a:gd name="connsiteY16" fmla="*/ 658879 h 927145"/>
                <a:gd name="connsiteX17" fmla="*/ 1981534 w 3345917"/>
                <a:gd name="connsiteY17" fmla="*/ 689167 h 927145"/>
                <a:gd name="connsiteX18" fmla="*/ 1858617 w 3345917"/>
                <a:gd name="connsiteY18" fmla="*/ 705761 h 927145"/>
                <a:gd name="connsiteX19" fmla="*/ 1708106 w 3345917"/>
                <a:gd name="connsiteY19" fmla="*/ 700219 h 927145"/>
                <a:gd name="connsiteX20" fmla="*/ 1524458 w 3345917"/>
                <a:gd name="connsiteY20" fmla="*/ 684875 h 927145"/>
                <a:gd name="connsiteX21" fmla="*/ 1376197 w 3345917"/>
                <a:gd name="connsiteY21" fmla="*/ 658642 h 927145"/>
                <a:gd name="connsiteX22" fmla="*/ 1320246 w 3345917"/>
                <a:gd name="connsiteY22" fmla="*/ 617113 h 927145"/>
                <a:gd name="connsiteX23" fmla="*/ 1237591 w 3345917"/>
                <a:gd name="connsiteY23" fmla="*/ 530325 h 927145"/>
                <a:gd name="connsiteX24" fmla="*/ 1166966 w 3345917"/>
                <a:gd name="connsiteY24" fmla="*/ 461196 h 927145"/>
                <a:gd name="connsiteX25" fmla="*/ 1083618 w 3345917"/>
                <a:gd name="connsiteY25" fmla="*/ 423024 h 927145"/>
                <a:gd name="connsiteX26" fmla="*/ 952350 w 3345917"/>
                <a:gd name="connsiteY26" fmla="*/ 400364 h 927145"/>
                <a:gd name="connsiteX27" fmla="*/ 831914 w 3345917"/>
                <a:gd name="connsiteY27" fmla="*/ 363673 h 927145"/>
                <a:gd name="connsiteX28" fmla="*/ 631117 w 3345917"/>
                <a:gd name="connsiteY28" fmla="*/ 278548 h 927145"/>
                <a:gd name="connsiteX29" fmla="*/ 437036 w 3345917"/>
                <a:gd name="connsiteY29" fmla="*/ 191013 h 927145"/>
                <a:gd name="connsiteX30" fmla="*/ 255802 w 3345917"/>
                <a:gd name="connsiteY30" fmla="*/ 75796 h 927145"/>
                <a:gd name="connsiteX31" fmla="*/ 0 w 3345917"/>
                <a:gd name="connsiteY31" fmla="*/ 0 h 927145"/>
                <a:gd name="connsiteX0" fmla="*/ 3345917 w 3345917"/>
                <a:gd name="connsiteY0" fmla="*/ 848583 h 927145"/>
                <a:gd name="connsiteX1" fmla="*/ 3263726 w 3345917"/>
                <a:gd name="connsiteY1" fmla="*/ 814648 h 927145"/>
                <a:gd name="connsiteX2" fmla="*/ 3205443 w 3345917"/>
                <a:gd name="connsiteY2" fmla="*/ 800284 h 927145"/>
                <a:gd name="connsiteX3" fmla="*/ 3121653 w 3345917"/>
                <a:gd name="connsiteY3" fmla="*/ 828210 h 927145"/>
                <a:gd name="connsiteX4" fmla="*/ 2985604 w 3345917"/>
                <a:gd name="connsiteY4" fmla="*/ 868303 h 927145"/>
                <a:gd name="connsiteX5" fmla="*/ 2879204 w 3345917"/>
                <a:gd name="connsiteY5" fmla="*/ 839646 h 927145"/>
                <a:gd name="connsiteX6" fmla="*/ 2835923 w 3345917"/>
                <a:gd name="connsiteY6" fmla="*/ 843700 h 927145"/>
                <a:gd name="connsiteX7" fmla="*/ 2739469 w 3345917"/>
                <a:gd name="connsiteY7" fmla="*/ 927120 h 927145"/>
                <a:gd name="connsiteX8" fmla="*/ 2602284 w 3345917"/>
                <a:gd name="connsiteY8" fmla="*/ 852057 h 927145"/>
                <a:gd name="connsiteX9" fmla="*/ 2618304 w 3345917"/>
                <a:gd name="connsiteY9" fmla="*/ 800099 h 927145"/>
                <a:gd name="connsiteX10" fmla="*/ 2595048 w 3345917"/>
                <a:gd name="connsiteY10" fmla="*/ 777751 h 927145"/>
                <a:gd name="connsiteX11" fmla="*/ 2558592 w 3345917"/>
                <a:gd name="connsiteY11" fmla="*/ 733837 h 927145"/>
                <a:gd name="connsiteX12" fmla="*/ 2496544 w 3345917"/>
                <a:gd name="connsiteY12" fmla="*/ 693058 h 927145"/>
                <a:gd name="connsiteX13" fmla="*/ 2410824 w 3345917"/>
                <a:gd name="connsiteY13" fmla="*/ 666277 h 927145"/>
                <a:gd name="connsiteX14" fmla="*/ 2259379 w 3345917"/>
                <a:gd name="connsiteY14" fmla="*/ 642407 h 927145"/>
                <a:gd name="connsiteX15" fmla="*/ 2179825 w 3345917"/>
                <a:gd name="connsiteY15" fmla="*/ 632506 h 927145"/>
                <a:gd name="connsiteX16" fmla="*/ 2112645 w 3345917"/>
                <a:gd name="connsiteY16" fmla="*/ 658879 h 927145"/>
                <a:gd name="connsiteX17" fmla="*/ 1981534 w 3345917"/>
                <a:gd name="connsiteY17" fmla="*/ 689167 h 927145"/>
                <a:gd name="connsiteX18" fmla="*/ 1858617 w 3345917"/>
                <a:gd name="connsiteY18" fmla="*/ 705761 h 927145"/>
                <a:gd name="connsiteX19" fmla="*/ 1708106 w 3345917"/>
                <a:gd name="connsiteY19" fmla="*/ 700219 h 927145"/>
                <a:gd name="connsiteX20" fmla="*/ 1524458 w 3345917"/>
                <a:gd name="connsiteY20" fmla="*/ 684875 h 927145"/>
                <a:gd name="connsiteX21" fmla="*/ 1376197 w 3345917"/>
                <a:gd name="connsiteY21" fmla="*/ 658642 h 927145"/>
                <a:gd name="connsiteX22" fmla="*/ 1320246 w 3345917"/>
                <a:gd name="connsiteY22" fmla="*/ 617113 h 927145"/>
                <a:gd name="connsiteX23" fmla="*/ 1237591 w 3345917"/>
                <a:gd name="connsiteY23" fmla="*/ 530325 h 927145"/>
                <a:gd name="connsiteX24" fmla="*/ 1166966 w 3345917"/>
                <a:gd name="connsiteY24" fmla="*/ 461196 h 927145"/>
                <a:gd name="connsiteX25" fmla="*/ 1083618 w 3345917"/>
                <a:gd name="connsiteY25" fmla="*/ 423024 h 927145"/>
                <a:gd name="connsiteX26" fmla="*/ 952350 w 3345917"/>
                <a:gd name="connsiteY26" fmla="*/ 400364 h 927145"/>
                <a:gd name="connsiteX27" fmla="*/ 831914 w 3345917"/>
                <a:gd name="connsiteY27" fmla="*/ 363673 h 927145"/>
                <a:gd name="connsiteX28" fmla="*/ 631117 w 3345917"/>
                <a:gd name="connsiteY28" fmla="*/ 278548 h 927145"/>
                <a:gd name="connsiteX29" fmla="*/ 437036 w 3345917"/>
                <a:gd name="connsiteY29" fmla="*/ 191013 h 927145"/>
                <a:gd name="connsiteX30" fmla="*/ 255802 w 3345917"/>
                <a:gd name="connsiteY30" fmla="*/ 75796 h 927145"/>
                <a:gd name="connsiteX31" fmla="*/ 0 w 3345917"/>
                <a:gd name="connsiteY31" fmla="*/ 0 h 927145"/>
                <a:gd name="connsiteX0" fmla="*/ 3345917 w 3345917"/>
                <a:gd name="connsiteY0" fmla="*/ 848583 h 927145"/>
                <a:gd name="connsiteX1" fmla="*/ 3263726 w 3345917"/>
                <a:gd name="connsiteY1" fmla="*/ 814648 h 927145"/>
                <a:gd name="connsiteX2" fmla="*/ 3205443 w 3345917"/>
                <a:gd name="connsiteY2" fmla="*/ 800284 h 927145"/>
                <a:gd name="connsiteX3" fmla="*/ 3121653 w 3345917"/>
                <a:gd name="connsiteY3" fmla="*/ 828210 h 927145"/>
                <a:gd name="connsiteX4" fmla="*/ 2985604 w 3345917"/>
                <a:gd name="connsiteY4" fmla="*/ 868303 h 927145"/>
                <a:gd name="connsiteX5" fmla="*/ 2879204 w 3345917"/>
                <a:gd name="connsiteY5" fmla="*/ 839646 h 927145"/>
                <a:gd name="connsiteX6" fmla="*/ 2835923 w 3345917"/>
                <a:gd name="connsiteY6" fmla="*/ 843700 h 927145"/>
                <a:gd name="connsiteX7" fmla="*/ 2739469 w 3345917"/>
                <a:gd name="connsiteY7" fmla="*/ 927120 h 927145"/>
                <a:gd name="connsiteX8" fmla="*/ 2602284 w 3345917"/>
                <a:gd name="connsiteY8" fmla="*/ 852057 h 927145"/>
                <a:gd name="connsiteX9" fmla="*/ 2628603 w 3345917"/>
                <a:gd name="connsiteY9" fmla="*/ 810007 h 927145"/>
                <a:gd name="connsiteX10" fmla="*/ 2595048 w 3345917"/>
                <a:gd name="connsiteY10" fmla="*/ 777751 h 927145"/>
                <a:gd name="connsiteX11" fmla="*/ 2558592 w 3345917"/>
                <a:gd name="connsiteY11" fmla="*/ 733837 h 927145"/>
                <a:gd name="connsiteX12" fmla="*/ 2496544 w 3345917"/>
                <a:gd name="connsiteY12" fmla="*/ 693058 h 927145"/>
                <a:gd name="connsiteX13" fmla="*/ 2410824 w 3345917"/>
                <a:gd name="connsiteY13" fmla="*/ 666277 h 927145"/>
                <a:gd name="connsiteX14" fmla="*/ 2259379 w 3345917"/>
                <a:gd name="connsiteY14" fmla="*/ 642407 h 927145"/>
                <a:gd name="connsiteX15" fmla="*/ 2179825 w 3345917"/>
                <a:gd name="connsiteY15" fmla="*/ 632506 h 927145"/>
                <a:gd name="connsiteX16" fmla="*/ 2112645 w 3345917"/>
                <a:gd name="connsiteY16" fmla="*/ 658879 h 927145"/>
                <a:gd name="connsiteX17" fmla="*/ 1981534 w 3345917"/>
                <a:gd name="connsiteY17" fmla="*/ 689167 h 927145"/>
                <a:gd name="connsiteX18" fmla="*/ 1858617 w 3345917"/>
                <a:gd name="connsiteY18" fmla="*/ 705761 h 927145"/>
                <a:gd name="connsiteX19" fmla="*/ 1708106 w 3345917"/>
                <a:gd name="connsiteY19" fmla="*/ 700219 h 927145"/>
                <a:gd name="connsiteX20" fmla="*/ 1524458 w 3345917"/>
                <a:gd name="connsiteY20" fmla="*/ 684875 h 927145"/>
                <a:gd name="connsiteX21" fmla="*/ 1376197 w 3345917"/>
                <a:gd name="connsiteY21" fmla="*/ 658642 h 927145"/>
                <a:gd name="connsiteX22" fmla="*/ 1320246 w 3345917"/>
                <a:gd name="connsiteY22" fmla="*/ 617113 h 927145"/>
                <a:gd name="connsiteX23" fmla="*/ 1237591 w 3345917"/>
                <a:gd name="connsiteY23" fmla="*/ 530325 h 927145"/>
                <a:gd name="connsiteX24" fmla="*/ 1166966 w 3345917"/>
                <a:gd name="connsiteY24" fmla="*/ 461196 h 927145"/>
                <a:gd name="connsiteX25" fmla="*/ 1083618 w 3345917"/>
                <a:gd name="connsiteY25" fmla="*/ 423024 h 927145"/>
                <a:gd name="connsiteX26" fmla="*/ 952350 w 3345917"/>
                <a:gd name="connsiteY26" fmla="*/ 400364 h 927145"/>
                <a:gd name="connsiteX27" fmla="*/ 831914 w 3345917"/>
                <a:gd name="connsiteY27" fmla="*/ 363673 h 927145"/>
                <a:gd name="connsiteX28" fmla="*/ 631117 w 3345917"/>
                <a:gd name="connsiteY28" fmla="*/ 278548 h 927145"/>
                <a:gd name="connsiteX29" fmla="*/ 437036 w 3345917"/>
                <a:gd name="connsiteY29" fmla="*/ 191013 h 927145"/>
                <a:gd name="connsiteX30" fmla="*/ 255802 w 3345917"/>
                <a:gd name="connsiteY30" fmla="*/ 75796 h 927145"/>
                <a:gd name="connsiteX31" fmla="*/ 0 w 3345917"/>
                <a:gd name="connsiteY31" fmla="*/ 0 h 927145"/>
                <a:gd name="connsiteX0" fmla="*/ 3345917 w 3345917"/>
                <a:gd name="connsiteY0" fmla="*/ 848583 h 927207"/>
                <a:gd name="connsiteX1" fmla="*/ 3263726 w 3345917"/>
                <a:gd name="connsiteY1" fmla="*/ 814648 h 927207"/>
                <a:gd name="connsiteX2" fmla="*/ 3205443 w 3345917"/>
                <a:gd name="connsiteY2" fmla="*/ 800284 h 927207"/>
                <a:gd name="connsiteX3" fmla="*/ 3121653 w 3345917"/>
                <a:gd name="connsiteY3" fmla="*/ 828210 h 927207"/>
                <a:gd name="connsiteX4" fmla="*/ 2985604 w 3345917"/>
                <a:gd name="connsiteY4" fmla="*/ 868303 h 927207"/>
                <a:gd name="connsiteX5" fmla="*/ 2879204 w 3345917"/>
                <a:gd name="connsiteY5" fmla="*/ 839646 h 927207"/>
                <a:gd name="connsiteX6" fmla="*/ 2835923 w 3345917"/>
                <a:gd name="connsiteY6" fmla="*/ 843700 h 927207"/>
                <a:gd name="connsiteX7" fmla="*/ 2739469 w 3345917"/>
                <a:gd name="connsiteY7" fmla="*/ 927120 h 927207"/>
                <a:gd name="connsiteX8" fmla="*/ 2619450 w 3345917"/>
                <a:gd name="connsiteY8" fmla="*/ 858662 h 927207"/>
                <a:gd name="connsiteX9" fmla="*/ 2628603 w 3345917"/>
                <a:gd name="connsiteY9" fmla="*/ 810007 h 927207"/>
                <a:gd name="connsiteX10" fmla="*/ 2595048 w 3345917"/>
                <a:gd name="connsiteY10" fmla="*/ 777751 h 927207"/>
                <a:gd name="connsiteX11" fmla="*/ 2558592 w 3345917"/>
                <a:gd name="connsiteY11" fmla="*/ 733837 h 927207"/>
                <a:gd name="connsiteX12" fmla="*/ 2496544 w 3345917"/>
                <a:gd name="connsiteY12" fmla="*/ 693058 h 927207"/>
                <a:gd name="connsiteX13" fmla="*/ 2410824 w 3345917"/>
                <a:gd name="connsiteY13" fmla="*/ 666277 h 927207"/>
                <a:gd name="connsiteX14" fmla="*/ 2259379 w 3345917"/>
                <a:gd name="connsiteY14" fmla="*/ 642407 h 927207"/>
                <a:gd name="connsiteX15" fmla="*/ 2179825 w 3345917"/>
                <a:gd name="connsiteY15" fmla="*/ 632506 h 927207"/>
                <a:gd name="connsiteX16" fmla="*/ 2112645 w 3345917"/>
                <a:gd name="connsiteY16" fmla="*/ 658879 h 927207"/>
                <a:gd name="connsiteX17" fmla="*/ 1981534 w 3345917"/>
                <a:gd name="connsiteY17" fmla="*/ 689167 h 927207"/>
                <a:gd name="connsiteX18" fmla="*/ 1858617 w 3345917"/>
                <a:gd name="connsiteY18" fmla="*/ 705761 h 927207"/>
                <a:gd name="connsiteX19" fmla="*/ 1708106 w 3345917"/>
                <a:gd name="connsiteY19" fmla="*/ 700219 h 927207"/>
                <a:gd name="connsiteX20" fmla="*/ 1524458 w 3345917"/>
                <a:gd name="connsiteY20" fmla="*/ 684875 h 927207"/>
                <a:gd name="connsiteX21" fmla="*/ 1376197 w 3345917"/>
                <a:gd name="connsiteY21" fmla="*/ 658642 h 927207"/>
                <a:gd name="connsiteX22" fmla="*/ 1320246 w 3345917"/>
                <a:gd name="connsiteY22" fmla="*/ 617113 h 927207"/>
                <a:gd name="connsiteX23" fmla="*/ 1237591 w 3345917"/>
                <a:gd name="connsiteY23" fmla="*/ 530325 h 927207"/>
                <a:gd name="connsiteX24" fmla="*/ 1166966 w 3345917"/>
                <a:gd name="connsiteY24" fmla="*/ 461196 h 927207"/>
                <a:gd name="connsiteX25" fmla="*/ 1083618 w 3345917"/>
                <a:gd name="connsiteY25" fmla="*/ 423024 h 927207"/>
                <a:gd name="connsiteX26" fmla="*/ 952350 w 3345917"/>
                <a:gd name="connsiteY26" fmla="*/ 400364 h 927207"/>
                <a:gd name="connsiteX27" fmla="*/ 831914 w 3345917"/>
                <a:gd name="connsiteY27" fmla="*/ 363673 h 927207"/>
                <a:gd name="connsiteX28" fmla="*/ 631117 w 3345917"/>
                <a:gd name="connsiteY28" fmla="*/ 278548 h 927207"/>
                <a:gd name="connsiteX29" fmla="*/ 437036 w 3345917"/>
                <a:gd name="connsiteY29" fmla="*/ 191013 h 927207"/>
                <a:gd name="connsiteX30" fmla="*/ 255802 w 3345917"/>
                <a:gd name="connsiteY30" fmla="*/ 75796 h 927207"/>
                <a:gd name="connsiteX31" fmla="*/ 0 w 3345917"/>
                <a:gd name="connsiteY31" fmla="*/ 0 h 927207"/>
                <a:gd name="connsiteX0" fmla="*/ 3345917 w 3345917"/>
                <a:gd name="connsiteY0" fmla="*/ 848583 h 927170"/>
                <a:gd name="connsiteX1" fmla="*/ 3263726 w 3345917"/>
                <a:gd name="connsiteY1" fmla="*/ 814648 h 927170"/>
                <a:gd name="connsiteX2" fmla="*/ 3205443 w 3345917"/>
                <a:gd name="connsiteY2" fmla="*/ 800284 h 927170"/>
                <a:gd name="connsiteX3" fmla="*/ 3121653 w 3345917"/>
                <a:gd name="connsiteY3" fmla="*/ 828210 h 927170"/>
                <a:gd name="connsiteX4" fmla="*/ 2985604 w 3345917"/>
                <a:gd name="connsiteY4" fmla="*/ 868303 h 927170"/>
                <a:gd name="connsiteX5" fmla="*/ 2879204 w 3345917"/>
                <a:gd name="connsiteY5" fmla="*/ 839646 h 927170"/>
                <a:gd name="connsiteX6" fmla="*/ 2835923 w 3345917"/>
                <a:gd name="connsiteY6" fmla="*/ 843700 h 927170"/>
                <a:gd name="connsiteX7" fmla="*/ 2739469 w 3345917"/>
                <a:gd name="connsiteY7" fmla="*/ 927120 h 927170"/>
                <a:gd name="connsiteX8" fmla="*/ 2612583 w 3345917"/>
                <a:gd name="connsiteY8" fmla="*/ 855359 h 927170"/>
                <a:gd name="connsiteX9" fmla="*/ 2628603 w 3345917"/>
                <a:gd name="connsiteY9" fmla="*/ 810007 h 927170"/>
                <a:gd name="connsiteX10" fmla="*/ 2595048 w 3345917"/>
                <a:gd name="connsiteY10" fmla="*/ 777751 h 927170"/>
                <a:gd name="connsiteX11" fmla="*/ 2558592 w 3345917"/>
                <a:gd name="connsiteY11" fmla="*/ 733837 h 927170"/>
                <a:gd name="connsiteX12" fmla="*/ 2496544 w 3345917"/>
                <a:gd name="connsiteY12" fmla="*/ 693058 h 927170"/>
                <a:gd name="connsiteX13" fmla="*/ 2410824 w 3345917"/>
                <a:gd name="connsiteY13" fmla="*/ 666277 h 927170"/>
                <a:gd name="connsiteX14" fmla="*/ 2259379 w 3345917"/>
                <a:gd name="connsiteY14" fmla="*/ 642407 h 927170"/>
                <a:gd name="connsiteX15" fmla="*/ 2179825 w 3345917"/>
                <a:gd name="connsiteY15" fmla="*/ 632506 h 927170"/>
                <a:gd name="connsiteX16" fmla="*/ 2112645 w 3345917"/>
                <a:gd name="connsiteY16" fmla="*/ 658879 h 927170"/>
                <a:gd name="connsiteX17" fmla="*/ 1981534 w 3345917"/>
                <a:gd name="connsiteY17" fmla="*/ 689167 h 927170"/>
                <a:gd name="connsiteX18" fmla="*/ 1858617 w 3345917"/>
                <a:gd name="connsiteY18" fmla="*/ 705761 h 927170"/>
                <a:gd name="connsiteX19" fmla="*/ 1708106 w 3345917"/>
                <a:gd name="connsiteY19" fmla="*/ 700219 h 927170"/>
                <a:gd name="connsiteX20" fmla="*/ 1524458 w 3345917"/>
                <a:gd name="connsiteY20" fmla="*/ 684875 h 927170"/>
                <a:gd name="connsiteX21" fmla="*/ 1376197 w 3345917"/>
                <a:gd name="connsiteY21" fmla="*/ 658642 h 927170"/>
                <a:gd name="connsiteX22" fmla="*/ 1320246 w 3345917"/>
                <a:gd name="connsiteY22" fmla="*/ 617113 h 927170"/>
                <a:gd name="connsiteX23" fmla="*/ 1237591 w 3345917"/>
                <a:gd name="connsiteY23" fmla="*/ 530325 h 927170"/>
                <a:gd name="connsiteX24" fmla="*/ 1166966 w 3345917"/>
                <a:gd name="connsiteY24" fmla="*/ 461196 h 927170"/>
                <a:gd name="connsiteX25" fmla="*/ 1083618 w 3345917"/>
                <a:gd name="connsiteY25" fmla="*/ 423024 h 927170"/>
                <a:gd name="connsiteX26" fmla="*/ 952350 w 3345917"/>
                <a:gd name="connsiteY26" fmla="*/ 400364 h 927170"/>
                <a:gd name="connsiteX27" fmla="*/ 831914 w 3345917"/>
                <a:gd name="connsiteY27" fmla="*/ 363673 h 927170"/>
                <a:gd name="connsiteX28" fmla="*/ 631117 w 3345917"/>
                <a:gd name="connsiteY28" fmla="*/ 278548 h 927170"/>
                <a:gd name="connsiteX29" fmla="*/ 437036 w 3345917"/>
                <a:gd name="connsiteY29" fmla="*/ 191013 h 927170"/>
                <a:gd name="connsiteX30" fmla="*/ 255802 w 3345917"/>
                <a:gd name="connsiteY30" fmla="*/ 75796 h 927170"/>
                <a:gd name="connsiteX31" fmla="*/ 0 w 3345917"/>
                <a:gd name="connsiteY31" fmla="*/ 0 h 927170"/>
                <a:gd name="connsiteX0" fmla="*/ 3345917 w 3345917"/>
                <a:gd name="connsiteY0" fmla="*/ 848583 h 923871"/>
                <a:gd name="connsiteX1" fmla="*/ 3263726 w 3345917"/>
                <a:gd name="connsiteY1" fmla="*/ 814648 h 923871"/>
                <a:gd name="connsiteX2" fmla="*/ 3205443 w 3345917"/>
                <a:gd name="connsiteY2" fmla="*/ 800284 h 923871"/>
                <a:gd name="connsiteX3" fmla="*/ 3121653 w 3345917"/>
                <a:gd name="connsiteY3" fmla="*/ 828210 h 923871"/>
                <a:gd name="connsiteX4" fmla="*/ 2985604 w 3345917"/>
                <a:gd name="connsiteY4" fmla="*/ 868303 h 923871"/>
                <a:gd name="connsiteX5" fmla="*/ 2879204 w 3345917"/>
                <a:gd name="connsiteY5" fmla="*/ 839646 h 923871"/>
                <a:gd name="connsiteX6" fmla="*/ 2835923 w 3345917"/>
                <a:gd name="connsiteY6" fmla="*/ 843700 h 923871"/>
                <a:gd name="connsiteX7" fmla="*/ 2729170 w 3345917"/>
                <a:gd name="connsiteY7" fmla="*/ 923818 h 923871"/>
                <a:gd name="connsiteX8" fmla="*/ 2612583 w 3345917"/>
                <a:gd name="connsiteY8" fmla="*/ 855359 h 923871"/>
                <a:gd name="connsiteX9" fmla="*/ 2628603 w 3345917"/>
                <a:gd name="connsiteY9" fmla="*/ 810007 h 923871"/>
                <a:gd name="connsiteX10" fmla="*/ 2595048 w 3345917"/>
                <a:gd name="connsiteY10" fmla="*/ 777751 h 923871"/>
                <a:gd name="connsiteX11" fmla="*/ 2558592 w 3345917"/>
                <a:gd name="connsiteY11" fmla="*/ 733837 h 923871"/>
                <a:gd name="connsiteX12" fmla="*/ 2496544 w 3345917"/>
                <a:gd name="connsiteY12" fmla="*/ 693058 h 923871"/>
                <a:gd name="connsiteX13" fmla="*/ 2410824 w 3345917"/>
                <a:gd name="connsiteY13" fmla="*/ 666277 h 923871"/>
                <a:gd name="connsiteX14" fmla="*/ 2259379 w 3345917"/>
                <a:gd name="connsiteY14" fmla="*/ 642407 h 923871"/>
                <a:gd name="connsiteX15" fmla="*/ 2179825 w 3345917"/>
                <a:gd name="connsiteY15" fmla="*/ 632506 h 923871"/>
                <a:gd name="connsiteX16" fmla="*/ 2112645 w 3345917"/>
                <a:gd name="connsiteY16" fmla="*/ 658879 h 923871"/>
                <a:gd name="connsiteX17" fmla="*/ 1981534 w 3345917"/>
                <a:gd name="connsiteY17" fmla="*/ 689167 h 923871"/>
                <a:gd name="connsiteX18" fmla="*/ 1858617 w 3345917"/>
                <a:gd name="connsiteY18" fmla="*/ 705761 h 923871"/>
                <a:gd name="connsiteX19" fmla="*/ 1708106 w 3345917"/>
                <a:gd name="connsiteY19" fmla="*/ 700219 h 923871"/>
                <a:gd name="connsiteX20" fmla="*/ 1524458 w 3345917"/>
                <a:gd name="connsiteY20" fmla="*/ 684875 h 923871"/>
                <a:gd name="connsiteX21" fmla="*/ 1376197 w 3345917"/>
                <a:gd name="connsiteY21" fmla="*/ 658642 h 923871"/>
                <a:gd name="connsiteX22" fmla="*/ 1320246 w 3345917"/>
                <a:gd name="connsiteY22" fmla="*/ 617113 h 923871"/>
                <a:gd name="connsiteX23" fmla="*/ 1237591 w 3345917"/>
                <a:gd name="connsiteY23" fmla="*/ 530325 h 923871"/>
                <a:gd name="connsiteX24" fmla="*/ 1166966 w 3345917"/>
                <a:gd name="connsiteY24" fmla="*/ 461196 h 923871"/>
                <a:gd name="connsiteX25" fmla="*/ 1083618 w 3345917"/>
                <a:gd name="connsiteY25" fmla="*/ 423024 h 923871"/>
                <a:gd name="connsiteX26" fmla="*/ 952350 w 3345917"/>
                <a:gd name="connsiteY26" fmla="*/ 400364 h 923871"/>
                <a:gd name="connsiteX27" fmla="*/ 831914 w 3345917"/>
                <a:gd name="connsiteY27" fmla="*/ 363673 h 923871"/>
                <a:gd name="connsiteX28" fmla="*/ 631117 w 3345917"/>
                <a:gd name="connsiteY28" fmla="*/ 278548 h 923871"/>
                <a:gd name="connsiteX29" fmla="*/ 437036 w 3345917"/>
                <a:gd name="connsiteY29" fmla="*/ 191013 h 923871"/>
                <a:gd name="connsiteX30" fmla="*/ 255802 w 3345917"/>
                <a:gd name="connsiteY30" fmla="*/ 75796 h 923871"/>
                <a:gd name="connsiteX31" fmla="*/ 0 w 3345917"/>
                <a:gd name="connsiteY31" fmla="*/ 0 h 923871"/>
                <a:gd name="connsiteX0" fmla="*/ 3345917 w 3345917"/>
                <a:gd name="connsiteY0" fmla="*/ 848583 h 923818"/>
                <a:gd name="connsiteX1" fmla="*/ 3263726 w 3345917"/>
                <a:gd name="connsiteY1" fmla="*/ 814648 h 923818"/>
                <a:gd name="connsiteX2" fmla="*/ 3205443 w 3345917"/>
                <a:gd name="connsiteY2" fmla="*/ 800284 h 923818"/>
                <a:gd name="connsiteX3" fmla="*/ 3121653 w 3345917"/>
                <a:gd name="connsiteY3" fmla="*/ 828210 h 923818"/>
                <a:gd name="connsiteX4" fmla="*/ 2985604 w 3345917"/>
                <a:gd name="connsiteY4" fmla="*/ 868303 h 923818"/>
                <a:gd name="connsiteX5" fmla="*/ 2879204 w 3345917"/>
                <a:gd name="connsiteY5" fmla="*/ 839646 h 923818"/>
                <a:gd name="connsiteX6" fmla="*/ 2829056 w 3345917"/>
                <a:gd name="connsiteY6" fmla="*/ 856909 h 923818"/>
                <a:gd name="connsiteX7" fmla="*/ 2729170 w 3345917"/>
                <a:gd name="connsiteY7" fmla="*/ 923818 h 923818"/>
                <a:gd name="connsiteX8" fmla="*/ 2612583 w 3345917"/>
                <a:gd name="connsiteY8" fmla="*/ 855359 h 923818"/>
                <a:gd name="connsiteX9" fmla="*/ 2628603 w 3345917"/>
                <a:gd name="connsiteY9" fmla="*/ 810007 h 923818"/>
                <a:gd name="connsiteX10" fmla="*/ 2595048 w 3345917"/>
                <a:gd name="connsiteY10" fmla="*/ 777751 h 923818"/>
                <a:gd name="connsiteX11" fmla="*/ 2558592 w 3345917"/>
                <a:gd name="connsiteY11" fmla="*/ 733837 h 923818"/>
                <a:gd name="connsiteX12" fmla="*/ 2496544 w 3345917"/>
                <a:gd name="connsiteY12" fmla="*/ 693058 h 923818"/>
                <a:gd name="connsiteX13" fmla="*/ 2410824 w 3345917"/>
                <a:gd name="connsiteY13" fmla="*/ 666277 h 923818"/>
                <a:gd name="connsiteX14" fmla="*/ 2259379 w 3345917"/>
                <a:gd name="connsiteY14" fmla="*/ 642407 h 923818"/>
                <a:gd name="connsiteX15" fmla="*/ 2179825 w 3345917"/>
                <a:gd name="connsiteY15" fmla="*/ 632506 h 923818"/>
                <a:gd name="connsiteX16" fmla="*/ 2112645 w 3345917"/>
                <a:gd name="connsiteY16" fmla="*/ 658879 h 923818"/>
                <a:gd name="connsiteX17" fmla="*/ 1981534 w 3345917"/>
                <a:gd name="connsiteY17" fmla="*/ 689167 h 923818"/>
                <a:gd name="connsiteX18" fmla="*/ 1858617 w 3345917"/>
                <a:gd name="connsiteY18" fmla="*/ 705761 h 923818"/>
                <a:gd name="connsiteX19" fmla="*/ 1708106 w 3345917"/>
                <a:gd name="connsiteY19" fmla="*/ 700219 h 923818"/>
                <a:gd name="connsiteX20" fmla="*/ 1524458 w 3345917"/>
                <a:gd name="connsiteY20" fmla="*/ 684875 h 923818"/>
                <a:gd name="connsiteX21" fmla="*/ 1376197 w 3345917"/>
                <a:gd name="connsiteY21" fmla="*/ 658642 h 923818"/>
                <a:gd name="connsiteX22" fmla="*/ 1320246 w 3345917"/>
                <a:gd name="connsiteY22" fmla="*/ 617113 h 923818"/>
                <a:gd name="connsiteX23" fmla="*/ 1237591 w 3345917"/>
                <a:gd name="connsiteY23" fmla="*/ 530325 h 923818"/>
                <a:gd name="connsiteX24" fmla="*/ 1166966 w 3345917"/>
                <a:gd name="connsiteY24" fmla="*/ 461196 h 923818"/>
                <a:gd name="connsiteX25" fmla="*/ 1083618 w 3345917"/>
                <a:gd name="connsiteY25" fmla="*/ 423024 h 923818"/>
                <a:gd name="connsiteX26" fmla="*/ 952350 w 3345917"/>
                <a:gd name="connsiteY26" fmla="*/ 400364 h 923818"/>
                <a:gd name="connsiteX27" fmla="*/ 831914 w 3345917"/>
                <a:gd name="connsiteY27" fmla="*/ 363673 h 923818"/>
                <a:gd name="connsiteX28" fmla="*/ 631117 w 3345917"/>
                <a:gd name="connsiteY28" fmla="*/ 278548 h 923818"/>
                <a:gd name="connsiteX29" fmla="*/ 437036 w 3345917"/>
                <a:gd name="connsiteY29" fmla="*/ 191013 h 923818"/>
                <a:gd name="connsiteX30" fmla="*/ 255802 w 3345917"/>
                <a:gd name="connsiteY30" fmla="*/ 75796 h 923818"/>
                <a:gd name="connsiteX31" fmla="*/ 0 w 3345917"/>
                <a:gd name="connsiteY31" fmla="*/ 0 h 923818"/>
                <a:gd name="connsiteX0" fmla="*/ 3345917 w 3345917"/>
                <a:gd name="connsiteY0" fmla="*/ 848583 h 923846"/>
                <a:gd name="connsiteX1" fmla="*/ 3263726 w 3345917"/>
                <a:gd name="connsiteY1" fmla="*/ 814648 h 923846"/>
                <a:gd name="connsiteX2" fmla="*/ 3205443 w 3345917"/>
                <a:gd name="connsiteY2" fmla="*/ 800284 h 923846"/>
                <a:gd name="connsiteX3" fmla="*/ 3121653 w 3345917"/>
                <a:gd name="connsiteY3" fmla="*/ 828210 h 923846"/>
                <a:gd name="connsiteX4" fmla="*/ 2985604 w 3345917"/>
                <a:gd name="connsiteY4" fmla="*/ 868303 h 923846"/>
                <a:gd name="connsiteX5" fmla="*/ 2879204 w 3345917"/>
                <a:gd name="connsiteY5" fmla="*/ 839646 h 923846"/>
                <a:gd name="connsiteX6" fmla="*/ 2842789 w 3345917"/>
                <a:gd name="connsiteY6" fmla="*/ 863514 h 923846"/>
                <a:gd name="connsiteX7" fmla="*/ 2729170 w 3345917"/>
                <a:gd name="connsiteY7" fmla="*/ 923818 h 923846"/>
                <a:gd name="connsiteX8" fmla="*/ 2612583 w 3345917"/>
                <a:gd name="connsiteY8" fmla="*/ 855359 h 923846"/>
                <a:gd name="connsiteX9" fmla="*/ 2628603 w 3345917"/>
                <a:gd name="connsiteY9" fmla="*/ 810007 h 923846"/>
                <a:gd name="connsiteX10" fmla="*/ 2595048 w 3345917"/>
                <a:gd name="connsiteY10" fmla="*/ 777751 h 923846"/>
                <a:gd name="connsiteX11" fmla="*/ 2558592 w 3345917"/>
                <a:gd name="connsiteY11" fmla="*/ 733837 h 923846"/>
                <a:gd name="connsiteX12" fmla="*/ 2496544 w 3345917"/>
                <a:gd name="connsiteY12" fmla="*/ 693058 h 923846"/>
                <a:gd name="connsiteX13" fmla="*/ 2410824 w 3345917"/>
                <a:gd name="connsiteY13" fmla="*/ 666277 h 923846"/>
                <a:gd name="connsiteX14" fmla="*/ 2259379 w 3345917"/>
                <a:gd name="connsiteY14" fmla="*/ 642407 h 923846"/>
                <a:gd name="connsiteX15" fmla="*/ 2179825 w 3345917"/>
                <a:gd name="connsiteY15" fmla="*/ 632506 h 923846"/>
                <a:gd name="connsiteX16" fmla="*/ 2112645 w 3345917"/>
                <a:gd name="connsiteY16" fmla="*/ 658879 h 923846"/>
                <a:gd name="connsiteX17" fmla="*/ 1981534 w 3345917"/>
                <a:gd name="connsiteY17" fmla="*/ 689167 h 923846"/>
                <a:gd name="connsiteX18" fmla="*/ 1858617 w 3345917"/>
                <a:gd name="connsiteY18" fmla="*/ 705761 h 923846"/>
                <a:gd name="connsiteX19" fmla="*/ 1708106 w 3345917"/>
                <a:gd name="connsiteY19" fmla="*/ 700219 h 923846"/>
                <a:gd name="connsiteX20" fmla="*/ 1524458 w 3345917"/>
                <a:gd name="connsiteY20" fmla="*/ 684875 h 923846"/>
                <a:gd name="connsiteX21" fmla="*/ 1376197 w 3345917"/>
                <a:gd name="connsiteY21" fmla="*/ 658642 h 923846"/>
                <a:gd name="connsiteX22" fmla="*/ 1320246 w 3345917"/>
                <a:gd name="connsiteY22" fmla="*/ 617113 h 923846"/>
                <a:gd name="connsiteX23" fmla="*/ 1237591 w 3345917"/>
                <a:gd name="connsiteY23" fmla="*/ 530325 h 923846"/>
                <a:gd name="connsiteX24" fmla="*/ 1166966 w 3345917"/>
                <a:gd name="connsiteY24" fmla="*/ 461196 h 923846"/>
                <a:gd name="connsiteX25" fmla="*/ 1083618 w 3345917"/>
                <a:gd name="connsiteY25" fmla="*/ 423024 h 923846"/>
                <a:gd name="connsiteX26" fmla="*/ 952350 w 3345917"/>
                <a:gd name="connsiteY26" fmla="*/ 400364 h 923846"/>
                <a:gd name="connsiteX27" fmla="*/ 831914 w 3345917"/>
                <a:gd name="connsiteY27" fmla="*/ 363673 h 923846"/>
                <a:gd name="connsiteX28" fmla="*/ 631117 w 3345917"/>
                <a:gd name="connsiteY28" fmla="*/ 278548 h 923846"/>
                <a:gd name="connsiteX29" fmla="*/ 437036 w 3345917"/>
                <a:gd name="connsiteY29" fmla="*/ 191013 h 923846"/>
                <a:gd name="connsiteX30" fmla="*/ 255802 w 3345917"/>
                <a:gd name="connsiteY30" fmla="*/ 75796 h 923846"/>
                <a:gd name="connsiteX31" fmla="*/ 0 w 3345917"/>
                <a:gd name="connsiteY31" fmla="*/ 0 h 923846"/>
                <a:gd name="connsiteX0" fmla="*/ 3325318 w 3325318"/>
                <a:gd name="connsiteY0" fmla="*/ 835373 h 910636"/>
                <a:gd name="connsiteX1" fmla="*/ 3243127 w 3325318"/>
                <a:gd name="connsiteY1" fmla="*/ 801438 h 910636"/>
                <a:gd name="connsiteX2" fmla="*/ 3184844 w 3325318"/>
                <a:gd name="connsiteY2" fmla="*/ 787074 h 910636"/>
                <a:gd name="connsiteX3" fmla="*/ 3101054 w 3325318"/>
                <a:gd name="connsiteY3" fmla="*/ 815000 h 910636"/>
                <a:gd name="connsiteX4" fmla="*/ 2965005 w 3325318"/>
                <a:gd name="connsiteY4" fmla="*/ 855093 h 910636"/>
                <a:gd name="connsiteX5" fmla="*/ 2858605 w 3325318"/>
                <a:gd name="connsiteY5" fmla="*/ 826436 h 910636"/>
                <a:gd name="connsiteX6" fmla="*/ 2822190 w 3325318"/>
                <a:gd name="connsiteY6" fmla="*/ 850304 h 910636"/>
                <a:gd name="connsiteX7" fmla="*/ 2708571 w 3325318"/>
                <a:gd name="connsiteY7" fmla="*/ 910608 h 910636"/>
                <a:gd name="connsiteX8" fmla="*/ 2591984 w 3325318"/>
                <a:gd name="connsiteY8" fmla="*/ 842149 h 910636"/>
                <a:gd name="connsiteX9" fmla="*/ 2608004 w 3325318"/>
                <a:gd name="connsiteY9" fmla="*/ 796797 h 910636"/>
                <a:gd name="connsiteX10" fmla="*/ 2574449 w 3325318"/>
                <a:gd name="connsiteY10" fmla="*/ 764541 h 910636"/>
                <a:gd name="connsiteX11" fmla="*/ 2537993 w 3325318"/>
                <a:gd name="connsiteY11" fmla="*/ 720627 h 910636"/>
                <a:gd name="connsiteX12" fmla="*/ 2475945 w 3325318"/>
                <a:gd name="connsiteY12" fmla="*/ 679848 h 910636"/>
                <a:gd name="connsiteX13" fmla="*/ 2390225 w 3325318"/>
                <a:gd name="connsiteY13" fmla="*/ 653067 h 910636"/>
                <a:gd name="connsiteX14" fmla="*/ 2238780 w 3325318"/>
                <a:gd name="connsiteY14" fmla="*/ 629197 h 910636"/>
                <a:gd name="connsiteX15" fmla="*/ 2159226 w 3325318"/>
                <a:gd name="connsiteY15" fmla="*/ 619296 h 910636"/>
                <a:gd name="connsiteX16" fmla="*/ 2092046 w 3325318"/>
                <a:gd name="connsiteY16" fmla="*/ 645669 h 910636"/>
                <a:gd name="connsiteX17" fmla="*/ 1960935 w 3325318"/>
                <a:gd name="connsiteY17" fmla="*/ 675957 h 910636"/>
                <a:gd name="connsiteX18" fmla="*/ 1838018 w 3325318"/>
                <a:gd name="connsiteY18" fmla="*/ 692551 h 910636"/>
                <a:gd name="connsiteX19" fmla="*/ 1687507 w 3325318"/>
                <a:gd name="connsiteY19" fmla="*/ 687009 h 910636"/>
                <a:gd name="connsiteX20" fmla="*/ 1503859 w 3325318"/>
                <a:gd name="connsiteY20" fmla="*/ 671665 h 910636"/>
                <a:gd name="connsiteX21" fmla="*/ 1355598 w 3325318"/>
                <a:gd name="connsiteY21" fmla="*/ 645432 h 910636"/>
                <a:gd name="connsiteX22" fmla="*/ 1299647 w 3325318"/>
                <a:gd name="connsiteY22" fmla="*/ 603903 h 910636"/>
                <a:gd name="connsiteX23" fmla="*/ 1216992 w 3325318"/>
                <a:gd name="connsiteY23" fmla="*/ 517115 h 910636"/>
                <a:gd name="connsiteX24" fmla="*/ 1146367 w 3325318"/>
                <a:gd name="connsiteY24" fmla="*/ 447986 h 910636"/>
                <a:gd name="connsiteX25" fmla="*/ 1063019 w 3325318"/>
                <a:gd name="connsiteY25" fmla="*/ 409814 h 910636"/>
                <a:gd name="connsiteX26" fmla="*/ 931751 w 3325318"/>
                <a:gd name="connsiteY26" fmla="*/ 387154 h 910636"/>
                <a:gd name="connsiteX27" fmla="*/ 811315 w 3325318"/>
                <a:gd name="connsiteY27" fmla="*/ 350463 h 910636"/>
                <a:gd name="connsiteX28" fmla="*/ 610518 w 3325318"/>
                <a:gd name="connsiteY28" fmla="*/ 265338 h 910636"/>
                <a:gd name="connsiteX29" fmla="*/ 416437 w 3325318"/>
                <a:gd name="connsiteY29" fmla="*/ 177803 h 910636"/>
                <a:gd name="connsiteX30" fmla="*/ 235203 w 3325318"/>
                <a:gd name="connsiteY30" fmla="*/ 62586 h 910636"/>
                <a:gd name="connsiteX31" fmla="*/ 0 w 3325318"/>
                <a:gd name="connsiteY31" fmla="*/ 0 h 910636"/>
                <a:gd name="connsiteX0" fmla="*/ 3826028 w 3826028"/>
                <a:gd name="connsiteY0" fmla="*/ 981802 h 1057065"/>
                <a:gd name="connsiteX1" fmla="*/ 3743837 w 3826028"/>
                <a:gd name="connsiteY1" fmla="*/ 947867 h 1057065"/>
                <a:gd name="connsiteX2" fmla="*/ 3685554 w 3826028"/>
                <a:gd name="connsiteY2" fmla="*/ 933503 h 1057065"/>
                <a:gd name="connsiteX3" fmla="*/ 3601764 w 3826028"/>
                <a:gd name="connsiteY3" fmla="*/ 961429 h 1057065"/>
                <a:gd name="connsiteX4" fmla="*/ 3465715 w 3826028"/>
                <a:gd name="connsiteY4" fmla="*/ 1001522 h 1057065"/>
                <a:gd name="connsiteX5" fmla="*/ 3359315 w 3826028"/>
                <a:gd name="connsiteY5" fmla="*/ 972865 h 1057065"/>
                <a:gd name="connsiteX6" fmla="*/ 3322900 w 3826028"/>
                <a:gd name="connsiteY6" fmla="*/ 996733 h 1057065"/>
                <a:gd name="connsiteX7" fmla="*/ 3209281 w 3826028"/>
                <a:gd name="connsiteY7" fmla="*/ 1057037 h 1057065"/>
                <a:gd name="connsiteX8" fmla="*/ 3092694 w 3826028"/>
                <a:gd name="connsiteY8" fmla="*/ 988578 h 1057065"/>
                <a:gd name="connsiteX9" fmla="*/ 3108714 w 3826028"/>
                <a:gd name="connsiteY9" fmla="*/ 943226 h 1057065"/>
                <a:gd name="connsiteX10" fmla="*/ 3075159 w 3826028"/>
                <a:gd name="connsiteY10" fmla="*/ 910970 h 1057065"/>
                <a:gd name="connsiteX11" fmla="*/ 3038703 w 3826028"/>
                <a:gd name="connsiteY11" fmla="*/ 867056 h 1057065"/>
                <a:gd name="connsiteX12" fmla="*/ 2976655 w 3826028"/>
                <a:gd name="connsiteY12" fmla="*/ 826277 h 1057065"/>
                <a:gd name="connsiteX13" fmla="*/ 2890935 w 3826028"/>
                <a:gd name="connsiteY13" fmla="*/ 799496 h 1057065"/>
                <a:gd name="connsiteX14" fmla="*/ 2739490 w 3826028"/>
                <a:gd name="connsiteY14" fmla="*/ 775626 h 1057065"/>
                <a:gd name="connsiteX15" fmla="*/ 2659936 w 3826028"/>
                <a:gd name="connsiteY15" fmla="*/ 765725 h 1057065"/>
                <a:gd name="connsiteX16" fmla="*/ 2592756 w 3826028"/>
                <a:gd name="connsiteY16" fmla="*/ 792098 h 1057065"/>
                <a:gd name="connsiteX17" fmla="*/ 2461645 w 3826028"/>
                <a:gd name="connsiteY17" fmla="*/ 822386 h 1057065"/>
                <a:gd name="connsiteX18" fmla="*/ 2338728 w 3826028"/>
                <a:gd name="connsiteY18" fmla="*/ 838980 h 1057065"/>
                <a:gd name="connsiteX19" fmla="*/ 2188217 w 3826028"/>
                <a:gd name="connsiteY19" fmla="*/ 833438 h 1057065"/>
                <a:gd name="connsiteX20" fmla="*/ 2004569 w 3826028"/>
                <a:gd name="connsiteY20" fmla="*/ 818094 h 1057065"/>
                <a:gd name="connsiteX21" fmla="*/ 1856308 w 3826028"/>
                <a:gd name="connsiteY21" fmla="*/ 791861 h 1057065"/>
                <a:gd name="connsiteX22" fmla="*/ 1800357 w 3826028"/>
                <a:gd name="connsiteY22" fmla="*/ 750332 h 1057065"/>
                <a:gd name="connsiteX23" fmla="*/ 1717702 w 3826028"/>
                <a:gd name="connsiteY23" fmla="*/ 663544 h 1057065"/>
                <a:gd name="connsiteX24" fmla="*/ 1647077 w 3826028"/>
                <a:gd name="connsiteY24" fmla="*/ 594415 h 1057065"/>
                <a:gd name="connsiteX25" fmla="*/ 1563729 w 3826028"/>
                <a:gd name="connsiteY25" fmla="*/ 556243 h 1057065"/>
                <a:gd name="connsiteX26" fmla="*/ 1432461 w 3826028"/>
                <a:gd name="connsiteY26" fmla="*/ 533583 h 1057065"/>
                <a:gd name="connsiteX27" fmla="*/ 1312025 w 3826028"/>
                <a:gd name="connsiteY27" fmla="*/ 496892 h 1057065"/>
                <a:gd name="connsiteX28" fmla="*/ 1111228 w 3826028"/>
                <a:gd name="connsiteY28" fmla="*/ 411767 h 1057065"/>
                <a:gd name="connsiteX29" fmla="*/ 917147 w 3826028"/>
                <a:gd name="connsiteY29" fmla="*/ 324232 h 1057065"/>
                <a:gd name="connsiteX30" fmla="*/ 735913 w 3826028"/>
                <a:gd name="connsiteY30" fmla="*/ 209015 h 1057065"/>
                <a:gd name="connsiteX31" fmla="*/ 0 w 3826028"/>
                <a:gd name="connsiteY31" fmla="*/ 0 h 10570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826028" h="1057065">
                  <a:moveTo>
                    <a:pt x="3826028" y="981802"/>
                  </a:moveTo>
                  <a:cubicBezTo>
                    <a:pt x="3760822" y="972704"/>
                    <a:pt x="3767249" y="955917"/>
                    <a:pt x="3743837" y="947867"/>
                  </a:cubicBezTo>
                  <a:cubicBezTo>
                    <a:pt x="3720425" y="939817"/>
                    <a:pt x="3714366" y="939569"/>
                    <a:pt x="3685554" y="933503"/>
                  </a:cubicBezTo>
                  <a:cubicBezTo>
                    <a:pt x="3677214" y="935020"/>
                    <a:pt x="3638404" y="950093"/>
                    <a:pt x="3601764" y="961429"/>
                  </a:cubicBezTo>
                  <a:cubicBezTo>
                    <a:pt x="3565124" y="972766"/>
                    <a:pt x="3502180" y="996756"/>
                    <a:pt x="3465715" y="1001522"/>
                  </a:cubicBezTo>
                  <a:lnTo>
                    <a:pt x="3359315" y="972865"/>
                  </a:lnTo>
                  <a:cubicBezTo>
                    <a:pt x="3334368" y="969718"/>
                    <a:pt x="3347905" y="982704"/>
                    <a:pt x="3322900" y="996733"/>
                  </a:cubicBezTo>
                  <a:cubicBezTo>
                    <a:pt x="3297895" y="1010762"/>
                    <a:pt x="3247649" y="1058396"/>
                    <a:pt x="3209281" y="1057037"/>
                  </a:cubicBezTo>
                  <a:cubicBezTo>
                    <a:pt x="3170913" y="1055678"/>
                    <a:pt x="3109455" y="1007546"/>
                    <a:pt x="3092694" y="988578"/>
                  </a:cubicBezTo>
                  <a:cubicBezTo>
                    <a:pt x="3075933" y="969610"/>
                    <a:pt x="3111636" y="956161"/>
                    <a:pt x="3108714" y="943226"/>
                  </a:cubicBezTo>
                  <a:cubicBezTo>
                    <a:pt x="3105792" y="930291"/>
                    <a:pt x="3086827" y="923665"/>
                    <a:pt x="3075159" y="910970"/>
                  </a:cubicBezTo>
                  <a:cubicBezTo>
                    <a:pt x="3063491" y="898275"/>
                    <a:pt x="3055120" y="881171"/>
                    <a:pt x="3038703" y="867056"/>
                  </a:cubicBezTo>
                  <a:cubicBezTo>
                    <a:pt x="3022286" y="852941"/>
                    <a:pt x="3001283" y="837537"/>
                    <a:pt x="2976655" y="826277"/>
                  </a:cubicBezTo>
                  <a:cubicBezTo>
                    <a:pt x="2952027" y="815017"/>
                    <a:pt x="2930463" y="807938"/>
                    <a:pt x="2890935" y="799496"/>
                  </a:cubicBezTo>
                  <a:cubicBezTo>
                    <a:pt x="2851408" y="791054"/>
                    <a:pt x="2777990" y="781255"/>
                    <a:pt x="2739490" y="775626"/>
                  </a:cubicBezTo>
                  <a:cubicBezTo>
                    <a:pt x="2700990" y="769998"/>
                    <a:pt x="2684392" y="762980"/>
                    <a:pt x="2659936" y="765725"/>
                  </a:cubicBezTo>
                  <a:cubicBezTo>
                    <a:pt x="2635480" y="768470"/>
                    <a:pt x="2625805" y="782655"/>
                    <a:pt x="2592756" y="792098"/>
                  </a:cubicBezTo>
                  <a:cubicBezTo>
                    <a:pt x="2559708" y="801542"/>
                    <a:pt x="2503983" y="814572"/>
                    <a:pt x="2461645" y="822386"/>
                  </a:cubicBezTo>
                  <a:cubicBezTo>
                    <a:pt x="2419307" y="830200"/>
                    <a:pt x="2421931" y="816409"/>
                    <a:pt x="2338728" y="838980"/>
                  </a:cubicBezTo>
                  <a:cubicBezTo>
                    <a:pt x="2304419" y="850418"/>
                    <a:pt x="2243910" y="836919"/>
                    <a:pt x="2188217" y="833438"/>
                  </a:cubicBezTo>
                  <a:cubicBezTo>
                    <a:pt x="2132524" y="829957"/>
                    <a:pt x="2070007" y="824197"/>
                    <a:pt x="2004569" y="818094"/>
                  </a:cubicBezTo>
                  <a:lnTo>
                    <a:pt x="1856308" y="791861"/>
                  </a:lnTo>
                  <a:cubicBezTo>
                    <a:pt x="1845731" y="790098"/>
                    <a:pt x="1810972" y="751849"/>
                    <a:pt x="1800357" y="750332"/>
                  </a:cubicBezTo>
                  <a:cubicBezTo>
                    <a:pt x="1783175" y="731207"/>
                    <a:pt x="1743249" y="689530"/>
                    <a:pt x="1717702" y="663544"/>
                  </a:cubicBezTo>
                  <a:cubicBezTo>
                    <a:pt x="1692155" y="637558"/>
                    <a:pt x="1672739" y="612298"/>
                    <a:pt x="1647077" y="594415"/>
                  </a:cubicBezTo>
                  <a:cubicBezTo>
                    <a:pt x="1621415" y="576532"/>
                    <a:pt x="1599498" y="566382"/>
                    <a:pt x="1563729" y="556243"/>
                  </a:cubicBezTo>
                  <a:cubicBezTo>
                    <a:pt x="1527960" y="546104"/>
                    <a:pt x="1474412" y="543475"/>
                    <a:pt x="1432461" y="533583"/>
                  </a:cubicBezTo>
                  <a:cubicBezTo>
                    <a:pt x="1390510" y="523691"/>
                    <a:pt x="1365564" y="517195"/>
                    <a:pt x="1312025" y="496892"/>
                  </a:cubicBezTo>
                  <a:cubicBezTo>
                    <a:pt x="1258486" y="476589"/>
                    <a:pt x="1177041" y="440544"/>
                    <a:pt x="1111228" y="411767"/>
                  </a:cubicBezTo>
                  <a:cubicBezTo>
                    <a:pt x="1045415" y="382990"/>
                    <a:pt x="981887" y="355941"/>
                    <a:pt x="917147" y="324232"/>
                  </a:cubicBezTo>
                  <a:cubicBezTo>
                    <a:pt x="812474" y="244960"/>
                    <a:pt x="789354" y="232298"/>
                    <a:pt x="735913" y="209015"/>
                  </a:cubicBezTo>
                  <a:cubicBezTo>
                    <a:pt x="599587" y="144317"/>
                    <a:pt x="12298" y="4380"/>
                    <a:pt x="0" y="0"/>
                  </a:cubicBezTo>
                </a:path>
              </a:pathLst>
            </a:custGeom>
            <a:ln w="38100">
              <a:solidFill>
                <a:srgbClr val="C0000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8" name="TextBox 58"/>
            <p:cNvSpPr txBox="1">
              <a:spLocks noChangeArrowheads="1"/>
            </p:cNvSpPr>
            <p:nvPr/>
          </p:nvSpPr>
          <p:spPr bwMode="auto">
            <a:xfrm>
              <a:off x="5526309" y="4594306"/>
              <a:ext cx="772969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16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16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ru-RU" altLang="ru-RU" sz="1200" b="1" dirty="0">
                  <a:solidFill>
                    <a:srgbClr val="000000"/>
                  </a:solidFill>
                  <a:latin typeface="Calibri" panose="020F0502020204030204" pitchFamily="34" charset="0"/>
                  <a:cs typeface="Arial" panose="020B0604020202020204" pitchFamily="34" charset="0"/>
                </a:rPr>
                <a:t>Варшава</a:t>
              </a:r>
            </a:p>
          </p:txBody>
        </p:sp>
        <p:sp>
          <p:nvSpPr>
            <p:cNvPr id="19" name="Овал 18"/>
            <p:cNvSpPr/>
            <p:nvPr/>
          </p:nvSpPr>
          <p:spPr bwMode="auto">
            <a:xfrm>
              <a:off x="5513404" y="4733092"/>
              <a:ext cx="60483" cy="5526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20" name="Полилиния 19"/>
            <p:cNvSpPr/>
            <p:nvPr/>
          </p:nvSpPr>
          <p:spPr bwMode="auto">
            <a:xfrm>
              <a:off x="7457592" y="5492626"/>
              <a:ext cx="361174" cy="299087"/>
            </a:xfrm>
            <a:custGeom>
              <a:avLst/>
              <a:gdLst>
                <a:gd name="connsiteX0" fmla="*/ 76744 w 938992"/>
                <a:gd name="connsiteY0" fmla="*/ 0 h 771851"/>
                <a:gd name="connsiteX1" fmla="*/ 69790 w 938992"/>
                <a:gd name="connsiteY1" fmla="*/ 31291 h 771851"/>
                <a:gd name="connsiteX2" fmla="*/ 62836 w 938992"/>
                <a:gd name="connsiteY2" fmla="*/ 45198 h 771851"/>
                <a:gd name="connsiteX3" fmla="*/ 41976 w 938992"/>
                <a:gd name="connsiteY3" fmla="*/ 66059 h 771851"/>
                <a:gd name="connsiteX4" fmla="*/ 21115 w 938992"/>
                <a:gd name="connsiteY4" fmla="*/ 100827 h 771851"/>
                <a:gd name="connsiteX5" fmla="*/ 14161 w 938992"/>
                <a:gd name="connsiteY5" fmla="*/ 111258 h 771851"/>
                <a:gd name="connsiteX6" fmla="*/ 10684 w 938992"/>
                <a:gd name="connsiteY6" fmla="*/ 121688 h 771851"/>
                <a:gd name="connsiteX7" fmla="*/ 3731 w 938992"/>
                <a:gd name="connsiteY7" fmla="*/ 146026 h 771851"/>
                <a:gd name="connsiteX8" fmla="*/ 3731 w 938992"/>
                <a:gd name="connsiteY8" fmla="*/ 215562 h 771851"/>
                <a:gd name="connsiteX9" fmla="*/ 21115 w 938992"/>
                <a:gd name="connsiteY9" fmla="*/ 236423 h 771851"/>
                <a:gd name="connsiteX10" fmla="*/ 38499 w 938992"/>
                <a:gd name="connsiteY10" fmla="*/ 260760 h 771851"/>
                <a:gd name="connsiteX11" fmla="*/ 45452 w 938992"/>
                <a:gd name="connsiteY11" fmla="*/ 271191 h 771851"/>
                <a:gd name="connsiteX12" fmla="*/ 69790 w 938992"/>
                <a:gd name="connsiteY12" fmla="*/ 285098 h 771851"/>
                <a:gd name="connsiteX13" fmla="*/ 83697 w 938992"/>
                <a:gd name="connsiteY13" fmla="*/ 299005 h 771851"/>
                <a:gd name="connsiteX14" fmla="*/ 111512 w 938992"/>
                <a:gd name="connsiteY14" fmla="*/ 319866 h 771851"/>
                <a:gd name="connsiteX15" fmla="*/ 125419 w 938992"/>
                <a:gd name="connsiteY15" fmla="*/ 326820 h 771851"/>
                <a:gd name="connsiteX16" fmla="*/ 135849 w 938992"/>
                <a:gd name="connsiteY16" fmla="*/ 337250 h 771851"/>
                <a:gd name="connsiteX17" fmla="*/ 156710 w 938992"/>
                <a:gd name="connsiteY17" fmla="*/ 347681 h 771851"/>
                <a:gd name="connsiteX18" fmla="*/ 163664 w 938992"/>
                <a:gd name="connsiteY18" fmla="*/ 358111 h 771851"/>
                <a:gd name="connsiteX19" fmla="*/ 184525 w 938992"/>
                <a:gd name="connsiteY19" fmla="*/ 368541 h 771851"/>
                <a:gd name="connsiteX20" fmla="*/ 208862 w 938992"/>
                <a:gd name="connsiteY20" fmla="*/ 389402 h 771851"/>
                <a:gd name="connsiteX21" fmla="*/ 219293 w 938992"/>
                <a:gd name="connsiteY21" fmla="*/ 392879 h 771851"/>
                <a:gd name="connsiteX22" fmla="*/ 226246 w 938992"/>
                <a:gd name="connsiteY22" fmla="*/ 403309 h 771851"/>
                <a:gd name="connsiteX23" fmla="*/ 247107 w 938992"/>
                <a:gd name="connsiteY23" fmla="*/ 410263 h 771851"/>
                <a:gd name="connsiteX24" fmla="*/ 281875 w 938992"/>
                <a:gd name="connsiteY24" fmla="*/ 417217 h 771851"/>
                <a:gd name="connsiteX25" fmla="*/ 306213 w 938992"/>
                <a:gd name="connsiteY25" fmla="*/ 424170 h 771851"/>
                <a:gd name="connsiteX26" fmla="*/ 354888 w 938992"/>
                <a:gd name="connsiteY26" fmla="*/ 434601 h 771851"/>
                <a:gd name="connsiteX27" fmla="*/ 375749 w 938992"/>
                <a:gd name="connsiteY27" fmla="*/ 441554 h 771851"/>
                <a:gd name="connsiteX28" fmla="*/ 386179 w 938992"/>
                <a:gd name="connsiteY28" fmla="*/ 448508 h 771851"/>
                <a:gd name="connsiteX29" fmla="*/ 396610 w 938992"/>
                <a:gd name="connsiteY29" fmla="*/ 451985 h 771851"/>
                <a:gd name="connsiteX30" fmla="*/ 417471 w 938992"/>
                <a:gd name="connsiteY30" fmla="*/ 469369 h 771851"/>
                <a:gd name="connsiteX31" fmla="*/ 448762 w 938992"/>
                <a:gd name="connsiteY31" fmla="*/ 493706 h 771851"/>
                <a:gd name="connsiteX32" fmla="*/ 473100 w 938992"/>
                <a:gd name="connsiteY32" fmla="*/ 500660 h 771851"/>
                <a:gd name="connsiteX33" fmla="*/ 483530 w 938992"/>
                <a:gd name="connsiteY33" fmla="*/ 507614 h 771851"/>
                <a:gd name="connsiteX34" fmla="*/ 500914 w 938992"/>
                <a:gd name="connsiteY34" fmla="*/ 511090 h 771851"/>
                <a:gd name="connsiteX35" fmla="*/ 514821 w 938992"/>
                <a:gd name="connsiteY35" fmla="*/ 514567 h 771851"/>
                <a:gd name="connsiteX36" fmla="*/ 535682 w 938992"/>
                <a:gd name="connsiteY36" fmla="*/ 521521 h 771851"/>
                <a:gd name="connsiteX37" fmla="*/ 573927 w 938992"/>
                <a:gd name="connsiteY37" fmla="*/ 528474 h 771851"/>
                <a:gd name="connsiteX38" fmla="*/ 594788 w 938992"/>
                <a:gd name="connsiteY38" fmla="*/ 535428 h 771851"/>
                <a:gd name="connsiteX39" fmla="*/ 605218 w 938992"/>
                <a:gd name="connsiteY39" fmla="*/ 542382 h 771851"/>
                <a:gd name="connsiteX40" fmla="*/ 639986 w 938992"/>
                <a:gd name="connsiteY40" fmla="*/ 566719 h 771851"/>
                <a:gd name="connsiteX41" fmla="*/ 664324 w 938992"/>
                <a:gd name="connsiteY41" fmla="*/ 584103 h 771851"/>
                <a:gd name="connsiteX42" fmla="*/ 678231 w 938992"/>
                <a:gd name="connsiteY42" fmla="*/ 598011 h 771851"/>
                <a:gd name="connsiteX43" fmla="*/ 702569 w 938992"/>
                <a:gd name="connsiteY43" fmla="*/ 615395 h 771851"/>
                <a:gd name="connsiteX44" fmla="*/ 723430 w 938992"/>
                <a:gd name="connsiteY44" fmla="*/ 632779 h 771851"/>
                <a:gd name="connsiteX45" fmla="*/ 751244 w 938992"/>
                <a:gd name="connsiteY45" fmla="*/ 664070 h 771851"/>
                <a:gd name="connsiteX46" fmla="*/ 772105 w 938992"/>
                <a:gd name="connsiteY46" fmla="*/ 677977 h 771851"/>
                <a:gd name="connsiteX47" fmla="*/ 779059 w 938992"/>
                <a:gd name="connsiteY47" fmla="*/ 688408 h 771851"/>
                <a:gd name="connsiteX48" fmla="*/ 799919 w 938992"/>
                <a:gd name="connsiteY48" fmla="*/ 698838 h 771851"/>
                <a:gd name="connsiteX49" fmla="*/ 831211 w 938992"/>
                <a:gd name="connsiteY49" fmla="*/ 723176 h 771851"/>
                <a:gd name="connsiteX50" fmla="*/ 841641 w 938992"/>
                <a:gd name="connsiteY50" fmla="*/ 726652 h 771851"/>
                <a:gd name="connsiteX51" fmla="*/ 869455 w 938992"/>
                <a:gd name="connsiteY51" fmla="*/ 740560 h 771851"/>
                <a:gd name="connsiteX52" fmla="*/ 890316 w 938992"/>
                <a:gd name="connsiteY52" fmla="*/ 747513 h 771851"/>
                <a:gd name="connsiteX53" fmla="*/ 911177 w 938992"/>
                <a:gd name="connsiteY53" fmla="*/ 761420 h 771851"/>
                <a:gd name="connsiteX54" fmla="*/ 932038 w 938992"/>
                <a:gd name="connsiteY54" fmla="*/ 768374 h 771851"/>
                <a:gd name="connsiteX55" fmla="*/ 938992 w 938992"/>
                <a:gd name="connsiteY55" fmla="*/ 771851 h 771851"/>
                <a:gd name="connsiteX0" fmla="*/ 76457 w 938705"/>
                <a:gd name="connsiteY0" fmla="*/ 0 h 771851"/>
                <a:gd name="connsiteX1" fmla="*/ 69503 w 938705"/>
                <a:gd name="connsiteY1" fmla="*/ 31291 h 771851"/>
                <a:gd name="connsiteX2" fmla="*/ 62549 w 938705"/>
                <a:gd name="connsiteY2" fmla="*/ 45198 h 771851"/>
                <a:gd name="connsiteX3" fmla="*/ 41689 w 938705"/>
                <a:gd name="connsiteY3" fmla="*/ 66059 h 771851"/>
                <a:gd name="connsiteX4" fmla="*/ 20828 w 938705"/>
                <a:gd name="connsiteY4" fmla="*/ 100827 h 771851"/>
                <a:gd name="connsiteX5" fmla="*/ 13874 w 938705"/>
                <a:gd name="connsiteY5" fmla="*/ 111258 h 771851"/>
                <a:gd name="connsiteX6" fmla="*/ 10397 w 938705"/>
                <a:gd name="connsiteY6" fmla="*/ 121688 h 771851"/>
                <a:gd name="connsiteX7" fmla="*/ 3444 w 938705"/>
                <a:gd name="connsiteY7" fmla="*/ 146026 h 771851"/>
                <a:gd name="connsiteX8" fmla="*/ 3444 w 938705"/>
                <a:gd name="connsiteY8" fmla="*/ 215562 h 771851"/>
                <a:gd name="connsiteX9" fmla="*/ 38212 w 938705"/>
                <a:gd name="connsiteY9" fmla="*/ 260760 h 771851"/>
                <a:gd name="connsiteX10" fmla="*/ 45165 w 938705"/>
                <a:gd name="connsiteY10" fmla="*/ 271191 h 771851"/>
                <a:gd name="connsiteX11" fmla="*/ 69503 w 938705"/>
                <a:gd name="connsiteY11" fmla="*/ 285098 h 771851"/>
                <a:gd name="connsiteX12" fmla="*/ 83410 w 938705"/>
                <a:gd name="connsiteY12" fmla="*/ 299005 h 771851"/>
                <a:gd name="connsiteX13" fmla="*/ 111225 w 938705"/>
                <a:gd name="connsiteY13" fmla="*/ 319866 h 771851"/>
                <a:gd name="connsiteX14" fmla="*/ 125132 w 938705"/>
                <a:gd name="connsiteY14" fmla="*/ 326820 h 771851"/>
                <a:gd name="connsiteX15" fmla="*/ 135562 w 938705"/>
                <a:gd name="connsiteY15" fmla="*/ 337250 h 771851"/>
                <a:gd name="connsiteX16" fmla="*/ 156423 w 938705"/>
                <a:gd name="connsiteY16" fmla="*/ 347681 h 771851"/>
                <a:gd name="connsiteX17" fmla="*/ 163377 w 938705"/>
                <a:gd name="connsiteY17" fmla="*/ 358111 h 771851"/>
                <a:gd name="connsiteX18" fmla="*/ 184238 w 938705"/>
                <a:gd name="connsiteY18" fmla="*/ 368541 h 771851"/>
                <a:gd name="connsiteX19" fmla="*/ 208575 w 938705"/>
                <a:gd name="connsiteY19" fmla="*/ 389402 h 771851"/>
                <a:gd name="connsiteX20" fmla="*/ 219006 w 938705"/>
                <a:gd name="connsiteY20" fmla="*/ 392879 h 771851"/>
                <a:gd name="connsiteX21" fmla="*/ 225959 w 938705"/>
                <a:gd name="connsiteY21" fmla="*/ 403309 h 771851"/>
                <a:gd name="connsiteX22" fmla="*/ 246820 w 938705"/>
                <a:gd name="connsiteY22" fmla="*/ 410263 h 771851"/>
                <a:gd name="connsiteX23" fmla="*/ 281588 w 938705"/>
                <a:gd name="connsiteY23" fmla="*/ 417217 h 771851"/>
                <a:gd name="connsiteX24" fmla="*/ 305926 w 938705"/>
                <a:gd name="connsiteY24" fmla="*/ 424170 h 771851"/>
                <a:gd name="connsiteX25" fmla="*/ 354601 w 938705"/>
                <a:gd name="connsiteY25" fmla="*/ 434601 h 771851"/>
                <a:gd name="connsiteX26" fmla="*/ 375462 w 938705"/>
                <a:gd name="connsiteY26" fmla="*/ 441554 h 771851"/>
                <a:gd name="connsiteX27" fmla="*/ 385892 w 938705"/>
                <a:gd name="connsiteY27" fmla="*/ 448508 h 771851"/>
                <a:gd name="connsiteX28" fmla="*/ 396323 w 938705"/>
                <a:gd name="connsiteY28" fmla="*/ 451985 h 771851"/>
                <a:gd name="connsiteX29" fmla="*/ 417184 w 938705"/>
                <a:gd name="connsiteY29" fmla="*/ 469369 h 771851"/>
                <a:gd name="connsiteX30" fmla="*/ 448475 w 938705"/>
                <a:gd name="connsiteY30" fmla="*/ 493706 h 771851"/>
                <a:gd name="connsiteX31" fmla="*/ 472813 w 938705"/>
                <a:gd name="connsiteY31" fmla="*/ 500660 h 771851"/>
                <a:gd name="connsiteX32" fmla="*/ 483243 w 938705"/>
                <a:gd name="connsiteY32" fmla="*/ 507614 h 771851"/>
                <a:gd name="connsiteX33" fmla="*/ 500627 w 938705"/>
                <a:gd name="connsiteY33" fmla="*/ 511090 h 771851"/>
                <a:gd name="connsiteX34" fmla="*/ 514534 w 938705"/>
                <a:gd name="connsiteY34" fmla="*/ 514567 h 771851"/>
                <a:gd name="connsiteX35" fmla="*/ 535395 w 938705"/>
                <a:gd name="connsiteY35" fmla="*/ 521521 h 771851"/>
                <a:gd name="connsiteX36" fmla="*/ 573640 w 938705"/>
                <a:gd name="connsiteY36" fmla="*/ 528474 h 771851"/>
                <a:gd name="connsiteX37" fmla="*/ 594501 w 938705"/>
                <a:gd name="connsiteY37" fmla="*/ 535428 h 771851"/>
                <a:gd name="connsiteX38" fmla="*/ 604931 w 938705"/>
                <a:gd name="connsiteY38" fmla="*/ 542382 h 771851"/>
                <a:gd name="connsiteX39" fmla="*/ 639699 w 938705"/>
                <a:gd name="connsiteY39" fmla="*/ 566719 h 771851"/>
                <a:gd name="connsiteX40" fmla="*/ 664037 w 938705"/>
                <a:gd name="connsiteY40" fmla="*/ 584103 h 771851"/>
                <a:gd name="connsiteX41" fmla="*/ 677944 w 938705"/>
                <a:gd name="connsiteY41" fmla="*/ 598011 h 771851"/>
                <a:gd name="connsiteX42" fmla="*/ 702282 w 938705"/>
                <a:gd name="connsiteY42" fmla="*/ 615395 h 771851"/>
                <a:gd name="connsiteX43" fmla="*/ 723143 w 938705"/>
                <a:gd name="connsiteY43" fmla="*/ 632779 h 771851"/>
                <a:gd name="connsiteX44" fmla="*/ 750957 w 938705"/>
                <a:gd name="connsiteY44" fmla="*/ 664070 h 771851"/>
                <a:gd name="connsiteX45" fmla="*/ 771818 w 938705"/>
                <a:gd name="connsiteY45" fmla="*/ 677977 h 771851"/>
                <a:gd name="connsiteX46" fmla="*/ 778772 w 938705"/>
                <a:gd name="connsiteY46" fmla="*/ 688408 h 771851"/>
                <a:gd name="connsiteX47" fmla="*/ 799632 w 938705"/>
                <a:gd name="connsiteY47" fmla="*/ 698838 h 771851"/>
                <a:gd name="connsiteX48" fmla="*/ 830924 w 938705"/>
                <a:gd name="connsiteY48" fmla="*/ 723176 h 771851"/>
                <a:gd name="connsiteX49" fmla="*/ 841354 w 938705"/>
                <a:gd name="connsiteY49" fmla="*/ 726652 h 771851"/>
                <a:gd name="connsiteX50" fmla="*/ 869168 w 938705"/>
                <a:gd name="connsiteY50" fmla="*/ 740560 h 771851"/>
                <a:gd name="connsiteX51" fmla="*/ 890029 w 938705"/>
                <a:gd name="connsiteY51" fmla="*/ 747513 h 771851"/>
                <a:gd name="connsiteX52" fmla="*/ 910890 w 938705"/>
                <a:gd name="connsiteY52" fmla="*/ 761420 h 771851"/>
                <a:gd name="connsiteX53" fmla="*/ 931751 w 938705"/>
                <a:gd name="connsiteY53" fmla="*/ 768374 h 771851"/>
                <a:gd name="connsiteX54" fmla="*/ 938705 w 938705"/>
                <a:gd name="connsiteY54" fmla="*/ 771851 h 771851"/>
                <a:gd name="connsiteX0" fmla="*/ 76457 w 938705"/>
                <a:gd name="connsiteY0" fmla="*/ 0 h 771851"/>
                <a:gd name="connsiteX1" fmla="*/ 69503 w 938705"/>
                <a:gd name="connsiteY1" fmla="*/ 31291 h 771851"/>
                <a:gd name="connsiteX2" fmla="*/ 62549 w 938705"/>
                <a:gd name="connsiteY2" fmla="*/ 45198 h 771851"/>
                <a:gd name="connsiteX3" fmla="*/ 41689 w 938705"/>
                <a:gd name="connsiteY3" fmla="*/ 66059 h 771851"/>
                <a:gd name="connsiteX4" fmla="*/ 20828 w 938705"/>
                <a:gd name="connsiteY4" fmla="*/ 100827 h 771851"/>
                <a:gd name="connsiteX5" fmla="*/ 13874 w 938705"/>
                <a:gd name="connsiteY5" fmla="*/ 111258 h 771851"/>
                <a:gd name="connsiteX6" fmla="*/ 10397 w 938705"/>
                <a:gd name="connsiteY6" fmla="*/ 121688 h 771851"/>
                <a:gd name="connsiteX7" fmla="*/ 3444 w 938705"/>
                <a:gd name="connsiteY7" fmla="*/ 146026 h 771851"/>
                <a:gd name="connsiteX8" fmla="*/ 3444 w 938705"/>
                <a:gd name="connsiteY8" fmla="*/ 215562 h 771851"/>
                <a:gd name="connsiteX9" fmla="*/ 38212 w 938705"/>
                <a:gd name="connsiteY9" fmla="*/ 260760 h 771851"/>
                <a:gd name="connsiteX10" fmla="*/ 45165 w 938705"/>
                <a:gd name="connsiteY10" fmla="*/ 271191 h 771851"/>
                <a:gd name="connsiteX11" fmla="*/ 69503 w 938705"/>
                <a:gd name="connsiteY11" fmla="*/ 285098 h 771851"/>
                <a:gd name="connsiteX12" fmla="*/ 83410 w 938705"/>
                <a:gd name="connsiteY12" fmla="*/ 299005 h 771851"/>
                <a:gd name="connsiteX13" fmla="*/ 111225 w 938705"/>
                <a:gd name="connsiteY13" fmla="*/ 319866 h 771851"/>
                <a:gd name="connsiteX14" fmla="*/ 125132 w 938705"/>
                <a:gd name="connsiteY14" fmla="*/ 326820 h 771851"/>
                <a:gd name="connsiteX15" fmla="*/ 135562 w 938705"/>
                <a:gd name="connsiteY15" fmla="*/ 337250 h 771851"/>
                <a:gd name="connsiteX16" fmla="*/ 156423 w 938705"/>
                <a:gd name="connsiteY16" fmla="*/ 347681 h 771851"/>
                <a:gd name="connsiteX17" fmla="*/ 163377 w 938705"/>
                <a:gd name="connsiteY17" fmla="*/ 358111 h 771851"/>
                <a:gd name="connsiteX18" fmla="*/ 184238 w 938705"/>
                <a:gd name="connsiteY18" fmla="*/ 368541 h 771851"/>
                <a:gd name="connsiteX19" fmla="*/ 208575 w 938705"/>
                <a:gd name="connsiteY19" fmla="*/ 389402 h 771851"/>
                <a:gd name="connsiteX20" fmla="*/ 225959 w 938705"/>
                <a:gd name="connsiteY20" fmla="*/ 403309 h 771851"/>
                <a:gd name="connsiteX21" fmla="*/ 246820 w 938705"/>
                <a:gd name="connsiteY21" fmla="*/ 410263 h 771851"/>
                <a:gd name="connsiteX22" fmla="*/ 281588 w 938705"/>
                <a:gd name="connsiteY22" fmla="*/ 417217 h 771851"/>
                <a:gd name="connsiteX23" fmla="*/ 305926 w 938705"/>
                <a:gd name="connsiteY23" fmla="*/ 424170 h 771851"/>
                <a:gd name="connsiteX24" fmla="*/ 354601 w 938705"/>
                <a:gd name="connsiteY24" fmla="*/ 434601 h 771851"/>
                <a:gd name="connsiteX25" fmla="*/ 375462 w 938705"/>
                <a:gd name="connsiteY25" fmla="*/ 441554 h 771851"/>
                <a:gd name="connsiteX26" fmla="*/ 385892 w 938705"/>
                <a:gd name="connsiteY26" fmla="*/ 448508 h 771851"/>
                <a:gd name="connsiteX27" fmla="*/ 396323 w 938705"/>
                <a:gd name="connsiteY27" fmla="*/ 451985 h 771851"/>
                <a:gd name="connsiteX28" fmla="*/ 417184 w 938705"/>
                <a:gd name="connsiteY28" fmla="*/ 469369 h 771851"/>
                <a:gd name="connsiteX29" fmla="*/ 448475 w 938705"/>
                <a:gd name="connsiteY29" fmla="*/ 493706 h 771851"/>
                <a:gd name="connsiteX30" fmla="*/ 472813 w 938705"/>
                <a:gd name="connsiteY30" fmla="*/ 500660 h 771851"/>
                <a:gd name="connsiteX31" fmla="*/ 483243 w 938705"/>
                <a:gd name="connsiteY31" fmla="*/ 507614 h 771851"/>
                <a:gd name="connsiteX32" fmla="*/ 500627 w 938705"/>
                <a:gd name="connsiteY32" fmla="*/ 511090 h 771851"/>
                <a:gd name="connsiteX33" fmla="*/ 514534 w 938705"/>
                <a:gd name="connsiteY33" fmla="*/ 514567 h 771851"/>
                <a:gd name="connsiteX34" fmla="*/ 535395 w 938705"/>
                <a:gd name="connsiteY34" fmla="*/ 521521 h 771851"/>
                <a:gd name="connsiteX35" fmla="*/ 573640 w 938705"/>
                <a:gd name="connsiteY35" fmla="*/ 528474 h 771851"/>
                <a:gd name="connsiteX36" fmla="*/ 594501 w 938705"/>
                <a:gd name="connsiteY36" fmla="*/ 535428 h 771851"/>
                <a:gd name="connsiteX37" fmla="*/ 604931 w 938705"/>
                <a:gd name="connsiteY37" fmla="*/ 542382 h 771851"/>
                <a:gd name="connsiteX38" fmla="*/ 639699 w 938705"/>
                <a:gd name="connsiteY38" fmla="*/ 566719 h 771851"/>
                <a:gd name="connsiteX39" fmla="*/ 664037 w 938705"/>
                <a:gd name="connsiteY39" fmla="*/ 584103 h 771851"/>
                <a:gd name="connsiteX40" fmla="*/ 677944 w 938705"/>
                <a:gd name="connsiteY40" fmla="*/ 598011 h 771851"/>
                <a:gd name="connsiteX41" fmla="*/ 702282 w 938705"/>
                <a:gd name="connsiteY41" fmla="*/ 615395 h 771851"/>
                <a:gd name="connsiteX42" fmla="*/ 723143 w 938705"/>
                <a:gd name="connsiteY42" fmla="*/ 632779 h 771851"/>
                <a:gd name="connsiteX43" fmla="*/ 750957 w 938705"/>
                <a:gd name="connsiteY43" fmla="*/ 664070 h 771851"/>
                <a:gd name="connsiteX44" fmla="*/ 771818 w 938705"/>
                <a:gd name="connsiteY44" fmla="*/ 677977 h 771851"/>
                <a:gd name="connsiteX45" fmla="*/ 778772 w 938705"/>
                <a:gd name="connsiteY45" fmla="*/ 688408 h 771851"/>
                <a:gd name="connsiteX46" fmla="*/ 799632 w 938705"/>
                <a:gd name="connsiteY46" fmla="*/ 698838 h 771851"/>
                <a:gd name="connsiteX47" fmla="*/ 830924 w 938705"/>
                <a:gd name="connsiteY47" fmla="*/ 723176 h 771851"/>
                <a:gd name="connsiteX48" fmla="*/ 841354 w 938705"/>
                <a:gd name="connsiteY48" fmla="*/ 726652 h 771851"/>
                <a:gd name="connsiteX49" fmla="*/ 869168 w 938705"/>
                <a:gd name="connsiteY49" fmla="*/ 740560 h 771851"/>
                <a:gd name="connsiteX50" fmla="*/ 890029 w 938705"/>
                <a:gd name="connsiteY50" fmla="*/ 747513 h 771851"/>
                <a:gd name="connsiteX51" fmla="*/ 910890 w 938705"/>
                <a:gd name="connsiteY51" fmla="*/ 761420 h 771851"/>
                <a:gd name="connsiteX52" fmla="*/ 931751 w 938705"/>
                <a:gd name="connsiteY52" fmla="*/ 768374 h 771851"/>
                <a:gd name="connsiteX53" fmla="*/ 938705 w 938705"/>
                <a:gd name="connsiteY53" fmla="*/ 771851 h 771851"/>
                <a:gd name="connsiteX0" fmla="*/ 76457 w 938705"/>
                <a:gd name="connsiteY0" fmla="*/ 0 h 771851"/>
                <a:gd name="connsiteX1" fmla="*/ 69503 w 938705"/>
                <a:gd name="connsiteY1" fmla="*/ 31291 h 771851"/>
                <a:gd name="connsiteX2" fmla="*/ 62549 w 938705"/>
                <a:gd name="connsiteY2" fmla="*/ 45198 h 771851"/>
                <a:gd name="connsiteX3" fmla="*/ 41689 w 938705"/>
                <a:gd name="connsiteY3" fmla="*/ 66059 h 771851"/>
                <a:gd name="connsiteX4" fmla="*/ 20828 w 938705"/>
                <a:gd name="connsiteY4" fmla="*/ 100827 h 771851"/>
                <a:gd name="connsiteX5" fmla="*/ 13874 w 938705"/>
                <a:gd name="connsiteY5" fmla="*/ 111258 h 771851"/>
                <a:gd name="connsiteX6" fmla="*/ 10397 w 938705"/>
                <a:gd name="connsiteY6" fmla="*/ 121688 h 771851"/>
                <a:gd name="connsiteX7" fmla="*/ 3444 w 938705"/>
                <a:gd name="connsiteY7" fmla="*/ 146026 h 771851"/>
                <a:gd name="connsiteX8" fmla="*/ 3444 w 938705"/>
                <a:gd name="connsiteY8" fmla="*/ 215562 h 771851"/>
                <a:gd name="connsiteX9" fmla="*/ 38212 w 938705"/>
                <a:gd name="connsiteY9" fmla="*/ 260760 h 771851"/>
                <a:gd name="connsiteX10" fmla="*/ 45165 w 938705"/>
                <a:gd name="connsiteY10" fmla="*/ 271191 h 771851"/>
                <a:gd name="connsiteX11" fmla="*/ 69503 w 938705"/>
                <a:gd name="connsiteY11" fmla="*/ 285098 h 771851"/>
                <a:gd name="connsiteX12" fmla="*/ 83410 w 938705"/>
                <a:gd name="connsiteY12" fmla="*/ 299005 h 771851"/>
                <a:gd name="connsiteX13" fmla="*/ 111225 w 938705"/>
                <a:gd name="connsiteY13" fmla="*/ 319866 h 771851"/>
                <a:gd name="connsiteX14" fmla="*/ 125132 w 938705"/>
                <a:gd name="connsiteY14" fmla="*/ 326820 h 771851"/>
                <a:gd name="connsiteX15" fmla="*/ 135562 w 938705"/>
                <a:gd name="connsiteY15" fmla="*/ 337250 h 771851"/>
                <a:gd name="connsiteX16" fmla="*/ 156423 w 938705"/>
                <a:gd name="connsiteY16" fmla="*/ 347681 h 771851"/>
                <a:gd name="connsiteX17" fmla="*/ 163377 w 938705"/>
                <a:gd name="connsiteY17" fmla="*/ 358111 h 771851"/>
                <a:gd name="connsiteX18" fmla="*/ 184238 w 938705"/>
                <a:gd name="connsiteY18" fmla="*/ 368541 h 771851"/>
                <a:gd name="connsiteX19" fmla="*/ 208575 w 938705"/>
                <a:gd name="connsiteY19" fmla="*/ 389402 h 771851"/>
                <a:gd name="connsiteX20" fmla="*/ 225959 w 938705"/>
                <a:gd name="connsiteY20" fmla="*/ 403309 h 771851"/>
                <a:gd name="connsiteX21" fmla="*/ 281588 w 938705"/>
                <a:gd name="connsiteY21" fmla="*/ 417217 h 771851"/>
                <a:gd name="connsiteX22" fmla="*/ 305926 w 938705"/>
                <a:gd name="connsiteY22" fmla="*/ 424170 h 771851"/>
                <a:gd name="connsiteX23" fmla="*/ 354601 w 938705"/>
                <a:gd name="connsiteY23" fmla="*/ 434601 h 771851"/>
                <a:gd name="connsiteX24" fmla="*/ 375462 w 938705"/>
                <a:gd name="connsiteY24" fmla="*/ 441554 h 771851"/>
                <a:gd name="connsiteX25" fmla="*/ 385892 w 938705"/>
                <a:gd name="connsiteY25" fmla="*/ 448508 h 771851"/>
                <a:gd name="connsiteX26" fmla="*/ 396323 w 938705"/>
                <a:gd name="connsiteY26" fmla="*/ 451985 h 771851"/>
                <a:gd name="connsiteX27" fmla="*/ 417184 w 938705"/>
                <a:gd name="connsiteY27" fmla="*/ 469369 h 771851"/>
                <a:gd name="connsiteX28" fmla="*/ 448475 w 938705"/>
                <a:gd name="connsiteY28" fmla="*/ 493706 h 771851"/>
                <a:gd name="connsiteX29" fmla="*/ 472813 w 938705"/>
                <a:gd name="connsiteY29" fmla="*/ 500660 h 771851"/>
                <a:gd name="connsiteX30" fmla="*/ 483243 w 938705"/>
                <a:gd name="connsiteY30" fmla="*/ 507614 h 771851"/>
                <a:gd name="connsiteX31" fmla="*/ 500627 w 938705"/>
                <a:gd name="connsiteY31" fmla="*/ 511090 h 771851"/>
                <a:gd name="connsiteX32" fmla="*/ 514534 w 938705"/>
                <a:gd name="connsiteY32" fmla="*/ 514567 h 771851"/>
                <a:gd name="connsiteX33" fmla="*/ 535395 w 938705"/>
                <a:gd name="connsiteY33" fmla="*/ 521521 h 771851"/>
                <a:gd name="connsiteX34" fmla="*/ 573640 w 938705"/>
                <a:gd name="connsiteY34" fmla="*/ 528474 h 771851"/>
                <a:gd name="connsiteX35" fmla="*/ 594501 w 938705"/>
                <a:gd name="connsiteY35" fmla="*/ 535428 h 771851"/>
                <a:gd name="connsiteX36" fmla="*/ 604931 w 938705"/>
                <a:gd name="connsiteY36" fmla="*/ 542382 h 771851"/>
                <a:gd name="connsiteX37" fmla="*/ 639699 w 938705"/>
                <a:gd name="connsiteY37" fmla="*/ 566719 h 771851"/>
                <a:gd name="connsiteX38" fmla="*/ 664037 w 938705"/>
                <a:gd name="connsiteY38" fmla="*/ 584103 h 771851"/>
                <a:gd name="connsiteX39" fmla="*/ 677944 w 938705"/>
                <a:gd name="connsiteY39" fmla="*/ 598011 h 771851"/>
                <a:gd name="connsiteX40" fmla="*/ 702282 w 938705"/>
                <a:gd name="connsiteY40" fmla="*/ 615395 h 771851"/>
                <a:gd name="connsiteX41" fmla="*/ 723143 w 938705"/>
                <a:gd name="connsiteY41" fmla="*/ 632779 h 771851"/>
                <a:gd name="connsiteX42" fmla="*/ 750957 w 938705"/>
                <a:gd name="connsiteY42" fmla="*/ 664070 h 771851"/>
                <a:gd name="connsiteX43" fmla="*/ 771818 w 938705"/>
                <a:gd name="connsiteY43" fmla="*/ 677977 h 771851"/>
                <a:gd name="connsiteX44" fmla="*/ 778772 w 938705"/>
                <a:gd name="connsiteY44" fmla="*/ 688408 h 771851"/>
                <a:gd name="connsiteX45" fmla="*/ 799632 w 938705"/>
                <a:gd name="connsiteY45" fmla="*/ 698838 h 771851"/>
                <a:gd name="connsiteX46" fmla="*/ 830924 w 938705"/>
                <a:gd name="connsiteY46" fmla="*/ 723176 h 771851"/>
                <a:gd name="connsiteX47" fmla="*/ 841354 w 938705"/>
                <a:gd name="connsiteY47" fmla="*/ 726652 h 771851"/>
                <a:gd name="connsiteX48" fmla="*/ 869168 w 938705"/>
                <a:gd name="connsiteY48" fmla="*/ 740560 h 771851"/>
                <a:gd name="connsiteX49" fmla="*/ 890029 w 938705"/>
                <a:gd name="connsiteY49" fmla="*/ 747513 h 771851"/>
                <a:gd name="connsiteX50" fmla="*/ 910890 w 938705"/>
                <a:gd name="connsiteY50" fmla="*/ 761420 h 771851"/>
                <a:gd name="connsiteX51" fmla="*/ 931751 w 938705"/>
                <a:gd name="connsiteY51" fmla="*/ 768374 h 771851"/>
                <a:gd name="connsiteX52" fmla="*/ 938705 w 938705"/>
                <a:gd name="connsiteY52" fmla="*/ 771851 h 771851"/>
                <a:gd name="connsiteX0" fmla="*/ 76457 w 938705"/>
                <a:gd name="connsiteY0" fmla="*/ 0 h 771851"/>
                <a:gd name="connsiteX1" fmla="*/ 69503 w 938705"/>
                <a:gd name="connsiteY1" fmla="*/ 31291 h 771851"/>
                <a:gd name="connsiteX2" fmla="*/ 62549 w 938705"/>
                <a:gd name="connsiteY2" fmla="*/ 45198 h 771851"/>
                <a:gd name="connsiteX3" fmla="*/ 41689 w 938705"/>
                <a:gd name="connsiteY3" fmla="*/ 66059 h 771851"/>
                <a:gd name="connsiteX4" fmla="*/ 20828 w 938705"/>
                <a:gd name="connsiteY4" fmla="*/ 100827 h 771851"/>
                <a:gd name="connsiteX5" fmla="*/ 13874 w 938705"/>
                <a:gd name="connsiteY5" fmla="*/ 111258 h 771851"/>
                <a:gd name="connsiteX6" fmla="*/ 10397 w 938705"/>
                <a:gd name="connsiteY6" fmla="*/ 121688 h 771851"/>
                <a:gd name="connsiteX7" fmla="*/ 3444 w 938705"/>
                <a:gd name="connsiteY7" fmla="*/ 146026 h 771851"/>
                <a:gd name="connsiteX8" fmla="*/ 3444 w 938705"/>
                <a:gd name="connsiteY8" fmla="*/ 215562 h 771851"/>
                <a:gd name="connsiteX9" fmla="*/ 38212 w 938705"/>
                <a:gd name="connsiteY9" fmla="*/ 260760 h 771851"/>
                <a:gd name="connsiteX10" fmla="*/ 45165 w 938705"/>
                <a:gd name="connsiteY10" fmla="*/ 271191 h 771851"/>
                <a:gd name="connsiteX11" fmla="*/ 69503 w 938705"/>
                <a:gd name="connsiteY11" fmla="*/ 285098 h 771851"/>
                <a:gd name="connsiteX12" fmla="*/ 83410 w 938705"/>
                <a:gd name="connsiteY12" fmla="*/ 299005 h 771851"/>
                <a:gd name="connsiteX13" fmla="*/ 111225 w 938705"/>
                <a:gd name="connsiteY13" fmla="*/ 319866 h 771851"/>
                <a:gd name="connsiteX14" fmla="*/ 125132 w 938705"/>
                <a:gd name="connsiteY14" fmla="*/ 326820 h 771851"/>
                <a:gd name="connsiteX15" fmla="*/ 135562 w 938705"/>
                <a:gd name="connsiteY15" fmla="*/ 337250 h 771851"/>
                <a:gd name="connsiteX16" fmla="*/ 156423 w 938705"/>
                <a:gd name="connsiteY16" fmla="*/ 347681 h 771851"/>
                <a:gd name="connsiteX17" fmla="*/ 163377 w 938705"/>
                <a:gd name="connsiteY17" fmla="*/ 358111 h 771851"/>
                <a:gd name="connsiteX18" fmla="*/ 184238 w 938705"/>
                <a:gd name="connsiteY18" fmla="*/ 368541 h 771851"/>
                <a:gd name="connsiteX19" fmla="*/ 225959 w 938705"/>
                <a:gd name="connsiteY19" fmla="*/ 403309 h 771851"/>
                <a:gd name="connsiteX20" fmla="*/ 281588 w 938705"/>
                <a:gd name="connsiteY20" fmla="*/ 417217 h 771851"/>
                <a:gd name="connsiteX21" fmla="*/ 305926 w 938705"/>
                <a:gd name="connsiteY21" fmla="*/ 424170 h 771851"/>
                <a:gd name="connsiteX22" fmla="*/ 354601 w 938705"/>
                <a:gd name="connsiteY22" fmla="*/ 434601 h 771851"/>
                <a:gd name="connsiteX23" fmla="*/ 375462 w 938705"/>
                <a:gd name="connsiteY23" fmla="*/ 441554 h 771851"/>
                <a:gd name="connsiteX24" fmla="*/ 385892 w 938705"/>
                <a:gd name="connsiteY24" fmla="*/ 448508 h 771851"/>
                <a:gd name="connsiteX25" fmla="*/ 396323 w 938705"/>
                <a:gd name="connsiteY25" fmla="*/ 451985 h 771851"/>
                <a:gd name="connsiteX26" fmla="*/ 417184 w 938705"/>
                <a:gd name="connsiteY26" fmla="*/ 469369 h 771851"/>
                <a:gd name="connsiteX27" fmla="*/ 448475 w 938705"/>
                <a:gd name="connsiteY27" fmla="*/ 493706 h 771851"/>
                <a:gd name="connsiteX28" fmla="*/ 472813 w 938705"/>
                <a:gd name="connsiteY28" fmla="*/ 500660 h 771851"/>
                <a:gd name="connsiteX29" fmla="*/ 483243 w 938705"/>
                <a:gd name="connsiteY29" fmla="*/ 507614 h 771851"/>
                <a:gd name="connsiteX30" fmla="*/ 500627 w 938705"/>
                <a:gd name="connsiteY30" fmla="*/ 511090 h 771851"/>
                <a:gd name="connsiteX31" fmla="*/ 514534 w 938705"/>
                <a:gd name="connsiteY31" fmla="*/ 514567 h 771851"/>
                <a:gd name="connsiteX32" fmla="*/ 535395 w 938705"/>
                <a:gd name="connsiteY32" fmla="*/ 521521 h 771851"/>
                <a:gd name="connsiteX33" fmla="*/ 573640 w 938705"/>
                <a:gd name="connsiteY33" fmla="*/ 528474 h 771851"/>
                <a:gd name="connsiteX34" fmla="*/ 594501 w 938705"/>
                <a:gd name="connsiteY34" fmla="*/ 535428 h 771851"/>
                <a:gd name="connsiteX35" fmla="*/ 604931 w 938705"/>
                <a:gd name="connsiteY35" fmla="*/ 542382 h 771851"/>
                <a:gd name="connsiteX36" fmla="*/ 639699 w 938705"/>
                <a:gd name="connsiteY36" fmla="*/ 566719 h 771851"/>
                <a:gd name="connsiteX37" fmla="*/ 664037 w 938705"/>
                <a:gd name="connsiteY37" fmla="*/ 584103 h 771851"/>
                <a:gd name="connsiteX38" fmla="*/ 677944 w 938705"/>
                <a:gd name="connsiteY38" fmla="*/ 598011 h 771851"/>
                <a:gd name="connsiteX39" fmla="*/ 702282 w 938705"/>
                <a:gd name="connsiteY39" fmla="*/ 615395 h 771851"/>
                <a:gd name="connsiteX40" fmla="*/ 723143 w 938705"/>
                <a:gd name="connsiteY40" fmla="*/ 632779 h 771851"/>
                <a:gd name="connsiteX41" fmla="*/ 750957 w 938705"/>
                <a:gd name="connsiteY41" fmla="*/ 664070 h 771851"/>
                <a:gd name="connsiteX42" fmla="*/ 771818 w 938705"/>
                <a:gd name="connsiteY42" fmla="*/ 677977 h 771851"/>
                <a:gd name="connsiteX43" fmla="*/ 778772 w 938705"/>
                <a:gd name="connsiteY43" fmla="*/ 688408 h 771851"/>
                <a:gd name="connsiteX44" fmla="*/ 799632 w 938705"/>
                <a:gd name="connsiteY44" fmla="*/ 698838 h 771851"/>
                <a:gd name="connsiteX45" fmla="*/ 830924 w 938705"/>
                <a:gd name="connsiteY45" fmla="*/ 723176 h 771851"/>
                <a:gd name="connsiteX46" fmla="*/ 841354 w 938705"/>
                <a:gd name="connsiteY46" fmla="*/ 726652 h 771851"/>
                <a:gd name="connsiteX47" fmla="*/ 869168 w 938705"/>
                <a:gd name="connsiteY47" fmla="*/ 740560 h 771851"/>
                <a:gd name="connsiteX48" fmla="*/ 890029 w 938705"/>
                <a:gd name="connsiteY48" fmla="*/ 747513 h 771851"/>
                <a:gd name="connsiteX49" fmla="*/ 910890 w 938705"/>
                <a:gd name="connsiteY49" fmla="*/ 761420 h 771851"/>
                <a:gd name="connsiteX50" fmla="*/ 931751 w 938705"/>
                <a:gd name="connsiteY50" fmla="*/ 768374 h 771851"/>
                <a:gd name="connsiteX51" fmla="*/ 938705 w 938705"/>
                <a:gd name="connsiteY51" fmla="*/ 771851 h 771851"/>
                <a:gd name="connsiteX0" fmla="*/ 76457 w 938705"/>
                <a:gd name="connsiteY0" fmla="*/ 0 h 771851"/>
                <a:gd name="connsiteX1" fmla="*/ 69503 w 938705"/>
                <a:gd name="connsiteY1" fmla="*/ 31291 h 771851"/>
                <a:gd name="connsiteX2" fmla="*/ 62549 w 938705"/>
                <a:gd name="connsiteY2" fmla="*/ 45198 h 771851"/>
                <a:gd name="connsiteX3" fmla="*/ 41689 w 938705"/>
                <a:gd name="connsiteY3" fmla="*/ 66059 h 771851"/>
                <a:gd name="connsiteX4" fmla="*/ 20828 w 938705"/>
                <a:gd name="connsiteY4" fmla="*/ 100827 h 771851"/>
                <a:gd name="connsiteX5" fmla="*/ 13874 w 938705"/>
                <a:gd name="connsiteY5" fmla="*/ 111258 h 771851"/>
                <a:gd name="connsiteX6" fmla="*/ 10397 w 938705"/>
                <a:gd name="connsiteY6" fmla="*/ 121688 h 771851"/>
                <a:gd name="connsiteX7" fmla="*/ 3444 w 938705"/>
                <a:gd name="connsiteY7" fmla="*/ 146026 h 771851"/>
                <a:gd name="connsiteX8" fmla="*/ 3444 w 938705"/>
                <a:gd name="connsiteY8" fmla="*/ 215562 h 771851"/>
                <a:gd name="connsiteX9" fmla="*/ 38212 w 938705"/>
                <a:gd name="connsiteY9" fmla="*/ 260760 h 771851"/>
                <a:gd name="connsiteX10" fmla="*/ 45165 w 938705"/>
                <a:gd name="connsiteY10" fmla="*/ 271191 h 771851"/>
                <a:gd name="connsiteX11" fmla="*/ 69503 w 938705"/>
                <a:gd name="connsiteY11" fmla="*/ 285098 h 771851"/>
                <a:gd name="connsiteX12" fmla="*/ 83410 w 938705"/>
                <a:gd name="connsiteY12" fmla="*/ 299005 h 771851"/>
                <a:gd name="connsiteX13" fmla="*/ 111225 w 938705"/>
                <a:gd name="connsiteY13" fmla="*/ 319866 h 771851"/>
                <a:gd name="connsiteX14" fmla="*/ 125132 w 938705"/>
                <a:gd name="connsiteY14" fmla="*/ 326820 h 771851"/>
                <a:gd name="connsiteX15" fmla="*/ 135562 w 938705"/>
                <a:gd name="connsiteY15" fmla="*/ 337250 h 771851"/>
                <a:gd name="connsiteX16" fmla="*/ 156423 w 938705"/>
                <a:gd name="connsiteY16" fmla="*/ 347681 h 771851"/>
                <a:gd name="connsiteX17" fmla="*/ 184238 w 938705"/>
                <a:gd name="connsiteY17" fmla="*/ 368541 h 771851"/>
                <a:gd name="connsiteX18" fmla="*/ 225959 w 938705"/>
                <a:gd name="connsiteY18" fmla="*/ 403309 h 771851"/>
                <a:gd name="connsiteX19" fmla="*/ 281588 w 938705"/>
                <a:gd name="connsiteY19" fmla="*/ 417217 h 771851"/>
                <a:gd name="connsiteX20" fmla="*/ 305926 w 938705"/>
                <a:gd name="connsiteY20" fmla="*/ 424170 h 771851"/>
                <a:gd name="connsiteX21" fmla="*/ 354601 w 938705"/>
                <a:gd name="connsiteY21" fmla="*/ 434601 h 771851"/>
                <a:gd name="connsiteX22" fmla="*/ 375462 w 938705"/>
                <a:gd name="connsiteY22" fmla="*/ 441554 h 771851"/>
                <a:gd name="connsiteX23" fmla="*/ 385892 w 938705"/>
                <a:gd name="connsiteY23" fmla="*/ 448508 h 771851"/>
                <a:gd name="connsiteX24" fmla="*/ 396323 w 938705"/>
                <a:gd name="connsiteY24" fmla="*/ 451985 h 771851"/>
                <a:gd name="connsiteX25" fmla="*/ 417184 w 938705"/>
                <a:gd name="connsiteY25" fmla="*/ 469369 h 771851"/>
                <a:gd name="connsiteX26" fmla="*/ 448475 w 938705"/>
                <a:gd name="connsiteY26" fmla="*/ 493706 h 771851"/>
                <a:gd name="connsiteX27" fmla="*/ 472813 w 938705"/>
                <a:gd name="connsiteY27" fmla="*/ 500660 h 771851"/>
                <a:gd name="connsiteX28" fmla="*/ 483243 w 938705"/>
                <a:gd name="connsiteY28" fmla="*/ 507614 h 771851"/>
                <a:gd name="connsiteX29" fmla="*/ 500627 w 938705"/>
                <a:gd name="connsiteY29" fmla="*/ 511090 h 771851"/>
                <a:gd name="connsiteX30" fmla="*/ 514534 w 938705"/>
                <a:gd name="connsiteY30" fmla="*/ 514567 h 771851"/>
                <a:gd name="connsiteX31" fmla="*/ 535395 w 938705"/>
                <a:gd name="connsiteY31" fmla="*/ 521521 h 771851"/>
                <a:gd name="connsiteX32" fmla="*/ 573640 w 938705"/>
                <a:gd name="connsiteY32" fmla="*/ 528474 h 771851"/>
                <a:gd name="connsiteX33" fmla="*/ 594501 w 938705"/>
                <a:gd name="connsiteY33" fmla="*/ 535428 h 771851"/>
                <a:gd name="connsiteX34" fmla="*/ 604931 w 938705"/>
                <a:gd name="connsiteY34" fmla="*/ 542382 h 771851"/>
                <a:gd name="connsiteX35" fmla="*/ 639699 w 938705"/>
                <a:gd name="connsiteY35" fmla="*/ 566719 h 771851"/>
                <a:gd name="connsiteX36" fmla="*/ 664037 w 938705"/>
                <a:gd name="connsiteY36" fmla="*/ 584103 h 771851"/>
                <a:gd name="connsiteX37" fmla="*/ 677944 w 938705"/>
                <a:gd name="connsiteY37" fmla="*/ 598011 h 771851"/>
                <a:gd name="connsiteX38" fmla="*/ 702282 w 938705"/>
                <a:gd name="connsiteY38" fmla="*/ 615395 h 771851"/>
                <a:gd name="connsiteX39" fmla="*/ 723143 w 938705"/>
                <a:gd name="connsiteY39" fmla="*/ 632779 h 771851"/>
                <a:gd name="connsiteX40" fmla="*/ 750957 w 938705"/>
                <a:gd name="connsiteY40" fmla="*/ 664070 h 771851"/>
                <a:gd name="connsiteX41" fmla="*/ 771818 w 938705"/>
                <a:gd name="connsiteY41" fmla="*/ 677977 h 771851"/>
                <a:gd name="connsiteX42" fmla="*/ 778772 w 938705"/>
                <a:gd name="connsiteY42" fmla="*/ 688408 h 771851"/>
                <a:gd name="connsiteX43" fmla="*/ 799632 w 938705"/>
                <a:gd name="connsiteY43" fmla="*/ 698838 h 771851"/>
                <a:gd name="connsiteX44" fmla="*/ 830924 w 938705"/>
                <a:gd name="connsiteY44" fmla="*/ 723176 h 771851"/>
                <a:gd name="connsiteX45" fmla="*/ 841354 w 938705"/>
                <a:gd name="connsiteY45" fmla="*/ 726652 h 771851"/>
                <a:gd name="connsiteX46" fmla="*/ 869168 w 938705"/>
                <a:gd name="connsiteY46" fmla="*/ 740560 h 771851"/>
                <a:gd name="connsiteX47" fmla="*/ 890029 w 938705"/>
                <a:gd name="connsiteY47" fmla="*/ 747513 h 771851"/>
                <a:gd name="connsiteX48" fmla="*/ 910890 w 938705"/>
                <a:gd name="connsiteY48" fmla="*/ 761420 h 771851"/>
                <a:gd name="connsiteX49" fmla="*/ 931751 w 938705"/>
                <a:gd name="connsiteY49" fmla="*/ 768374 h 771851"/>
                <a:gd name="connsiteX50" fmla="*/ 938705 w 938705"/>
                <a:gd name="connsiteY50" fmla="*/ 771851 h 771851"/>
                <a:gd name="connsiteX0" fmla="*/ 76457 w 938705"/>
                <a:gd name="connsiteY0" fmla="*/ 0 h 771851"/>
                <a:gd name="connsiteX1" fmla="*/ 69503 w 938705"/>
                <a:gd name="connsiteY1" fmla="*/ 31291 h 771851"/>
                <a:gd name="connsiteX2" fmla="*/ 62549 w 938705"/>
                <a:gd name="connsiteY2" fmla="*/ 45198 h 771851"/>
                <a:gd name="connsiteX3" fmla="*/ 41689 w 938705"/>
                <a:gd name="connsiteY3" fmla="*/ 66059 h 771851"/>
                <a:gd name="connsiteX4" fmla="*/ 20828 w 938705"/>
                <a:gd name="connsiteY4" fmla="*/ 100827 h 771851"/>
                <a:gd name="connsiteX5" fmla="*/ 13874 w 938705"/>
                <a:gd name="connsiteY5" fmla="*/ 111258 h 771851"/>
                <a:gd name="connsiteX6" fmla="*/ 10397 w 938705"/>
                <a:gd name="connsiteY6" fmla="*/ 121688 h 771851"/>
                <a:gd name="connsiteX7" fmla="*/ 3444 w 938705"/>
                <a:gd name="connsiteY7" fmla="*/ 146026 h 771851"/>
                <a:gd name="connsiteX8" fmla="*/ 3444 w 938705"/>
                <a:gd name="connsiteY8" fmla="*/ 215562 h 771851"/>
                <a:gd name="connsiteX9" fmla="*/ 38212 w 938705"/>
                <a:gd name="connsiteY9" fmla="*/ 260760 h 771851"/>
                <a:gd name="connsiteX10" fmla="*/ 45165 w 938705"/>
                <a:gd name="connsiteY10" fmla="*/ 271191 h 771851"/>
                <a:gd name="connsiteX11" fmla="*/ 69503 w 938705"/>
                <a:gd name="connsiteY11" fmla="*/ 285098 h 771851"/>
                <a:gd name="connsiteX12" fmla="*/ 83410 w 938705"/>
                <a:gd name="connsiteY12" fmla="*/ 299005 h 771851"/>
                <a:gd name="connsiteX13" fmla="*/ 111225 w 938705"/>
                <a:gd name="connsiteY13" fmla="*/ 319866 h 771851"/>
                <a:gd name="connsiteX14" fmla="*/ 125132 w 938705"/>
                <a:gd name="connsiteY14" fmla="*/ 326820 h 771851"/>
                <a:gd name="connsiteX15" fmla="*/ 156423 w 938705"/>
                <a:gd name="connsiteY15" fmla="*/ 347681 h 771851"/>
                <a:gd name="connsiteX16" fmla="*/ 184238 w 938705"/>
                <a:gd name="connsiteY16" fmla="*/ 368541 h 771851"/>
                <a:gd name="connsiteX17" fmla="*/ 225959 w 938705"/>
                <a:gd name="connsiteY17" fmla="*/ 403309 h 771851"/>
                <a:gd name="connsiteX18" fmla="*/ 281588 w 938705"/>
                <a:gd name="connsiteY18" fmla="*/ 417217 h 771851"/>
                <a:gd name="connsiteX19" fmla="*/ 305926 w 938705"/>
                <a:gd name="connsiteY19" fmla="*/ 424170 h 771851"/>
                <a:gd name="connsiteX20" fmla="*/ 354601 w 938705"/>
                <a:gd name="connsiteY20" fmla="*/ 434601 h 771851"/>
                <a:gd name="connsiteX21" fmla="*/ 375462 w 938705"/>
                <a:gd name="connsiteY21" fmla="*/ 441554 h 771851"/>
                <a:gd name="connsiteX22" fmla="*/ 385892 w 938705"/>
                <a:gd name="connsiteY22" fmla="*/ 448508 h 771851"/>
                <a:gd name="connsiteX23" fmla="*/ 396323 w 938705"/>
                <a:gd name="connsiteY23" fmla="*/ 451985 h 771851"/>
                <a:gd name="connsiteX24" fmla="*/ 417184 w 938705"/>
                <a:gd name="connsiteY24" fmla="*/ 469369 h 771851"/>
                <a:gd name="connsiteX25" fmla="*/ 448475 w 938705"/>
                <a:gd name="connsiteY25" fmla="*/ 493706 h 771851"/>
                <a:gd name="connsiteX26" fmla="*/ 472813 w 938705"/>
                <a:gd name="connsiteY26" fmla="*/ 500660 h 771851"/>
                <a:gd name="connsiteX27" fmla="*/ 483243 w 938705"/>
                <a:gd name="connsiteY27" fmla="*/ 507614 h 771851"/>
                <a:gd name="connsiteX28" fmla="*/ 500627 w 938705"/>
                <a:gd name="connsiteY28" fmla="*/ 511090 h 771851"/>
                <a:gd name="connsiteX29" fmla="*/ 514534 w 938705"/>
                <a:gd name="connsiteY29" fmla="*/ 514567 h 771851"/>
                <a:gd name="connsiteX30" fmla="*/ 535395 w 938705"/>
                <a:gd name="connsiteY30" fmla="*/ 521521 h 771851"/>
                <a:gd name="connsiteX31" fmla="*/ 573640 w 938705"/>
                <a:gd name="connsiteY31" fmla="*/ 528474 h 771851"/>
                <a:gd name="connsiteX32" fmla="*/ 594501 w 938705"/>
                <a:gd name="connsiteY32" fmla="*/ 535428 h 771851"/>
                <a:gd name="connsiteX33" fmla="*/ 604931 w 938705"/>
                <a:gd name="connsiteY33" fmla="*/ 542382 h 771851"/>
                <a:gd name="connsiteX34" fmla="*/ 639699 w 938705"/>
                <a:gd name="connsiteY34" fmla="*/ 566719 h 771851"/>
                <a:gd name="connsiteX35" fmla="*/ 664037 w 938705"/>
                <a:gd name="connsiteY35" fmla="*/ 584103 h 771851"/>
                <a:gd name="connsiteX36" fmla="*/ 677944 w 938705"/>
                <a:gd name="connsiteY36" fmla="*/ 598011 h 771851"/>
                <a:gd name="connsiteX37" fmla="*/ 702282 w 938705"/>
                <a:gd name="connsiteY37" fmla="*/ 615395 h 771851"/>
                <a:gd name="connsiteX38" fmla="*/ 723143 w 938705"/>
                <a:gd name="connsiteY38" fmla="*/ 632779 h 771851"/>
                <a:gd name="connsiteX39" fmla="*/ 750957 w 938705"/>
                <a:gd name="connsiteY39" fmla="*/ 664070 h 771851"/>
                <a:gd name="connsiteX40" fmla="*/ 771818 w 938705"/>
                <a:gd name="connsiteY40" fmla="*/ 677977 h 771851"/>
                <a:gd name="connsiteX41" fmla="*/ 778772 w 938705"/>
                <a:gd name="connsiteY41" fmla="*/ 688408 h 771851"/>
                <a:gd name="connsiteX42" fmla="*/ 799632 w 938705"/>
                <a:gd name="connsiteY42" fmla="*/ 698838 h 771851"/>
                <a:gd name="connsiteX43" fmla="*/ 830924 w 938705"/>
                <a:gd name="connsiteY43" fmla="*/ 723176 h 771851"/>
                <a:gd name="connsiteX44" fmla="*/ 841354 w 938705"/>
                <a:gd name="connsiteY44" fmla="*/ 726652 h 771851"/>
                <a:gd name="connsiteX45" fmla="*/ 869168 w 938705"/>
                <a:gd name="connsiteY45" fmla="*/ 740560 h 771851"/>
                <a:gd name="connsiteX46" fmla="*/ 890029 w 938705"/>
                <a:gd name="connsiteY46" fmla="*/ 747513 h 771851"/>
                <a:gd name="connsiteX47" fmla="*/ 910890 w 938705"/>
                <a:gd name="connsiteY47" fmla="*/ 761420 h 771851"/>
                <a:gd name="connsiteX48" fmla="*/ 931751 w 938705"/>
                <a:gd name="connsiteY48" fmla="*/ 768374 h 771851"/>
                <a:gd name="connsiteX49" fmla="*/ 938705 w 938705"/>
                <a:gd name="connsiteY49" fmla="*/ 771851 h 771851"/>
                <a:gd name="connsiteX0" fmla="*/ 76457 w 938705"/>
                <a:gd name="connsiteY0" fmla="*/ 0 h 771851"/>
                <a:gd name="connsiteX1" fmla="*/ 69503 w 938705"/>
                <a:gd name="connsiteY1" fmla="*/ 31291 h 771851"/>
                <a:gd name="connsiteX2" fmla="*/ 62549 w 938705"/>
                <a:gd name="connsiteY2" fmla="*/ 45198 h 771851"/>
                <a:gd name="connsiteX3" fmla="*/ 41689 w 938705"/>
                <a:gd name="connsiteY3" fmla="*/ 66059 h 771851"/>
                <a:gd name="connsiteX4" fmla="*/ 20828 w 938705"/>
                <a:gd name="connsiteY4" fmla="*/ 100827 h 771851"/>
                <a:gd name="connsiteX5" fmla="*/ 13874 w 938705"/>
                <a:gd name="connsiteY5" fmla="*/ 111258 h 771851"/>
                <a:gd name="connsiteX6" fmla="*/ 10397 w 938705"/>
                <a:gd name="connsiteY6" fmla="*/ 121688 h 771851"/>
                <a:gd name="connsiteX7" fmla="*/ 3444 w 938705"/>
                <a:gd name="connsiteY7" fmla="*/ 146026 h 771851"/>
                <a:gd name="connsiteX8" fmla="*/ 3444 w 938705"/>
                <a:gd name="connsiteY8" fmla="*/ 215562 h 771851"/>
                <a:gd name="connsiteX9" fmla="*/ 38212 w 938705"/>
                <a:gd name="connsiteY9" fmla="*/ 260760 h 771851"/>
                <a:gd name="connsiteX10" fmla="*/ 45165 w 938705"/>
                <a:gd name="connsiteY10" fmla="*/ 271191 h 771851"/>
                <a:gd name="connsiteX11" fmla="*/ 69503 w 938705"/>
                <a:gd name="connsiteY11" fmla="*/ 285098 h 771851"/>
                <a:gd name="connsiteX12" fmla="*/ 83410 w 938705"/>
                <a:gd name="connsiteY12" fmla="*/ 299005 h 771851"/>
                <a:gd name="connsiteX13" fmla="*/ 111225 w 938705"/>
                <a:gd name="connsiteY13" fmla="*/ 319866 h 771851"/>
                <a:gd name="connsiteX14" fmla="*/ 156423 w 938705"/>
                <a:gd name="connsiteY14" fmla="*/ 347681 h 771851"/>
                <a:gd name="connsiteX15" fmla="*/ 184238 w 938705"/>
                <a:gd name="connsiteY15" fmla="*/ 368541 h 771851"/>
                <a:gd name="connsiteX16" fmla="*/ 225959 w 938705"/>
                <a:gd name="connsiteY16" fmla="*/ 403309 h 771851"/>
                <a:gd name="connsiteX17" fmla="*/ 281588 w 938705"/>
                <a:gd name="connsiteY17" fmla="*/ 417217 h 771851"/>
                <a:gd name="connsiteX18" fmla="*/ 305926 w 938705"/>
                <a:gd name="connsiteY18" fmla="*/ 424170 h 771851"/>
                <a:gd name="connsiteX19" fmla="*/ 354601 w 938705"/>
                <a:gd name="connsiteY19" fmla="*/ 434601 h 771851"/>
                <a:gd name="connsiteX20" fmla="*/ 375462 w 938705"/>
                <a:gd name="connsiteY20" fmla="*/ 441554 h 771851"/>
                <a:gd name="connsiteX21" fmla="*/ 385892 w 938705"/>
                <a:gd name="connsiteY21" fmla="*/ 448508 h 771851"/>
                <a:gd name="connsiteX22" fmla="*/ 396323 w 938705"/>
                <a:gd name="connsiteY22" fmla="*/ 451985 h 771851"/>
                <a:gd name="connsiteX23" fmla="*/ 417184 w 938705"/>
                <a:gd name="connsiteY23" fmla="*/ 469369 h 771851"/>
                <a:gd name="connsiteX24" fmla="*/ 448475 w 938705"/>
                <a:gd name="connsiteY24" fmla="*/ 493706 h 771851"/>
                <a:gd name="connsiteX25" fmla="*/ 472813 w 938705"/>
                <a:gd name="connsiteY25" fmla="*/ 500660 h 771851"/>
                <a:gd name="connsiteX26" fmla="*/ 483243 w 938705"/>
                <a:gd name="connsiteY26" fmla="*/ 507614 h 771851"/>
                <a:gd name="connsiteX27" fmla="*/ 500627 w 938705"/>
                <a:gd name="connsiteY27" fmla="*/ 511090 h 771851"/>
                <a:gd name="connsiteX28" fmla="*/ 514534 w 938705"/>
                <a:gd name="connsiteY28" fmla="*/ 514567 h 771851"/>
                <a:gd name="connsiteX29" fmla="*/ 535395 w 938705"/>
                <a:gd name="connsiteY29" fmla="*/ 521521 h 771851"/>
                <a:gd name="connsiteX30" fmla="*/ 573640 w 938705"/>
                <a:gd name="connsiteY30" fmla="*/ 528474 h 771851"/>
                <a:gd name="connsiteX31" fmla="*/ 594501 w 938705"/>
                <a:gd name="connsiteY31" fmla="*/ 535428 h 771851"/>
                <a:gd name="connsiteX32" fmla="*/ 604931 w 938705"/>
                <a:gd name="connsiteY32" fmla="*/ 542382 h 771851"/>
                <a:gd name="connsiteX33" fmla="*/ 639699 w 938705"/>
                <a:gd name="connsiteY33" fmla="*/ 566719 h 771851"/>
                <a:gd name="connsiteX34" fmla="*/ 664037 w 938705"/>
                <a:gd name="connsiteY34" fmla="*/ 584103 h 771851"/>
                <a:gd name="connsiteX35" fmla="*/ 677944 w 938705"/>
                <a:gd name="connsiteY35" fmla="*/ 598011 h 771851"/>
                <a:gd name="connsiteX36" fmla="*/ 702282 w 938705"/>
                <a:gd name="connsiteY36" fmla="*/ 615395 h 771851"/>
                <a:gd name="connsiteX37" fmla="*/ 723143 w 938705"/>
                <a:gd name="connsiteY37" fmla="*/ 632779 h 771851"/>
                <a:gd name="connsiteX38" fmla="*/ 750957 w 938705"/>
                <a:gd name="connsiteY38" fmla="*/ 664070 h 771851"/>
                <a:gd name="connsiteX39" fmla="*/ 771818 w 938705"/>
                <a:gd name="connsiteY39" fmla="*/ 677977 h 771851"/>
                <a:gd name="connsiteX40" fmla="*/ 778772 w 938705"/>
                <a:gd name="connsiteY40" fmla="*/ 688408 h 771851"/>
                <a:gd name="connsiteX41" fmla="*/ 799632 w 938705"/>
                <a:gd name="connsiteY41" fmla="*/ 698838 h 771851"/>
                <a:gd name="connsiteX42" fmla="*/ 830924 w 938705"/>
                <a:gd name="connsiteY42" fmla="*/ 723176 h 771851"/>
                <a:gd name="connsiteX43" fmla="*/ 841354 w 938705"/>
                <a:gd name="connsiteY43" fmla="*/ 726652 h 771851"/>
                <a:gd name="connsiteX44" fmla="*/ 869168 w 938705"/>
                <a:gd name="connsiteY44" fmla="*/ 740560 h 771851"/>
                <a:gd name="connsiteX45" fmla="*/ 890029 w 938705"/>
                <a:gd name="connsiteY45" fmla="*/ 747513 h 771851"/>
                <a:gd name="connsiteX46" fmla="*/ 910890 w 938705"/>
                <a:gd name="connsiteY46" fmla="*/ 761420 h 771851"/>
                <a:gd name="connsiteX47" fmla="*/ 931751 w 938705"/>
                <a:gd name="connsiteY47" fmla="*/ 768374 h 771851"/>
                <a:gd name="connsiteX48" fmla="*/ 938705 w 938705"/>
                <a:gd name="connsiteY48" fmla="*/ 771851 h 771851"/>
                <a:gd name="connsiteX0" fmla="*/ 76457 w 938705"/>
                <a:gd name="connsiteY0" fmla="*/ 0 h 771851"/>
                <a:gd name="connsiteX1" fmla="*/ 69503 w 938705"/>
                <a:gd name="connsiteY1" fmla="*/ 31291 h 771851"/>
                <a:gd name="connsiteX2" fmla="*/ 62549 w 938705"/>
                <a:gd name="connsiteY2" fmla="*/ 45198 h 771851"/>
                <a:gd name="connsiteX3" fmla="*/ 41689 w 938705"/>
                <a:gd name="connsiteY3" fmla="*/ 66059 h 771851"/>
                <a:gd name="connsiteX4" fmla="*/ 20828 w 938705"/>
                <a:gd name="connsiteY4" fmla="*/ 100827 h 771851"/>
                <a:gd name="connsiteX5" fmla="*/ 13874 w 938705"/>
                <a:gd name="connsiteY5" fmla="*/ 111258 h 771851"/>
                <a:gd name="connsiteX6" fmla="*/ 10397 w 938705"/>
                <a:gd name="connsiteY6" fmla="*/ 121688 h 771851"/>
                <a:gd name="connsiteX7" fmla="*/ 3444 w 938705"/>
                <a:gd name="connsiteY7" fmla="*/ 146026 h 771851"/>
                <a:gd name="connsiteX8" fmla="*/ 3444 w 938705"/>
                <a:gd name="connsiteY8" fmla="*/ 215562 h 771851"/>
                <a:gd name="connsiteX9" fmla="*/ 38212 w 938705"/>
                <a:gd name="connsiteY9" fmla="*/ 260760 h 771851"/>
                <a:gd name="connsiteX10" fmla="*/ 45165 w 938705"/>
                <a:gd name="connsiteY10" fmla="*/ 271191 h 771851"/>
                <a:gd name="connsiteX11" fmla="*/ 69503 w 938705"/>
                <a:gd name="connsiteY11" fmla="*/ 285098 h 771851"/>
                <a:gd name="connsiteX12" fmla="*/ 83410 w 938705"/>
                <a:gd name="connsiteY12" fmla="*/ 299005 h 771851"/>
                <a:gd name="connsiteX13" fmla="*/ 156423 w 938705"/>
                <a:gd name="connsiteY13" fmla="*/ 347681 h 771851"/>
                <a:gd name="connsiteX14" fmla="*/ 184238 w 938705"/>
                <a:gd name="connsiteY14" fmla="*/ 368541 h 771851"/>
                <a:gd name="connsiteX15" fmla="*/ 225959 w 938705"/>
                <a:gd name="connsiteY15" fmla="*/ 403309 h 771851"/>
                <a:gd name="connsiteX16" fmla="*/ 281588 w 938705"/>
                <a:gd name="connsiteY16" fmla="*/ 417217 h 771851"/>
                <a:gd name="connsiteX17" fmla="*/ 305926 w 938705"/>
                <a:gd name="connsiteY17" fmla="*/ 424170 h 771851"/>
                <a:gd name="connsiteX18" fmla="*/ 354601 w 938705"/>
                <a:gd name="connsiteY18" fmla="*/ 434601 h 771851"/>
                <a:gd name="connsiteX19" fmla="*/ 375462 w 938705"/>
                <a:gd name="connsiteY19" fmla="*/ 441554 h 771851"/>
                <a:gd name="connsiteX20" fmla="*/ 385892 w 938705"/>
                <a:gd name="connsiteY20" fmla="*/ 448508 h 771851"/>
                <a:gd name="connsiteX21" fmla="*/ 396323 w 938705"/>
                <a:gd name="connsiteY21" fmla="*/ 451985 h 771851"/>
                <a:gd name="connsiteX22" fmla="*/ 417184 w 938705"/>
                <a:gd name="connsiteY22" fmla="*/ 469369 h 771851"/>
                <a:gd name="connsiteX23" fmla="*/ 448475 w 938705"/>
                <a:gd name="connsiteY23" fmla="*/ 493706 h 771851"/>
                <a:gd name="connsiteX24" fmla="*/ 472813 w 938705"/>
                <a:gd name="connsiteY24" fmla="*/ 500660 h 771851"/>
                <a:gd name="connsiteX25" fmla="*/ 483243 w 938705"/>
                <a:gd name="connsiteY25" fmla="*/ 507614 h 771851"/>
                <a:gd name="connsiteX26" fmla="*/ 500627 w 938705"/>
                <a:gd name="connsiteY26" fmla="*/ 511090 h 771851"/>
                <a:gd name="connsiteX27" fmla="*/ 514534 w 938705"/>
                <a:gd name="connsiteY27" fmla="*/ 514567 h 771851"/>
                <a:gd name="connsiteX28" fmla="*/ 535395 w 938705"/>
                <a:gd name="connsiteY28" fmla="*/ 521521 h 771851"/>
                <a:gd name="connsiteX29" fmla="*/ 573640 w 938705"/>
                <a:gd name="connsiteY29" fmla="*/ 528474 h 771851"/>
                <a:gd name="connsiteX30" fmla="*/ 594501 w 938705"/>
                <a:gd name="connsiteY30" fmla="*/ 535428 h 771851"/>
                <a:gd name="connsiteX31" fmla="*/ 604931 w 938705"/>
                <a:gd name="connsiteY31" fmla="*/ 542382 h 771851"/>
                <a:gd name="connsiteX32" fmla="*/ 639699 w 938705"/>
                <a:gd name="connsiteY32" fmla="*/ 566719 h 771851"/>
                <a:gd name="connsiteX33" fmla="*/ 664037 w 938705"/>
                <a:gd name="connsiteY33" fmla="*/ 584103 h 771851"/>
                <a:gd name="connsiteX34" fmla="*/ 677944 w 938705"/>
                <a:gd name="connsiteY34" fmla="*/ 598011 h 771851"/>
                <a:gd name="connsiteX35" fmla="*/ 702282 w 938705"/>
                <a:gd name="connsiteY35" fmla="*/ 615395 h 771851"/>
                <a:gd name="connsiteX36" fmla="*/ 723143 w 938705"/>
                <a:gd name="connsiteY36" fmla="*/ 632779 h 771851"/>
                <a:gd name="connsiteX37" fmla="*/ 750957 w 938705"/>
                <a:gd name="connsiteY37" fmla="*/ 664070 h 771851"/>
                <a:gd name="connsiteX38" fmla="*/ 771818 w 938705"/>
                <a:gd name="connsiteY38" fmla="*/ 677977 h 771851"/>
                <a:gd name="connsiteX39" fmla="*/ 778772 w 938705"/>
                <a:gd name="connsiteY39" fmla="*/ 688408 h 771851"/>
                <a:gd name="connsiteX40" fmla="*/ 799632 w 938705"/>
                <a:gd name="connsiteY40" fmla="*/ 698838 h 771851"/>
                <a:gd name="connsiteX41" fmla="*/ 830924 w 938705"/>
                <a:gd name="connsiteY41" fmla="*/ 723176 h 771851"/>
                <a:gd name="connsiteX42" fmla="*/ 841354 w 938705"/>
                <a:gd name="connsiteY42" fmla="*/ 726652 h 771851"/>
                <a:gd name="connsiteX43" fmla="*/ 869168 w 938705"/>
                <a:gd name="connsiteY43" fmla="*/ 740560 h 771851"/>
                <a:gd name="connsiteX44" fmla="*/ 890029 w 938705"/>
                <a:gd name="connsiteY44" fmla="*/ 747513 h 771851"/>
                <a:gd name="connsiteX45" fmla="*/ 910890 w 938705"/>
                <a:gd name="connsiteY45" fmla="*/ 761420 h 771851"/>
                <a:gd name="connsiteX46" fmla="*/ 931751 w 938705"/>
                <a:gd name="connsiteY46" fmla="*/ 768374 h 771851"/>
                <a:gd name="connsiteX47" fmla="*/ 938705 w 938705"/>
                <a:gd name="connsiteY47" fmla="*/ 771851 h 771851"/>
                <a:gd name="connsiteX0" fmla="*/ 76457 w 938705"/>
                <a:gd name="connsiteY0" fmla="*/ 0 h 771851"/>
                <a:gd name="connsiteX1" fmla="*/ 69503 w 938705"/>
                <a:gd name="connsiteY1" fmla="*/ 31291 h 771851"/>
                <a:gd name="connsiteX2" fmla="*/ 62549 w 938705"/>
                <a:gd name="connsiteY2" fmla="*/ 45198 h 771851"/>
                <a:gd name="connsiteX3" fmla="*/ 41689 w 938705"/>
                <a:gd name="connsiteY3" fmla="*/ 66059 h 771851"/>
                <a:gd name="connsiteX4" fmla="*/ 20828 w 938705"/>
                <a:gd name="connsiteY4" fmla="*/ 100827 h 771851"/>
                <a:gd name="connsiteX5" fmla="*/ 13874 w 938705"/>
                <a:gd name="connsiteY5" fmla="*/ 111258 h 771851"/>
                <a:gd name="connsiteX6" fmla="*/ 10397 w 938705"/>
                <a:gd name="connsiteY6" fmla="*/ 121688 h 771851"/>
                <a:gd name="connsiteX7" fmla="*/ 3444 w 938705"/>
                <a:gd name="connsiteY7" fmla="*/ 146026 h 771851"/>
                <a:gd name="connsiteX8" fmla="*/ 3444 w 938705"/>
                <a:gd name="connsiteY8" fmla="*/ 215562 h 771851"/>
                <a:gd name="connsiteX9" fmla="*/ 38212 w 938705"/>
                <a:gd name="connsiteY9" fmla="*/ 260760 h 771851"/>
                <a:gd name="connsiteX10" fmla="*/ 45165 w 938705"/>
                <a:gd name="connsiteY10" fmla="*/ 271191 h 771851"/>
                <a:gd name="connsiteX11" fmla="*/ 83410 w 938705"/>
                <a:gd name="connsiteY11" fmla="*/ 299005 h 771851"/>
                <a:gd name="connsiteX12" fmla="*/ 156423 w 938705"/>
                <a:gd name="connsiteY12" fmla="*/ 347681 h 771851"/>
                <a:gd name="connsiteX13" fmla="*/ 184238 w 938705"/>
                <a:gd name="connsiteY13" fmla="*/ 368541 h 771851"/>
                <a:gd name="connsiteX14" fmla="*/ 225959 w 938705"/>
                <a:gd name="connsiteY14" fmla="*/ 403309 h 771851"/>
                <a:gd name="connsiteX15" fmla="*/ 281588 w 938705"/>
                <a:gd name="connsiteY15" fmla="*/ 417217 h 771851"/>
                <a:gd name="connsiteX16" fmla="*/ 305926 w 938705"/>
                <a:gd name="connsiteY16" fmla="*/ 424170 h 771851"/>
                <a:gd name="connsiteX17" fmla="*/ 354601 w 938705"/>
                <a:gd name="connsiteY17" fmla="*/ 434601 h 771851"/>
                <a:gd name="connsiteX18" fmla="*/ 375462 w 938705"/>
                <a:gd name="connsiteY18" fmla="*/ 441554 h 771851"/>
                <a:gd name="connsiteX19" fmla="*/ 385892 w 938705"/>
                <a:gd name="connsiteY19" fmla="*/ 448508 h 771851"/>
                <a:gd name="connsiteX20" fmla="*/ 396323 w 938705"/>
                <a:gd name="connsiteY20" fmla="*/ 451985 h 771851"/>
                <a:gd name="connsiteX21" fmla="*/ 417184 w 938705"/>
                <a:gd name="connsiteY21" fmla="*/ 469369 h 771851"/>
                <a:gd name="connsiteX22" fmla="*/ 448475 w 938705"/>
                <a:gd name="connsiteY22" fmla="*/ 493706 h 771851"/>
                <a:gd name="connsiteX23" fmla="*/ 472813 w 938705"/>
                <a:gd name="connsiteY23" fmla="*/ 500660 h 771851"/>
                <a:gd name="connsiteX24" fmla="*/ 483243 w 938705"/>
                <a:gd name="connsiteY24" fmla="*/ 507614 h 771851"/>
                <a:gd name="connsiteX25" fmla="*/ 500627 w 938705"/>
                <a:gd name="connsiteY25" fmla="*/ 511090 h 771851"/>
                <a:gd name="connsiteX26" fmla="*/ 514534 w 938705"/>
                <a:gd name="connsiteY26" fmla="*/ 514567 h 771851"/>
                <a:gd name="connsiteX27" fmla="*/ 535395 w 938705"/>
                <a:gd name="connsiteY27" fmla="*/ 521521 h 771851"/>
                <a:gd name="connsiteX28" fmla="*/ 573640 w 938705"/>
                <a:gd name="connsiteY28" fmla="*/ 528474 h 771851"/>
                <a:gd name="connsiteX29" fmla="*/ 594501 w 938705"/>
                <a:gd name="connsiteY29" fmla="*/ 535428 h 771851"/>
                <a:gd name="connsiteX30" fmla="*/ 604931 w 938705"/>
                <a:gd name="connsiteY30" fmla="*/ 542382 h 771851"/>
                <a:gd name="connsiteX31" fmla="*/ 639699 w 938705"/>
                <a:gd name="connsiteY31" fmla="*/ 566719 h 771851"/>
                <a:gd name="connsiteX32" fmla="*/ 664037 w 938705"/>
                <a:gd name="connsiteY32" fmla="*/ 584103 h 771851"/>
                <a:gd name="connsiteX33" fmla="*/ 677944 w 938705"/>
                <a:gd name="connsiteY33" fmla="*/ 598011 h 771851"/>
                <a:gd name="connsiteX34" fmla="*/ 702282 w 938705"/>
                <a:gd name="connsiteY34" fmla="*/ 615395 h 771851"/>
                <a:gd name="connsiteX35" fmla="*/ 723143 w 938705"/>
                <a:gd name="connsiteY35" fmla="*/ 632779 h 771851"/>
                <a:gd name="connsiteX36" fmla="*/ 750957 w 938705"/>
                <a:gd name="connsiteY36" fmla="*/ 664070 h 771851"/>
                <a:gd name="connsiteX37" fmla="*/ 771818 w 938705"/>
                <a:gd name="connsiteY37" fmla="*/ 677977 h 771851"/>
                <a:gd name="connsiteX38" fmla="*/ 778772 w 938705"/>
                <a:gd name="connsiteY38" fmla="*/ 688408 h 771851"/>
                <a:gd name="connsiteX39" fmla="*/ 799632 w 938705"/>
                <a:gd name="connsiteY39" fmla="*/ 698838 h 771851"/>
                <a:gd name="connsiteX40" fmla="*/ 830924 w 938705"/>
                <a:gd name="connsiteY40" fmla="*/ 723176 h 771851"/>
                <a:gd name="connsiteX41" fmla="*/ 841354 w 938705"/>
                <a:gd name="connsiteY41" fmla="*/ 726652 h 771851"/>
                <a:gd name="connsiteX42" fmla="*/ 869168 w 938705"/>
                <a:gd name="connsiteY42" fmla="*/ 740560 h 771851"/>
                <a:gd name="connsiteX43" fmla="*/ 890029 w 938705"/>
                <a:gd name="connsiteY43" fmla="*/ 747513 h 771851"/>
                <a:gd name="connsiteX44" fmla="*/ 910890 w 938705"/>
                <a:gd name="connsiteY44" fmla="*/ 761420 h 771851"/>
                <a:gd name="connsiteX45" fmla="*/ 931751 w 938705"/>
                <a:gd name="connsiteY45" fmla="*/ 768374 h 771851"/>
                <a:gd name="connsiteX46" fmla="*/ 938705 w 938705"/>
                <a:gd name="connsiteY46" fmla="*/ 771851 h 771851"/>
                <a:gd name="connsiteX0" fmla="*/ 76457 w 938705"/>
                <a:gd name="connsiteY0" fmla="*/ 0 h 771851"/>
                <a:gd name="connsiteX1" fmla="*/ 69503 w 938705"/>
                <a:gd name="connsiteY1" fmla="*/ 31291 h 771851"/>
                <a:gd name="connsiteX2" fmla="*/ 62549 w 938705"/>
                <a:gd name="connsiteY2" fmla="*/ 45198 h 771851"/>
                <a:gd name="connsiteX3" fmla="*/ 41689 w 938705"/>
                <a:gd name="connsiteY3" fmla="*/ 66059 h 771851"/>
                <a:gd name="connsiteX4" fmla="*/ 20828 w 938705"/>
                <a:gd name="connsiteY4" fmla="*/ 100827 h 771851"/>
                <a:gd name="connsiteX5" fmla="*/ 13874 w 938705"/>
                <a:gd name="connsiteY5" fmla="*/ 111258 h 771851"/>
                <a:gd name="connsiteX6" fmla="*/ 10397 w 938705"/>
                <a:gd name="connsiteY6" fmla="*/ 121688 h 771851"/>
                <a:gd name="connsiteX7" fmla="*/ 3444 w 938705"/>
                <a:gd name="connsiteY7" fmla="*/ 146026 h 771851"/>
                <a:gd name="connsiteX8" fmla="*/ 3444 w 938705"/>
                <a:gd name="connsiteY8" fmla="*/ 215562 h 771851"/>
                <a:gd name="connsiteX9" fmla="*/ 38212 w 938705"/>
                <a:gd name="connsiteY9" fmla="*/ 260760 h 771851"/>
                <a:gd name="connsiteX10" fmla="*/ 83410 w 938705"/>
                <a:gd name="connsiteY10" fmla="*/ 299005 h 771851"/>
                <a:gd name="connsiteX11" fmla="*/ 156423 w 938705"/>
                <a:gd name="connsiteY11" fmla="*/ 347681 h 771851"/>
                <a:gd name="connsiteX12" fmla="*/ 184238 w 938705"/>
                <a:gd name="connsiteY12" fmla="*/ 368541 h 771851"/>
                <a:gd name="connsiteX13" fmla="*/ 225959 w 938705"/>
                <a:gd name="connsiteY13" fmla="*/ 403309 h 771851"/>
                <a:gd name="connsiteX14" fmla="*/ 281588 w 938705"/>
                <a:gd name="connsiteY14" fmla="*/ 417217 h 771851"/>
                <a:gd name="connsiteX15" fmla="*/ 305926 w 938705"/>
                <a:gd name="connsiteY15" fmla="*/ 424170 h 771851"/>
                <a:gd name="connsiteX16" fmla="*/ 354601 w 938705"/>
                <a:gd name="connsiteY16" fmla="*/ 434601 h 771851"/>
                <a:gd name="connsiteX17" fmla="*/ 375462 w 938705"/>
                <a:gd name="connsiteY17" fmla="*/ 441554 h 771851"/>
                <a:gd name="connsiteX18" fmla="*/ 385892 w 938705"/>
                <a:gd name="connsiteY18" fmla="*/ 448508 h 771851"/>
                <a:gd name="connsiteX19" fmla="*/ 396323 w 938705"/>
                <a:gd name="connsiteY19" fmla="*/ 451985 h 771851"/>
                <a:gd name="connsiteX20" fmla="*/ 417184 w 938705"/>
                <a:gd name="connsiteY20" fmla="*/ 469369 h 771851"/>
                <a:gd name="connsiteX21" fmla="*/ 448475 w 938705"/>
                <a:gd name="connsiteY21" fmla="*/ 493706 h 771851"/>
                <a:gd name="connsiteX22" fmla="*/ 472813 w 938705"/>
                <a:gd name="connsiteY22" fmla="*/ 500660 h 771851"/>
                <a:gd name="connsiteX23" fmla="*/ 483243 w 938705"/>
                <a:gd name="connsiteY23" fmla="*/ 507614 h 771851"/>
                <a:gd name="connsiteX24" fmla="*/ 500627 w 938705"/>
                <a:gd name="connsiteY24" fmla="*/ 511090 h 771851"/>
                <a:gd name="connsiteX25" fmla="*/ 514534 w 938705"/>
                <a:gd name="connsiteY25" fmla="*/ 514567 h 771851"/>
                <a:gd name="connsiteX26" fmla="*/ 535395 w 938705"/>
                <a:gd name="connsiteY26" fmla="*/ 521521 h 771851"/>
                <a:gd name="connsiteX27" fmla="*/ 573640 w 938705"/>
                <a:gd name="connsiteY27" fmla="*/ 528474 h 771851"/>
                <a:gd name="connsiteX28" fmla="*/ 594501 w 938705"/>
                <a:gd name="connsiteY28" fmla="*/ 535428 h 771851"/>
                <a:gd name="connsiteX29" fmla="*/ 604931 w 938705"/>
                <a:gd name="connsiteY29" fmla="*/ 542382 h 771851"/>
                <a:gd name="connsiteX30" fmla="*/ 639699 w 938705"/>
                <a:gd name="connsiteY30" fmla="*/ 566719 h 771851"/>
                <a:gd name="connsiteX31" fmla="*/ 664037 w 938705"/>
                <a:gd name="connsiteY31" fmla="*/ 584103 h 771851"/>
                <a:gd name="connsiteX32" fmla="*/ 677944 w 938705"/>
                <a:gd name="connsiteY32" fmla="*/ 598011 h 771851"/>
                <a:gd name="connsiteX33" fmla="*/ 702282 w 938705"/>
                <a:gd name="connsiteY33" fmla="*/ 615395 h 771851"/>
                <a:gd name="connsiteX34" fmla="*/ 723143 w 938705"/>
                <a:gd name="connsiteY34" fmla="*/ 632779 h 771851"/>
                <a:gd name="connsiteX35" fmla="*/ 750957 w 938705"/>
                <a:gd name="connsiteY35" fmla="*/ 664070 h 771851"/>
                <a:gd name="connsiteX36" fmla="*/ 771818 w 938705"/>
                <a:gd name="connsiteY36" fmla="*/ 677977 h 771851"/>
                <a:gd name="connsiteX37" fmla="*/ 778772 w 938705"/>
                <a:gd name="connsiteY37" fmla="*/ 688408 h 771851"/>
                <a:gd name="connsiteX38" fmla="*/ 799632 w 938705"/>
                <a:gd name="connsiteY38" fmla="*/ 698838 h 771851"/>
                <a:gd name="connsiteX39" fmla="*/ 830924 w 938705"/>
                <a:gd name="connsiteY39" fmla="*/ 723176 h 771851"/>
                <a:gd name="connsiteX40" fmla="*/ 841354 w 938705"/>
                <a:gd name="connsiteY40" fmla="*/ 726652 h 771851"/>
                <a:gd name="connsiteX41" fmla="*/ 869168 w 938705"/>
                <a:gd name="connsiteY41" fmla="*/ 740560 h 771851"/>
                <a:gd name="connsiteX42" fmla="*/ 890029 w 938705"/>
                <a:gd name="connsiteY42" fmla="*/ 747513 h 771851"/>
                <a:gd name="connsiteX43" fmla="*/ 910890 w 938705"/>
                <a:gd name="connsiteY43" fmla="*/ 761420 h 771851"/>
                <a:gd name="connsiteX44" fmla="*/ 931751 w 938705"/>
                <a:gd name="connsiteY44" fmla="*/ 768374 h 771851"/>
                <a:gd name="connsiteX45" fmla="*/ 938705 w 938705"/>
                <a:gd name="connsiteY45" fmla="*/ 771851 h 771851"/>
                <a:gd name="connsiteX0" fmla="*/ 79716 w 941964"/>
                <a:gd name="connsiteY0" fmla="*/ 0 h 771851"/>
                <a:gd name="connsiteX1" fmla="*/ 72762 w 941964"/>
                <a:gd name="connsiteY1" fmla="*/ 31291 h 771851"/>
                <a:gd name="connsiteX2" fmla="*/ 65808 w 941964"/>
                <a:gd name="connsiteY2" fmla="*/ 45198 h 771851"/>
                <a:gd name="connsiteX3" fmla="*/ 44948 w 941964"/>
                <a:gd name="connsiteY3" fmla="*/ 66059 h 771851"/>
                <a:gd name="connsiteX4" fmla="*/ 24087 w 941964"/>
                <a:gd name="connsiteY4" fmla="*/ 100827 h 771851"/>
                <a:gd name="connsiteX5" fmla="*/ 17133 w 941964"/>
                <a:gd name="connsiteY5" fmla="*/ 111258 h 771851"/>
                <a:gd name="connsiteX6" fmla="*/ 13656 w 941964"/>
                <a:gd name="connsiteY6" fmla="*/ 121688 h 771851"/>
                <a:gd name="connsiteX7" fmla="*/ 6703 w 941964"/>
                <a:gd name="connsiteY7" fmla="*/ 146026 h 771851"/>
                <a:gd name="connsiteX8" fmla="*/ 6703 w 941964"/>
                <a:gd name="connsiteY8" fmla="*/ 215562 h 771851"/>
                <a:gd name="connsiteX9" fmla="*/ 86669 w 941964"/>
                <a:gd name="connsiteY9" fmla="*/ 299005 h 771851"/>
                <a:gd name="connsiteX10" fmla="*/ 159682 w 941964"/>
                <a:gd name="connsiteY10" fmla="*/ 347681 h 771851"/>
                <a:gd name="connsiteX11" fmla="*/ 187497 w 941964"/>
                <a:gd name="connsiteY11" fmla="*/ 368541 h 771851"/>
                <a:gd name="connsiteX12" fmla="*/ 229218 w 941964"/>
                <a:gd name="connsiteY12" fmla="*/ 403309 h 771851"/>
                <a:gd name="connsiteX13" fmla="*/ 284847 w 941964"/>
                <a:gd name="connsiteY13" fmla="*/ 417217 h 771851"/>
                <a:gd name="connsiteX14" fmla="*/ 309185 w 941964"/>
                <a:gd name="connsiteY14" fmla="*/ 424170 h 771851"/>
                <a:gd name="connsiteX15" fmla="*/ 357860 w 941964"/>
                <a:gd name="connsiteY15" fmla="*/ 434601 h 771851"/>
                <a:gd name="connsiteX16" fmla="*/ 378721 w 941964"/>
                <a:gd name="connsiteY16" fmla="*/ 441554 h 771851"/>
                <a:gd name="connsiteX17" fmla="*/ 389151 w 941964"/>
                <a:gd name="connsiteY17" fmla="*/ 448508 h 771851"/>
                <a:gd name="connsiteX18" fmla="*/ 399582 w 941964"/>
                <a:gd name="connsiteY18" fmla="*/ 451985 h 771851"/>
                <a:gd name="connsiteX19" fmla="*/ 420443 w 941964"/>
                <a:gd name="connsiteY19" fmla="*/ 469369 h 771851"/>
                <a:gd name="connsiteX20" fmla="*/ 451734 w 941964"/>
                <a:gd name="connsiteY20" fmla="*/ 493706 h 771851"/>
                <a:gd name="connsiteX21" fmla="*/ 476072 w 941964"/>
                <a:gd name="connsiteY21" fmla="*/ 500660 h 771851"/>
                <a:gd name="connsiteX22" fmla="*/ 486502 w 941964"/>
                <a:gd name="connsiteY22" fmla="*/ 507614 h 771851"/>
                <a:gd name="connsiteX23" fmla="*/ 503886 w 941964"/>
                <a:gd name="connsiteY23" fmla="*/ 511090 h 771851"/>
                <a:gd name="connsiteX24" fmla="*/ 517793 w 941964"/>
                <a:gd name="connsiteY24" fmla="*/ 514567 h 771851"/>
                <a:gd name="connsiteX25" fmla="*/ 538654 w 941964"/>
                <a:gd name="connsiteY25" fmla="*/ 521521 h 771851"/>
                <a:gd name="connsiteX26" fmla="*/ 576899 w 941964"/>
                <a:gd name="connsiteY26" fmla="*/ 528474 h 771851"/>
                <a:gd name="connsiteX27" fmla="*/ 597760 w 941964"/>
                <a:gd name="connsiteY27" fmla="*/ 535428 h 771851"/>
                <a:gd name="connsiteX28" fmla="*/ 608190 w 941964"/>
                <a:gd name="connsiteY28" fmla="*/ 542382 h 771851"/>
                <a:gd name="connsiteX29" fmla="*/ 642958 w 941964"/>
                <a:gd name="connsiteY29" fmla="*/ 566719 h 771851"/>
                <a:gd name="connsiteX30" fmla="*/ 667296 w 941964"/>
                <a:gd name="connsiteY30" fmla="*/ 584103 h 771851"/>
                <a:gd name="connsiteX31" fmla="*/ 681203 w 941964"/>
                <a:gd name="connsiteY31" fmla="*/ 598011 h 771851"/>
                <a:gd name="connsiteX32" fmla="*/ 705541 w 941964"/>
                <a:gd name="connsiteY32" fmla="*/ 615395 h 771851"/>
                <a:gd name="connsiteX33" fmla="*/ 726402 w 941964"/>
                <a:gd name="connsiteY33" fmla="*/ 632779 h 771851"/>
                <a:gd name="connsiteX34" fmla="*/ 754216 w 941964"/>
                <a:gd name="connsiteY34" fmla="*/ 664070 h 771851"/>
                <a:gd name="connsiteX35" fmla="*/ 775077 w 941964"/>
                <a:gd name="connsiteY35" fmla="*/ 677977 h 771851"/>
                <a:gd name="connsiteX36" fmla="*/ 782031 w 941964"/>
                <a:gd name="connsiteY36" fmla="*/ 688408 h 771851"/>
                <a:gd name="connsiteX37" fmla="*/ 802891 w 941964"/>
                <a:gd name="connsiteY37" fmla="*/ 698838 h 771851"/>
                <a:gd name="connsiteX38" fmla="*/ 834183 w 941964"/>
                <a:gd name="connsiteY38" fmla="*/ 723176 h 771851"/>
                <a:gd name="connsiteX39" fmla="*/ 844613 w 941964"/>
                <a:gd name="connsiteY39" fmla="*/ 726652 h 771851"/>
                <a:gd name="connsiteX40" fmla="*/ 872427 w 941964"/>
                <a:gd name="connsiteY40" fmla="*/ 740560 h 771851"/>
                <a:gd name="connsiteX41" fmla="*/ 893288 w 941964"/>
                <a:gd name="connsiteY41" fmla="*/ 747513 h 771851"/>
                <a:gd name="connsiteX42" fmla="*/ 914149 w 941964"/>
                <a:gd name="connsiteY42" fmla="*/ 761420 h 771851"/>
                <a:gd name="connsiteX43" fmla="*/ 935010 w 941964"/>
                <a:gd name="connsiteY43" fmla="*/ 768374 h 771851"/>
                <a:gd name="connsiteX44" fmla="*/ 941964 w 941964"/>
                <a:gd name="connsiteY44" fmla="*/ 771851 h 771851"/>
                <a:gd name="connsiteX0" fmla="*/ 79343 w 941591"/>
                <a:gd name="connsiteY0" fmla="*/ 0 h 771851"/>
                <a:gd name="connsiteX1" fmla="*/ 72389 w 941591"/>
                <a:gd name="connsiteY1" fmla="*/ 31291 h 771851"/>
                <a:gd name="connsiteX2" fmla="*/ 65435 w 941591"/>
                <a:gd name="connsiteY2" fmla="*/ 45198 h 771851"/>
                <a:gd name="connsiteX3" fmla="*/ 44575 w 941591"/>
                <a:gd name="connsiteY3" fmla="*/ 66059 h 771851"/>
                <a:gd name="connsiteX4" fmla="*/ 23714 w 941591"/>
                <a:gd name="connsiteY4" fmla="*/ 100827 h 771851"/>
                <a:gd name="connsiteX5" fmla="*/ 16760 w 941591"/>
                <a:gd name="connsiteY5" fmla="*/ 111258 h 771851"/>
                <a:gd name="connsiteX6" fmla="*/ 6330 w 941591"/>
                <a:gd name="connsiteY6" fmla="*/ 146026 h 771851"/>
                <a:gd name="connsiteX7" fmla="*/ 6330 w 941591"/>
                <a:gd name="connsiteY7" fmla="*/ 215562 h 771851"/>
                <a:gd name="connsiteX8" fmla="*/ 86296 w 941591"/>
                <a:gd name="connsiteY8" fmla="*/ 299005 h 771851"/>
                <a:gd name="connsiteX9" fmla="*/ 159309 w 941591"/>
                <a:gd name="connsiteY9" fmla="*/ 347681 h 771851"/>
                <a:gd name="connsiteX10" fmla="*/ 187124 w 941591"/>
                <a:gd name="connsiteY10" fmla="*/ 368541 h 771851"/>
                <a:gd name="connsiteX11" fmla="*/ 228845 w 941591"/>
                <a:gd name="connsiteY11" fmla="*/ 403309 h 771851"/>
                <a:gd name="connsiteX12" fmla="*/ 284474 w 941591"/>
                <a:gd name="connsiteY12" fmla="*/ 417217 h 771851"/>
                <a:gd name="connsiteX13" fmla="*/ 308812 w 941591"/>
                <a:gd name="connsiteY13" fmla="*/ 424170 h 771851"/>
                <a:gd name="connsiteX14" fmla="*/ 357487 w 941591"/>
                <a:gd name="connsiteY14" fmla="*/ 434601 h 771851"/>
                <a:gd name="connsiteX15" fmla="*/ 378348 w 941591"/>
                <a:gd name="connsiteY15" fmla="*/ 441554 h 771851"/>
                <a:gd name="connsiteX16" fmla="*/ 388778 w 941591"/>
                <a:gd name="connsiteY16" fmla="*/ 448508 h 771851"/>
                <a:gd name="connsiteX17" fmla="*/ 399209 w 941591"/>
                <a:gd name="connsiteY17" fmla="*/ 451985 h 771851"/>
                <a:gd name="connsiteX18" fmla="*/ 420070 w 941591"/>
                <a:gd name="connsiteY18" fmla="*/ 469369 h 771851"/>
                <a:gd name="connsiteX19" fmla="*/ 451361 w 941591"/>
                <a:gd name="connsiteY19" fmla="*/ 493706 h 771851"/>
                <a:gd name="connsiteX20" fmla="*/ 475699 w 941591"/>
                <a:gd name="connsiteY20" fmla="*/ 500660 h 771851"/>
                <a:gd name="connsiteX21" fmla="*/ 486129 w 941591"/>
                <a:gd name="connsiteY21" fmla="*/ 507614 h 771851"/>
                <a:gd name="connsiteX22" fmla="*/ 503513 w 941591"/>
                <a:gd name="connsiteY22" fmla="*/ 511090 h 771851"/>
                <a:gd name="connsiteX23" fmla="*/ 517420 w 941591"/>
                <a:gd name="connsiteY23" fmla="*/ 514567 h 771851"/>
                <a:gd name="connsiteX24" fmla="*/ 538281 w 941591"/>
                <a:gd name="connsiteY24" fmla="*/ 521521 h 771851"/>
                <a:gd name="connsiteX25" fmla="*/ 576526 w 941591"/>
                <a:gd name="connsiteY25" fmla="*/ 528474 h 771851"/>
                <a:gd name="connsiteX26" fmla="*/ 597387 w 941591"/>
                <a:gd name="connsiteY26" fmla="*/ 535428 h 771851"/>
                <a:gd name="connsiteX27" fmla="*/ 607817 w 941591"/>
                <a:gd name="connsiteY27" fmla="*/ 542382 h 771851"/>
                <a:gd name="connsiteX28" fmla="*/ 642585 w 941591"/>
                <a:gd name="connsiteY28" fmla="*/ 566719 h 771851"/>
                <a:gd name="connsiteX29" fmla="*/ 666923 w 941591"/>
                <a:gd name="connsiteY29" fmla="*/ 584103 h 771851"/>
                <a:gd name="connsiteX30" fmla="*/ 680830 w 941591"/>
                <a:gd name="connsiteY30" fmla="*/ 598011 h 771851"/>
                <a:gd name="connsiteX31" fmla="*/ 705168 w 941591"/>
                <a:gd name="connsiteY31" fmla="*/ 615395 h 771851"/>
                <a:gd name="connsiteX32" fmla="*/ 726029 w 941591"/>
                <a:gd name="connsiteY32" fmla="*/ 632779 h 771851"/>
                <a:gd name="connsiteX33" fmla="*/ 753843 w 941591"/>
                <a:gd name="connsiteY33" fmla="*/ 664070 h 771851"/>
                <a:gd name="connsiteX34" fmla="*/ 774704 w 941591"/>
                <a:gd name="connsiteY34" fmla="*/ 677977 h 771851"/>
                <a:gd name="connsiteX35" fmla="*/ 781658 w 941591"/>
                <a:gd name="connsiteY35" fmla="*/ 688408 h 771851"/>
                <a:gd name="connsiteX36" fmla="*/ 802518 w 941591"/>
                <a:gd name="connsiteY36" fmla="*/ 698838 h 771851"/>
                <a:gd name="connsiteX37" fmla="*/ 833810 w 941591"/>
                <a:gd name="connsiteY37" fmla="*/ 723176 h 771851"/>
                <a:gd name="connsiteX38" fmla="*/ 844240 w 941591"/>
                <a:gd name="connsiteY38" fmla="*/ 726652 h 771851"/>
                <a:gd name="connsiteX39" fmla="*/ 872054 w 941591"/>
                <a:gd name="connsiteY39" fmla="*/ 740560 h 771851"/>
                <a:gd name="connsiteX40" fmla="*/ 892915 w 941591"/>
                <a:gd name="connsiteY40" fmla="*/ 747513 h 771851"/>
                <a:gd name="connsiteX41" fmla="*/ 913776 w 941591"/>
                <a:gd name="connsiteY41" fmla="*/ 761420 h 771851"/>
                <a:gd name="connsiteX42" fmla="*/ 934637 w 941591"/>
                <a:gd name="connsiteY42" fmla="*/ 768374 h 771851"/>
                <a:gd name="connsiteX43" fmla="*/ 941591 w 941591"/>
                <a:gd name="connsiteY43" fmla="*/ 771851 h 771851"/>
                <a:gd name="connsiteX0" fmla="*/ 79634 w 941882"/>
                <a:gd name="connsiteY0" fmla="*/ 0 h 771851"/>
                <a:gd name="connsiteX1" fmla="*/ 72680 w 941882"/>
                <a:gd name="connsiteY1" fmla="*/ 31291 h 771851"/>
                <a:gd name="connsiteX2" fmla="*/ 65726 w 941882"/>
                <a:gd name="connsiteY2" fmla="*/ 45198 h 771851"/>
                <a:gd name="connsiteX3" fmla="*/ 44866 w 941882"/>
                <a:gd name="connsiteY3" fmla="*/ 66059 h 771851"/>
                <a:gd name="connsiteX4" fmla="*/ 24005 w 941882"/>
                <a:gd name="connsiteY4" fmla="*/ 100827 h 771851"/>
                <a:gd name="connsiteX5" fmla="*/ 6621 w 941882"/>
                <a:gd name="connsiteY5" fmla="*/ 146026 h 771851"/>
                <a:gd name="connsiteX6" fmla="*/ 6621 w 941882"/>
                <a:gd name="connsiteY6" fmla="*/ 215562 h 771851"/>
                <a:gd name="connsiteX7" fmla="*/ 86587 w 941882"/>
                <a:gd name="connsiteY7" fmla="*/ 299005 h 771851"/>
                <a:gd name="connsiteX8" fmla="*/ 159600 w 941882"/>
                <a:gd name="connsiteY8" fmla="*/ 347681 h 771851"/>
                <a:gd name="connsiteX9" fmla="*/ 187415 w 941882"/>
                <a:gd name="connsiteY9" fmla="*/ 368541 h 771851"/>
                <a:gd name="connsiteX10" fmla="*/ 229136 w 941882"/>
                <a:gd name="connsiteY10" fmla="*/ 403309 h 771851"/>
                <a:gd name="connsiteX11" fmla="*/ 284765 w 941882"/>
                <a:gd name="connsiteY11" fmla="*/ 417217 h 771851"/>
                <a:gd name="connsiteX12" fmla="*/ 309103 w 941882"/>
                <a:gd name="connsiteY12" fmla="*/ 424170 h 771851"/>
                <a:gd name="connsiteX13" fmla="*/ 357778 w 941882"/>
                <a:gd name="connsiteY13" fmla="*/ 434601 h 771851"/>
                <a:gd name="connsiteX14" fmla="*/ 378639 w 941882"/>
                <a:gd name="connsiteY14" fmla="*/ 441554 h 771851"/>
                <a:gd name="connsiteX15" fmla="*/ 389069 w 941882"/>
                <a:gd name="connsiteY15" fmla="*/ 448508 h 771851"/>
                <a:gd name="connsiteX16" fmla="*/ 399500 w 941882"/>
                <a:gd name="connsiteY16" fmla="*/ 451985 h 771851"/>
                <a:gd name="connsiteX17" fmla="*/ 420361 w 941882"/>
                <a:gd name="connsiteY17" fmla="*/ 469369 h 771851"/>
                <a:gd name="connsiteX18" fmla="*/ 451652 w 941882"/>
                <a:gd name="connsiteY18" fmla="*/ 493706 h 771851"/>
                <a:gd name="connsiteX19" fmla="*/ 475990 w 941882"/>
                <a:gd name="connsiteY19" fmla="*/ 500660 h 771851"/>
                <a:gd name="connsiteX20" fmla="*/ 486420 w 941882"/>
                <a:gd name="connsiteY20" fmla="*/ 507614 h 771851"/>
                <a:gd name="connsiteX21" fmla="*/ 503804 w 941882"/>
                <a:gd name="connsiteY21" fmla="*/ 511090 h 771851"/>
                <a:gd name="connsiteX22" fmla="*/ 517711 w 941882"/>
                <a:gd name="connsiteY22" fmla="*/ 514567 h 771851"/>
                <a:gd name="connsiteX23" fmla="*/ 538572 w 941882"/>
                <a:gd name="connsiteY23" fmla="*/ 521521 h 771851"/>
                <a:gd name="connsiteX24" fmla="*/ 576817 w 941882"/>
                <a:gd name="connsiteY24" fmla="*/ 528474 h 771851"/>
                <a:gd name="connsiteX25" fmla="*/ 597678 w 941882"/>
                <a:gd name="connsiteY25" fmla="*/ 535428 h 771851"/>
                <a:gd name="connsiteX26" fmla="*/ 608108 w 941882"/>
                <a:gd name="connsiteY26" fmla="*/ 542382 h 771851"/>
                <a:gd name="connsiteX27" fmla="*/ 642876 w 941882"/>
                <a:gd name="connsiteY27" fmla="*/ 566719 h 771851"/>
                <a:gd name="connsiteX28" fmla="*/ 667214 w 941882"/>
                <a:gd name="connsiteY28" fmla="*/ 584103 h 771851"/>
                <a:gd name="connsiteX29" fmla="*/ 681121 w 941882"/>
                <a:gd name="connsiteY29" fmla="*/ 598011 h 771851"/>
                <a:gd name="connsiteX30" fmla="*/ 705459 w 941882"/>
                <a:gd name="connsiteY30" fmla="*/ 615395 h 771851"/>
                <a:gd name="connsiteX31" fmla="*/ 726320 w 941882"/>
                <a:gd name="connsiteY31" fmla="*/ 632779 h 771851"/>
                <a:gd name="connsiteX32" fmla="*/ 754134 w 941882"/>
                <a:gd name="connsiteY32" fmla="*/ 664070 h 771851"/>
                <a:gd name="connsiteX33" fmla="*/ 774995 w 941882"/>
                <a:gd name="connsiteY33" fmla="*/ 677977 h 771851"/>
                <a:gd name="connsiteX34" fmla="*/ 781949 w 941882"/>
                <a:gd name="connsiteY34" fmla="*/ 688408 h 771851"/>
                <a:gd name="connsiteX35" fmla="*/ 802809 w 941882"/>
                <a:gd name="connsiteY35" fmla="*/ 698838 h 771851"/>
                <a:gd name="connsiteX36" fmla="*/ 834101 w 941882"/>
                <a:gd name="connsiteY36" fmla="*/ 723176 h 771851"/>
                <a:gd name="connsiteX37" fmla="*/ 844531 w 941882"/>
                <a:gd name="connsiteY37" fmla="*/ 726652 h 771851"/>
                <a:gd name="connsiteX38" fmla="*/ 872345 w 941882"/>
                <a:gd name="connsiteY38" fmla="*/ 740560 h 771851"/>
                <a:gd name="connsiteX39" fmla="*/ 893206 w 941882"/>
                <a:gd name="connsiteY39" fmla="*/ 747513 h 771851"/>
                <a:gd name="connsiteX40" fmla="*/ 914067 w 941882"/>
                <a:gd name="connsiteY40" fmla="*/ 761420 h 771851"/>
                <a:gd name="connsiteX41" fmla="*/ 934928 w 941882"/>
                <a:gd name="connsiteY41" fmla="*/ 768374 h 771851"/>
                <a:gd name="connsiteX42" fmla="*/ 941882 w 941882"/>
                <a:gd name="connsiteY42" fmla="*/ 771851 h 771851"/>
                <a:gd name="connsiteX0" fmla="*/ 79634 w 941882"/>
                <a:gd name="connsiteY0" fmla="*/ 0 h 771851"/>
                <a:gd name="connsiteX1" fmla="*/ 72680 w 941882"/>
                <a:gd name="connsiteY1" fmla="*/ 31291 h 771851"/>
                <a:gd name="connsiteX2" fmla="*/ 65726 w 941882"/>
                <a:gd name="connsiteY2" fmla="*/ 45198 h 771851"/>
                <a:gd name="connsiteX3" fmla="*/ 24005 w 941882"/>
                <a:gd name="connsiteY3" fmla="*/ 100827 h 771851"/>
                <a:gd name="connsiteX4" fmla="*/ 6621 w 941882"/>
                <a:gd name="connsiteY4" fmla="*/ 146026 h 771851"/>
                <a:gd name="connsiteX5" fmla="*/ 6621 w 941882"/>
                <a:gd name="connsiteY5" fmla="*/ 215562 h 771851"/>
                <a:gd name="connsiteX6" fmla="*/ 86587 w 941882"/>
                <a:gd name="connsiteY6" fmla="*/ 299005 h 771851"/>
                <a:gd name="connsiteX7" fmla="*/ 159600 w 941882"/>
                <a:gd name="connsiteY7" fmla="*/ 347681 h 771851"/>
                <a:gd name="connsiteX8" fmla="*/ 187415 w 941882"/>
                <a:gd name="connsiteY8" fmla="*/ 368541 h 771851"/>
                <a:gd name="connsiteX9" fmla="*/ 229136 w 941882"/>
                <a:gd name="connsiteY9" fmla="*/ 403309 h 771851"/>
                <a:gd name="connsiteX10" fmla="*/ 284765 w 941882"/>
                <a:gd name="connsiteY10" fmla="*/ 417217 h 771851"/>
                <a:gd name="connsiteX11" fmla="*/ 309103 w 941882"/>
                <a:gd name="connsiteY11" fmla="*/ 424170 h 771851"/>
                <a:gd name="connsiteX12" fmla="*/ 357778 w 941882"/>
                <a:gd name="connsiteY12" fmla="*/ 434601 h 771851"/>
                <a:gd name="connsiteX13" fmla="*/ 378639 w 941882"/>
                <a:gd name="connsiteY13" fmla="*/ 441554 h 771851"/>
                <a:gd name="connsiteX14" fmla="*/ 389069 w 941882"/>
                <a:gd name="connsiteY14" fmla="*/ 448508 h 771851"/>
                <a:gd name="connsiteX15" fmla="*/ 399500 w 941882"/>
                <a:gd name="connsiteY15" fmla="*/ 451985 h 771851"/>
                <a:gd name="connsiteX16" fmla="*/ 420361 w 941882"/>
                <a:gd name="connsiteY16" fmla="*/ 469369 h 771851"/>
                <a:gd name="connsiteX17" fmla="*/ 451652 w 941882"/>
                <a:gd name="connsiteY17" fmla="*/ 493706 h 771851"/>
                <a:gd name="connsiteX18" fmla="*/ 475990 w 941882"/>
                <a:gd name="connsiteY18" fmla="*/ 500660 h 771851"/>
                <a:gd name="connsiteX19" fmla="*/ 486420 w 941882"/>
                <a:gd name="connsiteY19" fmla="*/ 507614 h 771851"/>
                <a:gd name="connsiteX20" fmla="*/ 503804 w 941882"/>
                <a:gd name="connsiteY20" fmla="*/ 511090 h 771851"/>
                <a:gd name="connsiteX21" fmla="*/ 517711 w 941882"/>
                <a:gd name="connsiteY21" fmla="*/ 514567 h 771851"/>
                <a:gd name="connsiteX22" fmla="*/ 538572 w 941882"/>
                <a:gd name="connsiteY22" fmla="*/ 521521 h 771851"/>
                <a:gd name="connsiteX23" fmla="*/ 576817 w 941882"/>
                <a:gd name="connsiteY23" fmla="*/ 528474 h 771851"/>
                <a:gd name="connsiteX24" fmla="*/ 597678 w 941882"/>
                <a:gd name="connsiteY24" fmla="*/ 535428 h 771851"/>
                <a:gd name="connsiteX25" fmla="*/ 608108 w 941882"/>
                <a:gd name="connsiteY25" fmla="*/ 542382 h 771851"/>
                <a:gd name="connsiteX26" fmla="*/ 642876 w 941882"/>
                <a:gd name="connsiteY26" fmla="*/ 566719 h 771851"/>
                <a:gd name="connsiteX27" fmla="*/ 667214 w 941882"/>
                <a:gd name="connsiteY27" fmla="*/ 584103 h 771851"/>
                <a:gd name="connsiteX28" fmla="*/ 681121 w 941882"/>
                <a:gd name="connsiteY28" fmla="*/ 598011 h 771851"/>
                <a:gd name="connsiteX29" fmla="*/ 705459 w 941882"/>
                <a:gd name="connsiteY29" fmla="*/ 615395 h 771851"/>
                <a:gd name="connsiteX30" fmla="*/ 726320 w 941882"/>
                <a:gd name="connsiteY30" fmla="*/ 632779 h 771851"/>
                <a:gd name="connsiteX31" fmla="*/ 754134 w 941882"/>
                <a:gd name="connsiteY31" fmla="*/ 664070 h 771851"/>
                <a:gd name="connsiteX32" fmla="*/ 774995 w 941882"/>
                <a:gd name="connsiteY32" fmla="*/ 677977 h 771851"/>
                <a:gd name="connsiteX33" fmla="*/ 781949 w 941882"/>
                <a:gd name="connsiteY33" fmla="*/ 688408 h 771851"/>
                <a:gd name="connsiteX34" fmla="*/ 802809 w 941882"/>
                <a:gd name="connsiteY34" fmla="*/ 698838 h 771851"/>
                <a:gd name="connsiteX35" fmla="*/ 834101 w 941882"/>
                <a:gd name="connsiteY35" fmla="*/ 723176 h 771851"/>
                <a:gd name="connsiteX36" fmla="*/ 844531 w 941882"/>
                <a:gd name="connsiteY36" fmla="*/ 726652 h 771851"/>
                <a:gd name="connsiteX37" fmla="*/ 872345 w 941882"/>
                <a:gd name="connsiteY37" fmla="*/ 740560 h 771851"/>
                <a:gd name="connsiteX38" fmla="*/ 893206 w 941882"/>
                <a:gd name="connsiteY38" fmla="*/ 747513 h 771851"/>
                <a:gd name="connsiteX39" fmla="*/ 914067 w 941882"/>
                <a:gd name="connsiteY39" fmla="*/ 761420 h 771851"/>
                <a:gd name="connsiteX40" fmla="*/ 934928 w 941882"/>
                <a:gd name="connsiteY40" fmla="*/ 768374 h 771851"/>
                <a:gd name="connsiteX41" fmla="*/ 941882 w 941882"/>
                <a:gd name="connsiteY41" fmla="*/ 771851 h 771851"/>
                <a:gd name="connsiteX0" fmla="*/ 79634 w 941882"/>
                <a:gd name="connsiteY0" fmla="*/ 0 h 771851"/>
                <a:gd name="connsiteX1" fmla="*/ 72680 w 941882"/>
                <a:gd name="connsiteY1" fmla="*/ 31291 h 771851"/>
                <a:gd name="connsiteX2" fmla="*/ 24005 w 941882"/>
                <a:gd name="connsiteY2" fmla="*/ 100827 h 771851"/>
                <a:gd name="connsiteX3" fmla="*/ 6621 w 941882"/>
                <a:gd name="connsiteY3" fmla="*/ 146026 h 771851"/>
                <a:gd name="connsiteX4" fmla="*/ 6621 w 941882"/>
                <a:gd name="connsiteY4" fmla="*/ 215562 h 771851"/>
                <a:gd name="connsiteX5" fmla="*/ 86587 w 941882"/>
                <a:gd name="connsiteY5" fmla="*/ 299005 h 771851"/>
                <a:gd name="connsiteX6" fmla="*/ 159600 w 941882"/>
                <a:gd name="connsiteY6" fmla="*/ 347681 h 771851"/>
                <a:gd name="connsiteX7" fmla="*/ 187415 w 941882"/>
                <a:gd name="connsiteY7" fmla="*/ 368541 h 771851"/>
                <a:gd name="connsiteX8" fmla="*/ 229136 w 941882"/>
                <a:gd name="connsiteY8" fmla="*/ 403309 h 771851"/>
                <a:gd name="connsiteX9" fmla="*/ 284765 w 941882"/>
                <a:gd name="connsiteY9" fmla="*/ 417217 h 771851"/>
                <a:gd name="connsiteX10" fmla="*/ 309103 w 941882"/>
                <a:gd name="connsiteY10" fmla="*/ 424170 h 771851"/>
                <a:gd name="connsiteX11" fmla="*/ 357778 w 941882"/>
                <a:gd name="connsiteY11" fmla="*/ 434601 h 771851"/>
                <a:gd name="connsiteX12" fmla="*/ 378639 w 941882"/>
                <a:gd name="connsiteY12" fmla="*/ 441554 h 771851"/>
                <a:gd name="connsiteX13" fmla="*/ 389069 w 941882"/>
                <a:gd name="connsiteY13" fmla="*/ 448508 h 771851"/>
                <a:gd name="connsiteX14" fmla="*/ 399500 w 941882"/>
                <a:gd name="connsiteY14" fmla="*/ 451985 h 771851"/>
                <a:gd name="connsiteX15" fmla="*/ 420361 w 941882"/>
                <a:gd name="connsiteY15" fmla="*/ 469369 h 771851"/>
                <a:gd name="connsiteX16" fmla="*/ 451652 w 941882"/>
                <a:gd name="connsiteY16" fmla="*/ 493706 h 771851"/>
                <a:gd name="connsiteX17" fmla="*/ 475990 w 941882"/>
                <a:gd name="connsiteY17" fmla="*/ 500660 h 771851"/>
                <a:gd name="connsiteX18" fmla="*/ 486420 w 941882"/>
                <a:gd name="connsiteY18" fmla="*/ 507614 h 771851"/>
                <a:gd name="connsiteX19" fmla="*/ 503804 w 941882"/>
                <a:gd name="connsiteY19" fmla="*/ 511090 h 771851"/>
                <a:gd name="connsiteX20" fmla="*/ 517711 w 941882"/>
                <a:gd name="connsiteY20" fmla="*/ 514567 h 771851"/>
                <a:gd name="connsiteX21" fmla="*/ 538572 w 941882"/>
                <a:gd name="connsiteY21" fmla="*/ 521521 h 771851"/>
                <a:gd name="connsiteX22" fmla="*/ 576817 w 941882"/>
                <a:gd name="connsiteY22" fmla="*/ 528474 h 771851"/>
                <a:gd name="connsiteX23" fmla="*/ 597678 w 941882"/>
                <a:gd name="connsiteY23" fmla="*/ 535428 h 771851"/>
                <a:gd name="connsiteX24" fmla="*/ 608108 w 941882"/>
                <a:gd name="connsiteY24" fmla="*/ 542382 h 771851"/>
                <a:gd name="connsiteX25" fmla="*/ 642876 w 941882"/>
                <a:gd name="connsiteY25" fmla="*/ 566719 h 771851"/>
                <a:gd name="connsiteX26" fmla="*/ 667214 w 941882"/>
                <a:gd name="connsiteY26" fmla="*/ 584103 h 771851"/>
                <a:gd name="connsiteX27" fmla="*/ 681121 w 941882"/>
                <a:gd name="connsiteY27" fmla="*/ 598011 h 771851"/>
                <a:gd name="connsiteX28" fmla="*/ 705459 w 941882"/>
                <a:gd name="connsiteY28" fmla="*/ 615395 h 771851"/>
                <a:gd name="connsiteX29" fmla="*/ 726320 w 941882"/>
                <a:gd name="connsiteY29" fmla="*/ 632779 h 771851"/>
                <a:gd name="connsiteX30" fmla="*/ 754134 w 941882"/>
                <a:gd name="connsiteY30" fmla="*/ 664070 h 771851"/>
                <a:gd name="connsiteX31" fmla="*/ 774995 w 941882"/>
                <a:gd name="connsiteY31" fmla="*/ 677977 h 771851"/>
                <a:gd name="connsiteX32" fmla="*/ 781949 w 941882"/>
                <a:gd name="connsiteY32" fmla="*/ 688408 h 771851"/>
                <a:gd name="connsiteX33" fmla="*/ 802809 w 941882"/>
                <a:gd name="connsiteY33" fmla="*/ 698838 h 771851"/>
                <a:gd name="connsiteX34" fmla="*/ 834101 w 941882"/>
                <a:gd name="connsiteY34" fmla="*/ 723176 h 771851"/>
                <a:gd name="connsiteX35" fmla="*/ 844531 w 941882"/>
                <a:gd name="connsiteY35" fmla="*/ 726652 h 771851"/>
                <a:gd name="connsiteX36" fmla="*/ 872345 w 941882"/>
                <a:gd name="connsiteY36" fmla="*/ 740560 h 771851"/>
                <a:gd name="connsiteX37" fmla="*/ 893206 w 941882"/>
                <a:gd name="connsiteY37" fmla="*/ 747513 h 771851"/>
                <a:gd name="connsiteX38" fmla="*/ 914067 w 941882"/>
                <a:gd name="connsiteY38" fmla="*/ 761420 h 771851"/>
                <a:gd name="connsiteX39" fmla="*/ 934928 w 941882"/>
                <a:gd name="connsiteY39" fmla="*/ 768374 h 771851"/>
                <a:gd name="connsiteX40" fmla="*/ 941882 w 941882"/>
                <a:gd name="connsiteY40" fmla="*/ 771851 h 771851"/>
                <a:gd name="connsiteX0" fmla="*/ 79634 w 941882"/>
                <a:gd name="connsiteY0" fmla="*/ 0 h 771851"/>
                <a:gd name="connsiteX1" fmla="*/ 24005 w 941882"/>
                <a:gd name="connsiteY1" fmla="*/ 100827 h 771851"/>
                <a:gd name="connsiteX2" fmla="*/ 6621 w 941882"/>
                <a:gd name="connsiteY2" fmla="*/ 146026 h 771851"/>
                <a:gd name="connsiteX3" fmla="*/ 6621 w 941882"/>
                <a:gd name="connsiteY3" fmla="*/ 215562 h 771851"/>
                <a:gd name="connsiteX4" fmla="*/ 86587 w 941882"/>
                <a:gd name="connsiteY4" fmla="*/ 299005 h 771851"/>
                <a:gd name="connsiteX5" fmla="*/ 159600 w 941882"/>
                <a:gd name="connsiteY5" fmla="*/ 347681 h 771851"/>
                <a:gd name="connsiteX6" fmla="*/ 187415 w 941882"/>
                <a:gd name="connsiteY6" fmla="*/ 368541 h 771851"/>
                <a:gd name="connsiteX7" fmla="*/ 229136 w 941882"/>
                <a:gd name="connsiteY7" fmla="*/ 403309 h 771851"/>
                <a:gd name="connsiteX8" fmla="*/ 284765 w 941882"/>
                <a:gd name="connsiteY8" fmla="*/ 417217 h 771851"/>
                <a:gd name="connsiteX9" fmla="*/ 309103 w 941882"/>
                <a:gd name="connsiteY9" fmla="*/ 424170 h 771851"/>
                <a:gd name="connsiteX10" fmla="*/ 357778 w 941882"/>
                <a:gd name="connsiteY10" fmla="*/ 434601 h 771851"/>
                <a:gd name="connsiteX11" fmla="*/ 378639 w 941882"/>
                <a:gd name="connsiteY11" fmla="*/ 441554 h 771851"/>
                <a:gd name="connsiteX12" fmla="*/ 389069 w 941882"/>
                <a:gd name="connsiteY12" fmla="*/ 448508 h 771851"/>
                <a:gd name="connsiteX13" fmla="*/ 399500 w 941882"/>
                <a:gd name="connsiteY13" fmla="*/ 451985 h 771851"/>
                <a:gd name="connsiteX14" fmla="*/ 420361 w 941882"/>
                <a:gd name="connsiteY14" fmla="*/ 469369 h 771851"/>
                <a:gd name="connsiteX15" fmla="*/ 451652 w 941882"/>
                <a:gd name="connsiteY15" fmla="*/ 493706 h 771851"/>
                <a:gd name="connsiteX16" fmla="*/ 475990 w 941882"/>
                <a:gd name="connsiteY16" fmla="*/ 500660 h 771851"/>
                <a:gd name="connsiteX17" fmla="*/ 486420 w 941882"/>
                <a:gd name="connsiteY17" fmla="*/ 507614 h 771851"/>
                <a:gd name="connsiteX18" fmla="*/ 503804 w 941882"/>
                <a:gd name="connsiteY18" fmla="*/ 511090 h 771851"/>
                <a:gd name="connsiteX19" fmla="*/ 517711 w 941882"/>
                <a:gd name="connsiteY19" fmla="*/ 514567 h 771851"/>
                <a:gd name="connsiteX20" fmla="*/ 538572 w 941882"/>
                <a:gd name="connsiteY20" fmla="*/ 521521 h 771851"/>
                <a:gd name="connsiteX21" fmla="*/ 576817 w 941882"/>
                <a:gd name="connsiteY21" fmla="*/ 528474 h 771851"/>
                <a:gd name="connsiteX22" fmla="*/ 597678 w 941882"/>
                <a:gd name="connsiteY22" fmla="*/ 535428 h 771851"/>
                <a:gd name="connsiteX23" fmla="*/ 608108 w 941882"/>
                <a:gd name="connsiteY23" fmla="*/ 542382 h 771851"/>
                <a:gd name="connsiteX24" fmla="*/ 642876 w 941882"/>
                <a:gd name="connsiteY24" fmla="*/ 566719 h 771851"/>
                <a:gd name="connsiteX25" fmla="*/ 667214 w 941882"/>
                <a:gd name="connsiteY25" fmla="*/ 584103 h 771851"/>
                <a:gd name="connsiteX26" fmla="*/ 681121 w 941882"/>
                <a:gd name="connsiteY26" fmla="*/ 598011 h 771851"/>
                <a:gd name="connsiteX27" fmla="*/ 705459 w 941882"/>
                <a:gd name="connsiteY27" fmla="*/ 615395 h 771851"/>
                <a:gd name="connsiteX28" fmla="*/ 726320 w 941882"/>
                <a:gd name="connsiteY28" fmla="*/ 632779 h 771851"/>
                <a:gd name="connsiteX29" fmla="*/ 754134 w 941882"/>
                <a:gd name="connsiteY29" fmla="*/ 664070 h 771851"/>
                <a:gd name="connsiteX30" fmla="*/ 774995 w 941882"/>
                <a:gd name="connsiteY30" fmla="*/ 677977 h 771851"/>
                <a:gd name="connsiteX31" fmla="*/ 781949 w 941882"/>
                <a:gd name="connsiteY31" fmla="*/ 688408 h 771851"/>
                <a:gd name="connsiteX32" fmla="*/ 802809 w 941882"/>
                <a:gd name="connsiteY32" fmla="*/ 698838 h 771851"/>
                <a:gd name="connsiteX33" fmla="*/ 834101 w 941882"/>
                <a:gd name="connsiteY33" fmla="*/ 723176 h 771851"/>
                <a:gd name="connsiteX34" fmla="*/ 844531 w 941882"/>
                <a:gd name="connsiteY34" fmla="*/ 726652 h 771851"/>
                <a:gd name="connsiteX35" fmla="*/ 872345 w 941882"/>
                <a:gd name="connsiteY35" fmla="*/ 740560 h 771851"/>
                <a:gd name="connsiteX36" fmla="*/ 893206 w 941882"/>
                <a:gd name="connsiteY36" fmla="*/ 747513 h 771851"/>
                <a:gd name="connsiteX37" fmla="*/ 914067 w 941882"/>
                <a:gd name="connsiteY37" fmla="*/ 761420 h 771851"/>
                <a:gd name="connsiteX38" fmla="*/ 934928 w 941882"/>
                <a:gd name="connsiteY38" fmla="*/ 768374 h 771851"/>
                <a:gd name="connsiteX39" fmla="*/ 941882 w 941882"/>
                <a:gd name="connsiteY39" fmla="*/ 771851 h 771851"/>
                <a:gd name="connsiteX0" fmla="*/ 76432 w 938680"/>
                <a:gd name="connsiteY0" fmla="*/ 0 h 771851"/>
                <a:gd name="connsiteX1" fmla="*/ 20803 w 938680"/>
                <a:gd name="connsiteY1" fmla="*/ 100827 h 771851"/>
                <a:gd name="connsiteX2" fmla="*/ 3419 w 938680"/>
                <a:gd name="connsiteY2" fmla="*/ 215562 h 771851"/>
                <a:gd name="connsiteX3" fmla="*/ 83385 w 938680"/>
                <a:gd name="connsiteY3" fmla="*/ 299005 h 771851"/>
                <a:gd name="connsiteX4" fmla="*/ 156398 w 938680"/>
                <a:gd name="connsiteY4" fmla="*/ 347681 h 771851"/>
                <a:gd name="connsiteX5" fmla="*/ 184213 w 938680"/>
                <a:gd name="connsiteY5" fmla="*/ 368541 h 771851"/>
                <a:gd name="connsiteX6" fmla="*/ 225934 w 938680"/>
                <a:gd name="connsiteY6" fmla="*/ 403309 h 771851"/>
                <a:gd name="connsiteX7" fmla="*/ 281563 w 938680"/>
                <a:gd name="connsiteY7" fmla="*/ 417217 h 771851"/>
                <a:gd name="connsiteX8" fmla="*/ 305901 w 938680"/>
                <a:gd name="connsiteY8" fmla="*/ 424170 h 771851"/>
                <a:gd name="connsiteX9" fmla="*/ 354576 w 938680"/>
                <a:gd name="connsiteY9" fmla="*/ 434601 h 771851"/>
                <a:gd name="connsiteX10" fmla="*/ 375437 w 938680"/>
                <a:gd name="connsiteY10" fmla="*/ 441554 h 771851"/>
                <a:gd name="connsiteX11" fmla="*/ 385867 w 938680"/>
                <a:gd name="connsiteY11" fmla="*/ 448508 h 771851"/>
                <a:gd name="connsiteX12" fmla="*/ 396298 w 938680"/>
                <a:gd name="connsiteY12" fmla="*/ 451985 h 771851"/>
                <a:gd name="connsiteX13" fmla="*/ 417159 w 938680"/>
                <a:gd name="connsiteY13" fmla="*/ 469369 h 771851"/>
                <a:gd name="connsiteX14" fmla="*/ 448450 w 938680"/>
                <a:gd name="connsiteY14" fmla="*/ 493706 h 771851"/>
                <a:gd name="connsiteX15" fmla="*/ 472788 w 938680"/>
                <a:gd name="connsiteY15" fmla="*/ 500660 h 771851"/>
                <a:gd name="connsiteX16" fmla="*/ 483218 w 938680"/>
                <a:gd name="connsiteY16" fmla="*/ 507614 h 771851"/>
                <a:gd name="connsiteX17" fmla="*/ 500602 w 938680"/>
                <a:gd name="connsiteY17" fmla="*/ 511090 h 771851"/>
                <a:gd name="connsiteX18" fmla="*/ 514509 w 938680"/>
                <a:gd name="connsiteY18" fmla="*/ 514567 h 771851"/>
                <a:gd name="connsiteX19" fmla="*/ 535370 w 938680"/>
                <a:gd name="connsiteY19" fmla="*/ 521521 h 771851"/>
                <a:gd name="connsiteX20" fmla="*/ 573615 w 938680"/>
                <a:gd name="connsiteY20" fmla="*/ 528474 h 771851"/>
                <a:gd name="connsiteX21" fmla="*/ 594476 w 938680"/>
                <a:gd name="connsiteY21" fmla="*/ 535428 h 771851"/>
                <a:gd name="connsiteX22" fmla="*/ 604906 w 938680"/>
                <a:gd name="connsiteY22" fmla="*/ 542382 h 771851"/>
                <a:gd name="connsiteX23" fmla="*/ 639674 w 938680"/>
                <a:gd name="connsiteY23" fmla="*/ 566719 h 771851"/>
                <a:gd name="connsiteX24" fmla="*/ 664012 w 938680"/>
                <a:gd name="connsiteY24" fmla="*/ 584103 h 771851"/>
                <a:gd name="connsiteX25" fmla="*/ 677919 w 938680"/>
                <a:gd name="connsiteY25" fmla="*/ 598011 h 771851"/>
                <a:gd name="connsiteX26" fmla="*/ 702257 w 938680"/>
                <a:gd name="connsiteY26" fmla="*/ 615395 h 771851"/>
                <a:gd name="connsiteX27" fmla="*/ 723118 w 938680"/>
                <a:gd name="connsiteY27" fmla="*/ 632779 h 771851"/>
                <a:gd name="connsiteX28" fmla="*/ 750932 w 938680"/>
                <a:gd name="connsiteY28" fmla="*/ 664070 h 771851"/>
                <a:gd name="connsiteX29" fmla="*/ 771793 w 938680"/>
                <a:gd name="connsiteY29" fmla="*/ 677977 h 771851"/>
                <a:gd name="connsiteX30" fmla="*/ 778747 w 938680"/>
                <a:gd name="connsiteY30" fmla="*/ 688408 h 771851"/>
                <a:gd name="connsiteX31" fmla="*/ 799607 w 938680"/>
                <a:gd name="connsiteY31" fmla="*/ 698838 h 771851"/>
                <a:gd name="connsiteX32" fmla="*/ 830899 w 938680"/>
                <a:gd name="connsiteY32" fmla="*/ 723176 h 771851"/>
                <a:gd name="connsiteX33" fmla="*/ 841329 w 938680"/>
                <a:gd name="connsiteY33" fmla="*/ 726652 h 771851"/>
                <a:gd name="connsiteX34" fmla="*/ 869143 w 938680"/>
                <a:gd name="connsiteY34" fmla="*/ 740560 h 771851"/>
                <a:gd name="connsiteX35" fmla="*/ 890004 w 938680"/>
                <a:gd name="connsiteY35" fmla="*/ 747513 h 771851"/>
                <a:gd name="connsiteX36" fmla="*/ 910865 w 938680"/>
                <a:gd name="connsiteY36" fmla="*/ 761420 h 771851"/>
                <a:gd name="connsiteX37" fmla="*/ 931726 w 938680"/>
                <a:gd name="connsiteY37" fmla="*/ 768374 h 771851"/>
                <a:gd name="connsiteX38" fmla="*/ 938680 w 938680"/>
                <a:gd name="connsiteY38" fmla="*/ 771851 h 771851"/>
                <a:gd name="connsiteX0" fmla="*/ 76432 w 938680"/>
                <a:gd name="connsiteY0" fmla="*/ 0 h 771851"/>
                <a:gd name="connsiteX1" fmla="*/ 20803 w 938680"/>
                <a:gd name="connsiteY1" fmla="*/ 100827 h 771851"/>
                <a:gd name="connsiteX2" fmla="*/ 3419 w 938680"/>
                <a:gd name="connsiteY2" fmla="*/ 215562 h 771851"/>
                <a:gd name="connsiteX3" fmla="*/ 83385 w 938680"/>
                <a:gd name="connsiteY3" fmla="*/ 299005 h 771851"/>
                <a:gd name="connsiteX4" fmla="*/ 184213 w 938680"/>
                <a:gd name="connsiteY4" fmla="*/ 368541 h 771851"/>
                <a:gd name="connsiteX5" fmla="*/ 225934 w 938680"/>
                <a:gd name="connsiteY5" fmla="*/ 403309 h 771851"/>
                <a:gd name="connsiteX6" fmla="*/ 281563 w 938680"/>
                <a:gd name="connsiteY6" fmla="*/ 417217 h 771851"/>
                <a:gd name="connsiteX7" fmla="*/ 305901 w 938680"/>
                <a:gd name="connsiteY7" fmla="*/ 424170 h 771851"/>
                <a:gd name="connsiteX8" fmla="*/ 354576 w 938680"/>
                <a:gd name="connsiteY8" fmla="*/ 434601 h 771851"/>
                <a:gd name="connsiteX9" fmla="*/ 375437 w 938680"/>
                <a:gd name="connsiteY9" fmla="*/ 441554 h 771851"/>
                <a:gd name="connsiteX10" fmla="*/ 385867 w 938680"/>
                <a:gd name="connsiteY10" fmla="*/ 448508 h 771851"/>
                <a:gd name="connsiteX11" fmla="*/ 396298 w 938680"/>
                <a:gd name="connsiteY11" fmla="*/ 451985 h 771851"/>
                <a:gd name="connsiteX12" fmla="*/ 417159 w 938680"/>
                <a:gd name="connsiteY12" fmla="*/ 469369 h 771851"/>
                <a:gd name="connsiteX13" fmla="*/ 448450 w 938680"/>
                <a:gd name="connsiteY13" fmla="*/ 493706 h 771851"/>
                <a:gd name="connsiteX14" fmla="*/ 472788 w 938680"/>
                <a:gd name="connsiteY14" fmla="*/ 500660 h 771851"/>
                <a:gd name="connsiteX15" fmla="*/ 483218 w 938680"/>
                <a:gd name="connsiteY15" fmla="*/ 507614 h 771851"/>
                <a:gd name="connsiteX16" fmla="*/ 500602 w 938680"/>
                <a:gd name="connsiteY16" fmla="*/ 511090 h 771851"/>
                <a:gd name="connsiteX17" fmla="*/ 514509 w 938680"/>
                <a:gd name="connsiteY17" fmla="*/ 514567 h 771851"/>
                <a:gd name="connsiteX18" fmla="*/ 535370 w 938680"/>
                <a:gd name="connsiteY18" fmla="*/ 521521 h 771851"/>
                <a:gd name="connsiteX19" fmla="*/ 573615 w 938680"/>
                <a:gd name="connsiteY19" fmla="*/ 528474 h 771851"/>
                <a:gd name="connsiteX20" fmla="*/ 594476 w 938680"/>
                <a:gd name="connsiteY20" fmla="*/ 535428 h 771851"/>
                <a:gd name="connsiteX21" fmla="*/ 604906 w 938680"/>
                <a:gd name="connsiteY21" fmla="*/ 542382 h 771851"/>
                <a:gd name="connsiteX22" fmla="*/ 639674 w 938680"/>
                <a:gd name="connsiteY22" fmla="*/ 566719 h 771851"/>
                <a:gd name="connsiteX23" fmla="*/ 664012 w 938680"/>
                <a:gd name="connsiteY23" fmla="*/ 584103 h 771851"/>
                <a:gd name="connsiteX24" fmla="*/ 677919 w 938680"/>
                <a:gd name="connsiteY24" fmla="*/ 598011 h 771851"/>
                <a:gd name="connsiteX25" fmla="*/ 702257 w 938680"/>
                <a:gd name="connsiteY25" fmla="*/ 615395 h 771851"/>
                <a:gd name="connsiteX26" fmla="*/ 723118 w 938680"/>
                <a:gd name="connsiteY26" fmla="*/ 632779 h 771851"/>
                <a:gd name="connsiteX27" fmla="*/ 750932 w 938680"/>
                <a:gd name="connsiteY27" fmla="*/ 664070 h 771851"/>
                <a:gd name="connsiteX28" fmla="*/ 771793 w 938680"/>
                <a:gd name="connsiteY28" fmla="*/ 677977 h 771851"/>
                <a:gd name="connsiteX29" fmla="*/ 778747 w 938680"/>
                <a:gd name="connsiteY29" fmla="*/ 688408 h 771851"/>
                <a:gd name="connsiteX30" fmla="*/ 799607 w 938680"/>
                <a:gd name="connsiteY30" fmla="*/ 698838 h 771851"/>
                <a:gd name="connsiteX31" fmla="*/ 830899 w 938680"/>
                <a:gd name="connsiteY31" fmla="*/ 723176 h 771851"/>
                <a:gd name="connsiteX32" fmla="*/ 841329 w 938680"/>
                <a:gd name="connsiteY32" fmla="*/ 726652 h 771851"/>
                <a:gd name="connsiteX33" fmla="*/ 869143 w 938680"/>
                <a:gd name="connsiteY33" fmla="*/ 740560 h 771851"/>
                <a:gd name="connsiteX34" fmla="*/ 890004 w 938680"/>
                <a:gd name="connsiteY34" fmla="*/ 747513 h 771851"/>
                <a:gd name="connsiteX35" fmla="*/ 910865 w 938680"/>
                <a:gd name="connsiteY35" fmla="*/ 761420 h 771851"/>
                <a:gd name="connsiteX36" fmla="*/ 931726 w 938680"/>
                <a:gd name="connsiteY36" fmla="*/ 768374 h 771851"/>
                <a:gd name="connsiteX37" fmla="*/ 938680 w 938680"/>
                <a:gd name="connsiteY37" fmla="*/ 771851 h 771851"/>
                <a:gd name="connsiteX0" fmla="*/ 76432 w 938680"/>
                <a:gd name="connsiteY0" fmla="*/ 0 h 771851"/>
                <a:gd name="connsiteX1" fmla="*/ 20803 w 938680"/>
                <a:gd name="connsiteY1" fmla="*/ 100827 h 771851"/>
                <a:gd name="connsiteX2" fmla="*/ 3419 w 938680"/>
                <a:gd name="connsiteY2" fmla="*/ 215562 h 771851"/>
                <a:gd name="connsiteX3" fmla="*/ 83385 w 938680"/>
                <a:gd name="connsiteY3" fmla="*/ 299005 h 771851"/>
                <a:gd name="connsiteX4" fmla="*/ 184213 w 938680"/>
                <a:gd name="connsiteY4" fmla="*/ 368541 h 771851"/>
                <a:gd name="connsiteX5" fmla="*/ 225934 w 938680"/>
                <a:gd name="connsiteY5" fmla="*/ 403309 h 771851"/>
                <a:gd name="connsiteX6" fmla="*/ 305901 w 938680"/>
                <a:gd name="connsiteY6" fmla="*/ 424170 h 771851"/>
                <a:gd name="connsiteX7" fmla="*/ 354576 w 938680"/>
                <a:gd name="connsiteY7" fmla="*/ 434601 h 771851"/>
                <a:gd name="connsiteX8" fmla="*/ 375437 w 938680"/>
                <a:gd name="connsiteY8" fmla="*/ 441554 h 771851"/>
                <a:gd name="connsiteX9" fmla="*/ 385867 w 938680"/>
                <a:gd name="connsiteY9" fmla="*/ 448508 h 771851"/>
                <a:gd name="connsiteX10" fmla="*/ 396298 w 938680"/>
                <a:gd name="connsiteY10" fmla="*/ 451985 h 771851"/>
                <a:gd name="connsiteX11" fmla="*/ 417159 w 938680"/>
                <a:gd name="connsiteY11" fmla="*/ 469369 h 771851"/>
                <a:gd name="connsiteX12" fmla="*/ 448450 w 938680"/>
                <a:gd name="connsiteY12" fmla="*/ 493706 h 771851"/>
                <a:gd name="connsiteX13" fmla="*/ 472788 w 938680"/>
                <a:gd name="connsiteY13" fmla="*/ 500660 h 771851"/>
                <a:gd name="connsiteX14" fmla="*/ 483218 w 938680"/>
                <a:gd name="connsiteY14" fmla="*/ 507614 h 771851"/>
                <a:gd name="connsiteX15" fmla="*/ 500602 w 938680"/>
                <a:gd name="connsiteY15" fmla="*/ 511090 h 771851"/>
                <a:gd name="connsiteX16" fmla="*/ 514509 w 938680"/>
                <a:gd name="connsiteY16" fmla="*/ 514567 h 771851"/>
                <a:gd name="connsiteX17" fmla="*/ 535370 w 938680"/>
                <a:gd name="connsiteY17" fmla="*/ 521521 h 771851"/>
                <a:gd name="connsiteX18" fmla="*/ 573615 w 938680"/>
                <a:gd name="connsiteY18" fmla="*/ 528474 h 771851"/>
                <a:gd name="connsiteX19" fmla="*/ 594476 w 938680"/>
                <a:gd name="connsiteY19" fmla="*/ 535428 h 771851"/>
                <a:gd name="connsiteX20" fmla="*/ 604906 w 938680"/>
                <a:gd name="connsiteY20" fmla="*/ 542382 h 771851"/>
                <a:gd name="connsiteX21" fmla="*/ 639674 w 938680"/>
                <a:gd name="connsiteY21" fmla="*/ 566719 h 771851"/>
                <a:gd name="connsiteX22" fmla="*/ 664012 w 938680"/>
                <a:gd name="connsiteY22" fmla="*/ 584103 h 771851"/>
                <a:gd name="connsiteX23" fmla="*/ 677919 w 938680"/>
                <a:gd name="connsiteY23" fmla="*/ 598011 h 771851"/>
                <a:gd name="connsiteX24" fmla="*/ 702257 w 938680"/>
                <a:gd name="connsiteY24" fmla="*/ 615395 h 771851"/>
                <a:gd name="connsiteX25" fmla="*/ 723118 w 938680"/>
                <a:gd name="connsiteY25" fmla="*/ 632779 h 771851"/>
                <a:gd name="connsiteX26" fmla="*/ 750932 w 938680"/>
                <a:gd name="connsiteY26" fmla="*/ 664070 h 771851"/>
                <a:gd name="connsiteX27" fmla="*/ 771793 w 938680"/>
                <a:gd name="connsiteY27" fmla="*/ 677977 h 771851"/>
                <a:gd name="connsiteX28" fmla="*/ 778747 w 938680"/>
                <a:gd name="connsiteY28" fmla="*/ 688408 h 771851"/>
                <a:gd name="connsiteX29" fmla="*/ 799607 w 938680"/>
                <a:gd name="connsiteY29" fmla="*/ 698838 h 771851"/>
                <a:gd name="connsiteX30" fmla="*/ 830899 w 938680"/>
                <a:gd name="connsiteY30" fmla="*/ 723176 h 771851"/>
                <a:gd name="connsiteX31" fmla="*/ 841329 w 938680"/>
                <a:gd name="connsiteY31" fmla="*/ 726652 h 771851"/>
                <a:gd name="connsiteX32" fmla="*/ 869143 w 938680"/>
                <a:gd name="connsiteY32" fmla="*/ 740560 h 771851"/>
                <a:gd name="connsiteX33" fmla="*/ 890004 w 938680"/>
                <a:gd name="connsiteY33" fmla="*/ 747513 h 771851"/>
                <a:gd name="connsiteX34" fmla="*/ 910865 w 938680"/>
                <a:gd name="connsiteY34" fmla="*/ 761420 h 771851"/>
                <a:gd name="connsiteX35" fmla="*/ 931726 w 938680"/>
                <a:gd name="connsiteY35" fmla="*/ 768374 h 771851"/>
                <a:gd name="connsiteX36" fmla="*/ 938680 w 938680"/>
                <a:gd name="connsiteY36" fmla="*/ 771851 h 771851"/>
                <a:gd name="connsiteX0" fmla="*/ 76432 w 938680"/>
                <a:gd name="connsiteY0" fmla="*/ 0 h 771851"/>
                <a:gd name="connsiteX1" fmla="*/ 20803 w 938680"/>
                <a:gd name="connsiteY1" fmla="*/ 100827 h 771851"/>
                <a:gd name="connsiteX2" fmla="*/ 3419 w 938680"/>
                <a:gd name="connsiteY2" fmla="*/ 215562 h 771851"/>
                <a:gd name="connsiteX3" fmla="*/ 83385 w 938680"/>
                <a:gd name="connsiteY3" fmla="*/ 299005 h 771851"/>
                <a:gd name="connsiteX4" fmla="*/ 184213 w 938680"/>
                <a:gd name="connsiteY4" fmla="*/ 368541 h 771851"/>
                <a:gd name="connsiteX5" fmla="*/ 225934 w 938680"/>
                <a:gd name="connsiteY5" fmla="*/ 403309 h 771851"/>
                <a:gd name="connsiteX6" fmla="*/ 305901 w 938680"/>
                <a:gd name="connsiteY6" fmla="*/ 424170 h 771851"/>
                <a:gd name="connsiteX7" fmla="*/ 354576 w 938680"/>
                <a:gd name="connsiteY7" fmla="*/ 434601 h 771851"/>
                <a:gd name="connsiteX8" fmla="*/ 375437 w 938680"/>
                <a:gd name="connsiteY8" fmla="*/ 441554 h 771851"/>
                <a:gd name="connsiteX9" fmla="*/ 396298 w 938680"/>
                <a:gd name="connsiteY9" fmla="*/ 451985 h 771851"/>
                <a:gd name="connsiteX10" fmla="*/ 417159 w 938680"/>
                <a:gd name="connsiteY10" fmla="*/ 469369 h 771851"/>
                <a:gd name="connsiteX11" fmla="*/ 448450 w 938680"/>
                <a:gd name="connsiteY11" fmla="*/ 493706 h 771851"/>
                <a:gd name="connsiteX12" fmla="*/ 472788 w 938680"/>
                <a:gd name="connsiteY12" fmla="*/ 500660 h 771851"/>
                <a:gd name="connsiteX13" fmla="*/ 483218 w 938680"/>
                <a:gd name="connsiteY13" fmla="*/ 507614 h 771851"/>
                <a:gd name="connsiteX14" fmla="*/ 500602 w 938680"/>
                <a:gd name="connsiteY14" fmla="*/ 511090 h 771851"/>
                <a:gd name="connsiteX15" fmla="*/ 514509 w 938680"/>
                <a:gd name="connsiteY15" fmla="*/ 514567 h 771851"/>
                <a:gd name="connsiteX16" fmla="*/ 535370 w 938680"/>
                <a:gd name="connsiteY16" fmla="*/ 521521 h 771851"/>
                <a:gd name="connsiteX17" fmla="*/ 573615 w 938680"/>
                <a:gd name="connsiteY17" fmla="*/ 528474 h 771851"/>
                <a:gd name="connsiteX18" fmla="*/ 594476 w 938680"/>
                <a:gd name="connsiteY18" fmla="*/ 535428 h 771851"/>
                <a:gd name="connsiteX19" fmla="*/ 604906 w 938680"/>
                <a:gd name="connsiteY19" fmla="*/ 542382 h 771851"/>
                <a:gd name="connsiteX20" fmla="*/ 639674 w 938680"/>
                <a:gd name="connsiteY20" fmla="*/ 566719 h 771851"/>
                <a:gd name="connsiteX21" fmla="*/ 664012 w 938680"/>
                <a:gd name="connsiteY21" fmla="*/ 584103 h 771851"/>
                <a:gd name="connsiteX22" fmla="*/ 677919 w 938680"/>
                <a:gd name="connsiteY22" fmla="*/ 598011 h 771851"/>
                <a:gd name="connsiteX23" fmla="*/ 702257 w 938680"/>
                <a:gd name="connsiteY23" fmla="*/ 615395 h 771851"/>
                <a:gd name="connsiteX24" fmla="*/ 723118 w 938680"/>
                <a:gd name="connsiteY24" fmla="*/ 632779 h 771851"/>
                <a:gd name="connsiteX25" fmla="*/ 750932 w 938680"/>
                <a:gd name="connsiteY25" fmla="*/ 664070 h 771851"/>
                <a:gd name="connsiteX26" fmla="*/ 771793 w 938680"/>
                <a:gd name="connsiteY26" fmla="*/ 677977 h 771851"/>
                <a:gd name="connsiteX27" fmla="*/ 778747 w 938680"/>
                <a:gd name="connsiteY27" fmla="*/ 688408 h 771851"/>
                <a:gd name="connsiteX28" fmla="*/ 799607 w 938680"/>
                <a:gd name="connsiteY28" fmla="*/ 698838 h 771851"/>
                <a:gd name="connsiteX29" fmla="*/ 830899 w 938680"/>
                <a:gd name="connsiteY29" fmla="*/ 723176 h 771851"/>
                <a:gd name="connsiteX30" fmla="*/ 841329 w 938680"/>
                <a:gd name="connsiteY30" fmla="*/ 726652 h 771851"/>
                <a:gd name="connsiteX31" fmla="*/ 869143 w 938680"/>
                <a:gd name="connsiteY31" fmla="*/ 740560 h 771851"/>
                <a:gd name="connsiteX32" fmla="*/ 890004 w 938680"/>
                <a:gd name="connsiteY32" fmla="*/ 747513 h 771851"/>
                <a:gd name="connsiteX33" fmla="*/ 910865 w 938680"/>
                <a:gd name="connsiteY33" fmla="*/ 761420 h 771851"/>
                <a:gd name="connsiteX34" fmla="*/ 931726 w 938680"/>
                <a:gd name="connsiteY34" fmla="*/ 768374 h 771851"/>
                <a:gd name="connsiteX35" fmla="*/ 938680 w 938680"/>
                <a:gd name="connsiteY35" fmla="*/ 771851 h 771851"/>
                <a:gd name="connsiteX0" fmla="*/ 76432 w 938680"/>
                <a:gd name="connsiteY0" fmla="*/ 0 h 771851"/>
                <a:gd name="connsiteX1" fmla="*/ 20803 w 938680"/>
                <a:gd name="connsiteY1" fmla="*/ 100827 h 771851"/>
                <a:gd name="connsiteX2" fmla="*/ 3419 w 938680"/>
                <a:gd name="connsiteY2" fmla="*/ 215562 h 771851"/>
                <a:gd name="connsiteX3" fmla="*/ 83385 w 938680"/>
                <a:gd name="connsiteY3" fmla="*/ 299005 h 771851"/>
                <a:gd name="connsiteX4" fmla="*/ 184213 w 938680"/>
                <a:gd name="connsiteY4" fmla="*/ 368541 h 771851"/>
                <a:gd name="connsiteX5" fmla="*/ 225934 w 938680"/>
                <a:gd name="connsiteY5" fmla="*/ 403309 h 771851"/>
                <a:gd name="connsiteX6" fmla="*/ 305901 w 938680"/>
                <a:gd name="connsiteY6" fmla="*/ 424170 h 771851"/>
                <a:gd name="connsiteX7" fmla="*/ 354576 w 938680"/>
                <a:gd name="connsiteY7" fmla="*/ 434601 h 771851"/>
                <a:gd name="connsiteX8" fmla="*/ 375437 w 938680"/>
                <a:gd name="connsiteY8" fmla="*/ 441554 h 771851"/>
                <a:gd name="connsiteX9" fmla="*/ 417159 w 938680"/>
                <a:gd name="connsiteY9" fmla="*/ 469369 h 771851"/>
                <a:gd name="connsiteX10" fmla="*/ 448450 w 938680"/>
                <a:gd name="connsiteY10" fmla="*/ 493706 h 771851"/>
                <a:gd name="connsiteX11" fmla="*/ 472788 w 938680"/>
                <a:gd name="connsiteY11" fmla="*/ 500660 h 771851"/>
                <a:gd name="connsiteX12" fmla="*/ 483218 w 938680"/>
                <a:gd name="connsiteY12" fmla="*/ 507614 h 771851"/>
                <a:gd name="connsiteX13" fmla="*/ 500602 w 938680"/>
                <a:gd name="connsiteY13" fmla="*/ 511090 h 771851"/>
                <a:gd name="connsiteX14" fmla="*/ 514509 w 938680"/>
                <a:gd name="connsiteY14" fmla="*/ 514567 h 771851"/>
                <a:gd name="connsiteX15" fmla="*/ 535370 w 938680"/>
                <a:gd name="connsiteY15" fmla="*/ 521521 h 771851"/>
                <a:gd name="connsiteX16" fmla="*/ 573615 w 938680"/>
                <a:gd name="connsiteY16" fmla="*/ 528474 h 771851"/>
                <a:gd name="connsiteX17" fmla="*/ 594476 w 938680"/>
                <a:gd name="connsiteY17" fmla="*/ 535428 h 771851"/>
                <a:gd name="connsiteX18" fmla="*/ 604906 w 938680"/>
                <a:gd name="connsiteY18" fmla="*/ 542382 h 771851"/>
                <a:gd name="connsiteX19" fmla="*/ 639674 w 938680"/>
                <a:gd name="connsiteY19" fmla="*/ 566719 h 771851"/>
                <a:gd name="connsiteX20" fmla="*/ 664012 w 938680"/>
                <a:gd name="connsiteY20" fmla="*/ 584103 h 771851"/>
                <a:gd name="connsiteX21" fmla="*/ 677919 w 938680"/>
                <a:gd name="connsiteY21" fmla="*/ 598011 h 771851"/>
                <a:gd name="connsiteX22" fmla="*/ 702257 w 938680"/>
                <a:gd name="connsiteY22" fmla="*/ 615395 h 771851"/>
                <a:gd name="connsiteX23" fmla="*/ 723118 w 938680"/>
                <a:gd name="connsiteY23" fmla="*/ 632779 h 771851"/>
                <a:gd name="connsiteX24" fmla="*/ 750932 w 938680"/>
                <a:gd name="connsiteY24" fmla="*/ 664070 h 771851"/>
                <a:gd name="connsiteX25" fmla="*/ 771793 w 938680"/>
                <a:gd name="connsiteY25" fmla="*/ 677977 h 771851"/>
                <a:gd name="connsiteX26" fmla="*/ 778747 w 938680"/>
                <a:gd name="connsiteY26" fmla="*/ 688408 h 771851"/>
                <a:gd name="connsiteX27" fmla="*/ 799607 w 938680"/>
                <a:gd name="connsiteY27" fmla="*/ 698838 h 771851"/>
                <a:gd name="connsiteX28" fmla="*/ 830899 w 938680"/>
                <a:gd name="connsiteY28" fmla="*/ 723176 h 771851"/>
                <a:gd name="connsiteX29" fmla="*/ 841329 w 938680"/>
                <a:gd name="connsiteY29" fmla="*/ 726652 h 771851"/>
                <a:gd name="connsiteX30" fmla="*/ 869143 w 938680"/>
                <a:gd name="connsiteY30" fmla="*/ 740560 h 771851"/>
                <a:gd name="connsiteX31" fmla="*/ 890004 w 938680"/>
                <a:gd name="connsiteY31" fmla="*/ 747513 h 771851"/>
                <a:gd name="connsiteX32" fmla="*/ 910865 w 938680"/>
                <a:gd name="connsiteY32" fmla="*/ 761420 h 771851"/>
                <a:gd name="connsiteX33" fmla="*/ 931726 w 938680"/>
                <a:gd name="connsiteY33" fmla="*/ 768374 h 771851"/>
                <a:gd name="connsiteX34" fmla="*/ 938680 w 938680"/>
                <a:gd name="connsiteY34" fmla="*/ 771851 h 771851"/>
                <a:gd name="connsiteX0" fmla="*/ 76432 w 938680"/>
                <a:gd name="connsiteY0" fmla="*/ 0 h 771851"/>
                <a:gd name="connsiteX1" fmla="*/ 20803 w 938680"/>
                <a:gd name="connsiteY1" fmla="*/ 100827 h 771851"/>
                <a:gd name="connsiteX2" fmla="*/ 3419 w 938680"/>
                <a:gd name="connsiteY2" fmla="*/ 215562 h 771851"/>
                <a:gd name="connsiteX3" fmla="*/ 83385 w 938680"/>
                <a:gd name="connsiteY3" fmla="*/ 299005 h 771851"/>
                <a:gd name="connsiteX4" fmla="*/ 184213 w 938680"/>
                <a:gd name="connsiteY4" fmla="*/ 368541 h 771851"/>
                <a:gd name="connsiteX5" fmla="*/ 225934 w 938680"/>
                <a:gd name="connsiteY5" fmla="*/ 403309 h 771851"/>
                <a:gd name="connsiteX6" fmla="*/ 305901 w 938680"/>
                <a:gd name="connsiteY6" fmla="*/ 424170 h 771851"/>
                <a:gd name="connsiteX7" fmla="*/ 354576 w 938680"/>
                <a:gd name="connsiteY7" fmla="*/ 434601 h 771851"/>
                <a:gd name="connsiteX8" fmla="*/ 375437 w 938680"/>
                <a:gd name="connsiteY8" fmla="*/ 441554 h 771851"/>
                <a:gd name="connsiteX9" fmla="*/ 448450 w 938680"/>
                <a:gd name="connsiteY9" fmla="*/ 493706 h 771851"/>
                <a:gd name="connsiteX10" fmla="*/ 472788 w 938680"/>
                <a:gd name="connsiteY10" fmla="*/ 500660 h 771851"/>
                <a:gd name="connsiteX11" fmla="*/ 483218 w 938680"/>
                <a:gd name="connsiteY11" fmla="*/ 507614 h 771851"/>
                <a:gd name="connsiteX12" fmla="*/ 500602 w 938680"/>
                <a:gd name="connsiteY12" fmla="*/ 511090 h 771851"/>
                <a:gd name="connsiteX13" fmla="*/ 514509 w 938680"/>
                <a:gd name="connsiteY13" fmla="*/ 514567 h 771851"/>
                <a:gd name="connsiteX14" fmla="*/ 535370 w 938680"/>
                <a:gd name="connsiteY14" fmla="*/ 521521 h 771851"/>
                <a:gd name="connsiteX15" fmla="*/ 573615 w 938680"/>
                <a:gd name="connsiteY15" fmla="*/ 528474 h 771851"/>
                <a:gd name="connsiteX16" fmla="*/ 594476 w 938680"/>
                <a:gd name="connsiteY16" fmla="*/ 535428 h 771851"/>
                <a:gd name="connsiteX17" fmla="*/ 604906 w 938680"/>
                <a:gd name="connsiteY17" fmla="*/ 542382 h 771851"/>
                <a:gd name="connsiteX18" fmla="*/ 639674 w 938680"/>
                <a:gd name="connsiteY18" fmla="*/ 566719 h 771851"/>
                <a:gd name="connsiteX19" fmla="*/ 664012 w 938680"/>
                <a:gd name="connsiteY19" fmla="*/ 584103 h 771851"/>
                <a:gd name="connsiteX20" fmla="*/ 677919 w 938680"/>
                <a:gd name="connsiteY20" fmla="*/ 598011 h 771851"/>
                <a:gd name="connsiteX21" fmla="*/ 702257 w 938680"/>
                <a:gd name="connsiteY21" fmla="*/ 615395 h 771851"/>
                <a:gd name="connsiteX22" fmla="*/ 723118 w 938680"/>
                <a:gd name="connsiteY22" fmla="*/ 632779 h 771851"/>
                <a:gd name="connsiteX23" fmla="*/ 750932 w 938680"/>
                <a:gd name="connsiteY23" fmla="*/ 664070 h 771851"/>
                <a:gd name="connsiteX24" fmla="*/ 771793 w 938680"/>
                <a:gd name="connsiteY24" fmla="*/ 677977 h 771851"/>
                <a:gd name="connsiteX25" fmla="*/ 778747 w 938680"/>
                <a:gd name="connsiteY25" fmla="*/ 688408 h 771851"/>
                <a:gd name="connsiteX26" fmla="*/ 799607 w 938680"/>
                <a:gd name="connsiteY26" fmla="*/ 698838 h 771851"/>
                <a:gd name="connsiteX27" fmla="*/ 830899 w 938680"/>
                <a:gd name="connsiteY27" fmla="*/ 723176 h 771851"/>
                <a:gd name="connsiteX28" fmla="*/ 841329 w 938680"/>
                <a:gd name="connsiteY28" fmla="*/ 726652 h 771851"/>
                <a:gd name="connsiteX29" fmla="*/ 869143 w 938680"/>
                <a:gd name="connsiteY29" fmla="*/ 740560 h 771851"/>
                <a:gd name="connsiteX30" fmla="*/ 890004 w 938680"/>
                <a:gd name="connsiteY30" fmla="*/ 747513 h 771851"/>
                <a:gd name="connsiteX31" fmla="*/ 910865 w 938680"/>
                <a:gd name="connsiteY31" fmla="*/ 761420 h 771851"/>
                <a:gd name="connsiteX32" fmla="*/ 931726 w 938680"/>
                <a:gd name="connsiteY32" fmla="*/ 768374 h 771851"/>
                <a:gd name="connsiteX33" fmla="*/ 938680 w 938680"/>
                <a:gd name="connsiteY33" fmla="*/ 771851 h 771851"/>
                <a:gd name="connsiteX0" fmla="*/ 76432 w 938680"/>
                <a:gd name="connsiteY0" fmla="*/ 0 h 771851"/>
                <a:gd name="connsiteX1" fmla="*/ 20803 w 938680"/>
                <a:gd name="connsiteY1" fmla="*/ 100827 h 771851"/>
                <a:gd name="connsiteX2" fmla="*/ 3419 w 938680"/>
                <a:gd name="connsiteY2" fmla="*/ 215562 h 771851"/>
                <a:gd name="connsiteX3" fmla="*/ 83385 w 938680"/>
                <a:gd name="connsiteY3" fmla="*/ 299005 h 771851"/>
                <a:gd name="connsiteX4" fmla="*/ 184213 w 938680"/>
                <a:gd name="connsiteY4" fmla="*/ 368541 h 771851"/>
                <a:gd name="connsiteX5" fmla="*/ 225934 w 938680"/>
                <a:gd name="connsiteY5" fmla="*/ 403309 h 771851"/>
                <a:gd name="connsiteX6" fmla="*/ 305901 w 938680"/>
                <a:gd name="connsiteY6" fmla="*/ 424170 h 771851"/>
                <a:gd name="connsiteX7" fmla="*/ 354576 w 938680"/>
                <a:gd name="connsiteY7" fmla="*/ 434601 h 771851"/>
                <a:gd name="connsiteX8" fmla="*/ 375437 w 938680"/>
                <a:gd name="connsiteY8" fmla="*/ 441554 h 771851"/>
                <a:gd name="connsiteX9" fmla="*/ 448450 w 938680"/>
                <a:gd name="connsiteY9" fmla="*/ 493706 h 771851"/>
                <a:gd name="connsiteX10" fmla="*/ 472788 w 938680"/>
                <a:gd name="connsiteY10" fmla="*/ 500660 h 771851"/>
                <a:gd name="connsiteX11" fmla="*/ 500602 w 938680"/>
                <a:gd name="connsiteY11" fmla="*/ 511090 h 771851"/>
                <a:gd name="connsiteX12" fmla="*/ 514509 w 938680"/>
                <a:gd name="connsiteY12" fmla="*/ 514567 h 771851"/>
                <a:gd name="connsiteX13" fmla="*/ 535370 w 938680"/>
                <a:gd name="connsiteY13" fmla="*/ 521521 h 771851"/>
                <a:gd name="connsiteX14" fmla="*/ 573615 w 938680"/>
                <a:gd name="connsiteY14" fmla="*/ 528474 h 771851"/>
                <a:gd name="connsiteX15" fmla="*/ 594476 w 938680"/>
                <a:gd name="connsiteY15" fmla="*/ 535428 h 771851"/>
                <a:gd name="connsiteX16" fmla="*/ 604906 w 938680"/>
                <a:gd name="connsiteY16" fmla="*/ 542382 h 771851"/>
                <a:gd name="connsiteX17" fmla="*/ 639674 w 938680"/>
                <a:gd name="connsiteY17" fmla="*/ 566719 h 771851"/>
                <a:gd name="connsiteX18" fmla="*/ 664012 w 938680"/>
                <a:gd name="connsiteY18" fmla="*/ 584103 h 771851"/>
                <a:gd name="connsiteX19" fmla="*/ 677919 w 938680"/>
                <a:gd name="connsiteY19" fmla="*/ 598011 h 771851"/>
                <a:gd name="connsiteX20" fmla="*/ 702257 w 938680"/>
                <a:gd name="connsiteY20" fmla="*/ 615395 h 771851"/>
                <a:gd name="connsiteX21" fmla="*/ 723118 w 938680"/>
                <a:gd name="connsiteY21" fmla="*/ 632779 h 771851"/>
                <a:gd name="connsiteX22" fmla="*/ 750932 w 938680"/>
                <a:gd name="connsiteY22" fmla="*/ 664070 h 771851"/>
                <a:gd name="connsiteX23" fmla="*/ 771793 w 938680"/>
                <a:gd name="connsiteY23" fmla="*/ 677977 h 771851"/>
                <a:gd name="connsiteX24" fmla="*/ 778747 w 938680"/>
                <a:gd name="connsiteY24" fmla="*/ 688408 h 771851"/>
                <a:gd name="connsiteX25" fmla="*/ 799607 w 938680"/>
                <a:gd name="connsiteY25" fmla="*/ 698838 h 771851"/>
                <a:gd name="connsiteX26" fmla="*/ 830899 w 938680"/>
                <a:gd name="connsiteY26" fmla="*/ 723176 h 771851"/>
                <a:gd name="connsiteX27" fmla="*/ 841329 w 938680"/>
                <a:gd name="connsiteY27" fmla="*/ 726652 h 771851"/>
                <a:gd name="connsiteX28" fmla="*/ 869143 w 938680"/>
                <a:gd name="connsiteY28" fmla="*/ 740560 h 771851"/>
                <a:gd name="connsiteX29" fmla="*/ 890004 w 938680"/>
                <a:gd name="connsiteY29" fmla="*/ 747513 h 771851"/>
                <a:gd name="connsiteX30" fmla="*/ 910865 w 938680"/>
                <a:gd name="connsiteY30" fmla="*/ 761420 h 771851"/>
                <a:gd name="connsiteX31" fmla="*/ 931726 w 938680"/>
                <a:gd name="connsiteY31" fmla="*/ 768374 h 771851"/>
                <a:gd name="connsiteX32" fmla="*/ 938680 w 938680"/>
                <a:gd name="connsiteY32" fmla="*/ 771851 h 771851"/>
                <a:gd name="connsiteX0" fmla="*/ 76432 w 938680"/>
                <a:gd name="connsiteY0" fmla="*/ 0 h 771851"/>
                <a:gd name="connsiteX1" fmla="*/ 20803 w 938680"/>
                <a:gd name="connsiteY1" fmla="*/ 100827 h 771851"/>
                <a:gd name="connsiteX2" fmla="*/ 3419 w 938680"/>
                <a:gd name="connsiteY2" fmla="*/ 215562 h 771851"/>
                <a:gd name="connsiteX3" fmla="*/ 83385 w 938680"/>
                <a:gd name="connsiteY3" fmla="*/ 299005 h 771851"/>
                <a:gd name="connsiteX4" fmla="*/ 184213 w 938680"/>
                <a:gd name="connsiteY4" fmla="*/ 368541 h 771851"/>
                <a:gd name="connsiteX5" fmla="*/ 225934 w 938680"/>
                <a:gd name="connsiteY5" fmla="*/ 403309 h 771851"/>
                <a:gd name="connsiteX6" fmla="*/ 305901 w 938680"/>
                <a:gd name="connsiteY6" fmla="*/ 424170 h 771851"/>
                <a:gd name="connsiteX7" fmla="*/ 354576 w 938680"/>
                <a:gd name="connsiteY7" fmla="*/ 434601 h 771851"/>
                <a:gd name="connsiteX8" fmla="*/ 375437 w 938680"/>
                <a:gd name="connsiteY8" fmla="*/ 441554 h 771851"/>
                <a:gd name="connsiteX9" fmla="*/ 448450 w 938680"/>
                <a:gd name="connsiteY9" fmla="*/ 493706 h 771851"/>
                <a:gd name="connsiteX10" fmla="*/ 472788 w 938680"/>
                <a:gd name="connsiteY10" fmla="*/ 500660 h 771851"/>
                <a:gd name="connsiteX11" fmla="*/ 500602 w 938680"/>
                <a:gd name="connsiteY11" fmla="*/ 511090 h 771851"/>
                <a:gd name="connsiteX12" fmla="*/ 514509 w 938680"/>
                <a:gd name="connsiteY12" fmla="*/ 514567 h 771851"/>
                <a:gd name="connsiteX13" fmla="*/ 573615 w 938680"/>
                <a:gd name="connsiteY13" fmla="*/ 528474 h 771851"/>
                <a:gd name="connsiteX14" fmla="*/ 594476 w 938680"/>
                <a:gd name="connsiteY14" fmla="*/ 535428 h 771851"/>
                <a:gd name="connsiteX15" fmla="*/ 604906 w 938680"/>
                <a:gd name="connsiteY15" fmla="*/ 542382 h 771851"/>
                <a:gd name="connsiteX16" fmla="*/ 639674 w 938680"/>
                <a:gd name="connsiteY16" fmla="*/ 566719 h 771851"/>
                <a:gd name="connsiteX17" fmla="*/ 664012 w 938680"/>
                <a:gd name="connsiteY17" fmla="*/ 584103 h 771851"/>
                <a:gd name="connsiteX18" fmla="*/ 677919 w 938680"/>
                <a:gd name="connsiteY18" fmla="*/ 598011 h 771851"/>
                <a:gd name="connsiteX19" fmla="*/ 702257 w 938680"/>
                <a:gd name="connsiteY19" fmla="*/ 615395 h 771851"/>
                <a:gd name="connsiteX20" fmla="*/ 723118 w 938680"/>
                <a:gd name="connsiteY20" fmla="*/ 632779 h 771851"/>
                <a:gd name="connsiteX21" fmla="*/ 750932 w 938680"/>
                <a:gd name="connsiteY21" fmla="*/ 664070 h 771851"/>
                <a:gd name="connsiteX22" fmla="*/ 771793 w 938680"/>
                <a:gd name="connsiteY22" fmla="*/ 677977 h 771851"/>
                <a:gd name="connsiteX23" fmla="*/ 778747 w 938680"/>
                <a:gd name="connsiteY23" fmla="*/ 688408 h 771851"/>
                <a:gd name="connsiteX24" fmla="*/ 799607 w 938680"/>
                <a:gd name="connsiteY24" fmla="*/ 698838 h 771851"/>
                <a:gd name="connsiteX25" fmla="*/ 830899 w 938680"/>
                <a:gd name="connsiteY25" fmla="*/ 723176 h 771851"/>
                <a:gd name="connsiteX26" fmla="*/ 841329 w 938680"/>
                <a:gd name="connsiteY26" fmla="*/ 726652 h 771851"/>
                <a:gd name="connsiteX27" fmla="*/ 869143 w 938680"/>
                <a:gd name="connsiteY27" fmla="*/ 740560 h 771851"/>
                <a:gd name="connsiteX28" fmla="*/ 890004 w 938680"/>
                <a:gd name="connsiteY28" fmla="*/ 747513 h 771851"/>
                <a:gd name="connsiteX29" fmla="*/ 910865 w 938680"/>
                <a:gd name="connsiteY29" fmla="*/ 761420 h 771851"/>
                <a:gd name="connsiteX30" fmla="*/ 931726 w 938680"/>
                <a:gd name="connsiteY30" fmla="*/ 768374 h 771851"/>
                <a:gd name="connsiteX31" fmla="*/ 938680 w 938680"/>
                <a:gd name="connsiteY31" fmla="*/ 771851 h 771851"/>
                <a:gd name="connsiteX0" fmla="*/ 76432 w 938680"/>
                <a:gd name="connsiteY0" fmla="*/ 0 h 771851"/>
                <a:gd name="connsiteX1" fmla="*/ 20803 w 938680"/>
                <a:gd name="connsiteY1" fmla="*/ 100827 h 771851"/>
                <a:gd name="connsiteX2" fmla="*/ 3419 w 938680"/>
                <a:gd name="connsiteY2" fmla="*/ 215562 h 771851"/>
                <a:gd name="connsiteX3" fmla="*/ 83385 w 938680"/>
                <a:gd name="connsiteY3" fmla="*/ 299005 h 771851"/>
                <a:gd name="connsiteX4" fmla="*/ 184213 w 938680"/>
                <a:gd name="connsiteY4" fmla="*/ 368541 h 771851"/>
                <a:gd name="connsiteX5" fmla="*/ 225934 w 938680"/>
                <a:gd name="connsiteY5" fmla="*/ 403309 h 771851"/>
                <a:gd name="connsiteX6" fmla="*/ 305901 w 938680"/>
                <a:gd name="connsiteY6" fmla="*/ 424170 h 771851"/>
                <a:gd name="connsiteX7" fmla="*/ 354576 w 938680"/>
                <a:gd name="connsiteY7" fmla="*/ 434601 h 771851"/>
                <a:gd name="connsiteX8" fmla="*/ 375437 w 938680"/>
                <a:gd name="connsiteY8" fmla="*/ 441554 h 771851"/>
                <a:gd name="connsiteX9" fmla="*/ 448450 w 938680"/>
                <a:gd name="connsiteY9" fmla="*/ 493706 h 771851"/>
                <a:gd name="connsiteX10" fmla="*/ 472788 w 938680"/>
                <a:gd name="connsiteY10" fmla="*/ 500660 h 771851"/>
                <a:gd name="connsiteX11" fmla="*/ 500602 w 938680"/>
                <a:gd name="connsiteY11" fmla="*/ 511090 h 771851"/>
                <a:gd name="connsiteX12" fmla="*/ 514509 w 938680"/>
                <a:gd name="connsiteY12" fmla="*/ 514567 h 771851"/>
                <a:gd name="connsiteX13" fmla="*/ 573615 w 938680"/>
                <a:gd name="connsiteY13" fmla="*/ 528474 h 771851"/>
                <a:gd name="connsiteX14" fmla="*/ 594476 w 938680"/>
                <a:gd name="connsiteY14" fmla="*/ 535428 h 771851"/>
                <a:gd name="connsiteX15" fmla="*/ 604906 w 938680"/>
                <a:gd name="connsiteY15" fmla="*/ 542382 h 771851"/>
                <a:gd name="connsiteX16" fmla="*/ 639674 w 938680"/>
                <a:gd name="connsiteY16" fmla="*/ 566719 h 771851"/>
                <a:gd name="connsiteX17" fmla="*/ 664012 w 938680"/>
                <a:gd name="connsiteY17" fmla="*/ 584103 h 771851"/>
                <a:gd name="connsiteX18" fmla="*/ 677919 w 938680"/>
                <a:gd name="connsiteY18" fmla="*/ 598011 h 771851"/>
                <a:gd name="connsiteX19" fmla="*/ 702257 w 938680"/>
                <a:gd name="connsiteY19" fmla="*/ 615395 h 771851"/>
                <a:gd name="connsiteX20" fmla="*/ 723118 w 938680"/>
                <a:gd name="connsiteY20" fmla="*/ 632779 h 771851"/>
                <a:gd name="connsiteX21" fmla="*/ 750932 w 938680"/>
                <a:gd name="connsiteY21" fmla="*/ 664070 h 771851"/>
                <a:gd name="connsiteX22" fmla="*/ 771793 w 938680"/>
                <a:gd name="connsiteY22" fmla="*/ 677977 h 771851"/>
                <a:gd name="connsiteX23" fmla="*/ 778747 w 938680"/>
                <a:gd name="connsiteY23" fmla="*/ 688408 h 771851"/>
                <a:gd name="connsiteX24" fmla="*/ 799607 w 938680"/>
                <a:gd name="connsiteY24" fmla="*/ 698838 h 771851"/>
                <a:gd name="connsiteX25" fmla="*/ 830899 w 938680"/>
                <a:gd name="connsiteY25" fmla="*/ 723176 h 771851"/>
                <a:gd name="connsiteX26" fmla="*/ 841329 w 938680"/>
                <a:gd name="connsiteY26" fmla="*/ 726652 h 771851"/>
                <a:gd name="connsiteX27" fmla="*/ 869143 w 938680"/>
                <a:gd name="connsiteY27" fmla="*/ 740560 h 771851"/>
                <a:gd name="connsiteX28" fmla="*/ 890004 w 938680"/>
                <a:gd name="connsiteY28" fmla="*/ 747513 h 771851"/>
                <a:gd name="connsiteX29" fmla="*/ 910865 w 938680"/>
                <a:gd name="connsiteY29" fmla="*/ 761420 h 771851"/>
                <a:gd name="connsiteX30" fmla="*/ 931726 w 938680"/>
                <a:gd name="connsiteY30" fmla="*/ 768374 h 771851"/>
                <a:gd name="connsiteX31" fmla="*/ 938680 w 938680"/>
                <a:gd name="connsiteY31" fmla="*/ 771851 h 771851"/>
                <a:gd name="connsiteX0" fmla="*/ 76432 w 938680"/>
                <a:gd name="connsiteY0" fmla="*/ 0 h 771851"/>
                <a:gd name="connsiteX1" fmla="*/ 20803 w 938680"/>
                <a:gd name="connsiteY1" fmla="*/ 100827 h 771851"/>
                <a:gd name="connsiteX2" fmla="*/ 3419 w 938680"/>
                <a:gd name="connsiteY2" fmla="*/ 215562 h 771851"/>
                <a:gd name="connsiteX3" fmla="*/ 83385 w 938680"/>
                <a:gd name="connsiteY3" fmla="*/ 299005 h 771851"/>
                <a:gd name="connsiteX4" fmla="*/ 184213 w 938680"/>
                <a:gd name="connsiteY4" fmla="*/ 368541 h 771851"/>
                <a:gd name="connsiteX5" fmla="*/ 225934 w 938680"/>
                <a:gd name="connsiteY5" fmla="*/ 403309 h 771851"/>
                <a:gd name="connsiteX6" fmla="*/ 354576 w 938680"/>
                <a:gd name="connsiteY6" fmla="*/ 434601 h 771851"/>
                <a:gd name="connsiteX7" fmla="*/ 375437 w 938680"/>
                <a:gd name="connsiteY7" fmla="*/ 441554 h 771851"/>
                <a:gd name="connsiteX8" fmla="*/ 448450 w 938680"/>
                <a:gd name="connsiteY8" fmla="*/ 493706 h 771851"/>
                <a:gd name="connsiteX9" fmla="*/ 472788 w 938680"/>
                <a:gd name="connsiteY9" fmla="*/ 500660 h 771851"/>
                <a:gd name="connsiteX10" fmla="*/ 500602 w 938680"/>
                <a:gd name="connsiteY10" fmla="*/ 511090 h 771851"/>
                <a:gd name="connsiteX11" fmla="*/ 514509 w 938680"/>
                <a:gd name="connsiteY11" fmla="*/ 514567 h 771851"/>
                <a:gd name="connsiteX12" fmla="*/ 573615 w 938680"/>
                <a:gd name="connsiteY12" fmla="*/ 528474 h 771851"/>
                <a:gd name="connsiteX13" fmla="*/ 594476 w 938680"/>
                <a:gd name="connsiteY13" fmla="*/ 535428 h 771851"/>
                <a:gd name="connsiteX14" fmla="*/ 604906 w 938680"/>
                <a:gd name="connsiteY14" fmla="*/ 542382 h 771851"/>
                <a:gd name="connsiteX15" fmla="*/ 639674 w 938680"/>
                <a:gd name="connsiteY15" fmla="*/ 566719 h 771851"/>
                <a:gd name="connsiteX16" fmla="*/ 664012 w 938680"/>
                <a:gd name="connsiteY16" fmla="*/ 584103 h 771851"/>
                <a:gd name="connsiteX17" fmla="*/ 677919 w 938680"/>
                <a:gd name="connsiteY17" fmla="*/ 598011 h 771851"/>
                <a:gd name="connsiteX18" fmla="*/ 702257 w 938680"/>
                <a:gd name="connsiteY18" fmla="*/ 615395 h 771851"/>
                <a:gd name="connsiteX19" fmla="*/ 723118 w 938680"/>
                <a:gd name="connsiteY19" fmla="*/ 632779 h 771851"/>
                <a:gd name="connsiteX20" fmla="*/ 750932 w 938680"/>
                <a:gd name="connsiteY20" fmla="*/ 664070 h 771851"/>
                <a:gd name="connsiteX21" fmla="*/ 771793 w 938680"/>
                <a:gd name="connsiteY21" fmla="*/ 677977 h 771851"/>
                <a:gd name="connsiteX22" fmla="*/ 778747 w 938680"/>
                <a:gd name="connsiteY22" fmla="*/ 688408 h 771851"/>
                <a:gd name="connsiteX23" fmla="*/ 799607 w 938680"/>
                <a:gd name="connsiteY23" fmla="*/ 698838 h 771851"/>
                <a:gd name="connsiteX24" fmla="*/ 830899 w 938680"/>
                <a:gd name="connsiteY24" fmla="*/ 723176 h 771851"/>
                <a:gd name="connsiteX25" fmla="*/ 841329 w 938680"/>
                <a:gd name="connsiteY25" fmla="*/ 726652 h 771851"/>
                <a:gd name="connsiteX26" fmla="*/ 869143 w 938680"/>
                <a:gd name="connsiteY26" fmla="*/ 740560 h 771851"/>
                <a:gd name="connsiteX27" fmla="*/ 890004 w 938680"/>
                <a:gd name="connsiteY27" fmla="*/ 747513 h 771851"/>
                <a:gd name="connsiteX28" fmla="*/ 910865 w 938680"/>
                <a:gd name="connsiteY28" fmla="*/ 761420 h 771851"/>
                <a:gd name="connsiteX29" fmla="*/ 931726 w 938680"/>
                <a:gd name="connsiteY29" fmla="*/ 768374 h 771851"/>
                <a:gd name="connsiteX30" fmla="*/ 938680 w 938680"/>
                <a:gd name="connsiteY30" fmla="*/ 771851 h 771851"/>
                <a:gd name="connsiteX0" fmla="*/ 76432 w 938680"/>
                <a:gd name="connsiteY0" fmla="*/ 0 h 771851"/>
                <a:gd name="connsiteX1" fmla="*/ 20803 w 938680"/>
                <a:gd name="connsiteY1" fmla="*/ 100827 h 771851"/>
                <a:gd name="connsiteX2" fmla="*/ 3419 w 938680"/>
                <a:gd name="connsiteY2" fmla="*/ 215562 h 771851"/>
                <a:gd name="connsiteX3" fmla="*/ 83385 w 938680"/>
                <a:gd name="connsiteY3" fmla="*/ 299005 h 771851"/>
                <a:gd name="connsiteX4" fmla="*/ 184213 w 938680"/>
                <a:gd name="connsiteY4" fmla="*/ 368541 h 771851"/>
                <a:gd name="connsiteX5" fmla="*/ 225934 w 938680"/>
                <a:gd name="connsiteY5" fmla="*/ 403309 h 771851"/>
                <a:gd name="connsiteX6" fmla="*/ 354576 w 938680"/>
                <a:gd name="connsiteY6" fmla="*/ 434601 h 771851"/>
                <a:gd name="connsiteX7" fmla="*/ 375437 w 938680"/>
                <a:gd name="connsiteY7" fmla="*/ 441554 h 771851"/>
                <a:gd name="connsiteX8" fmla="*/ 382391 w 938680"/>
                <a:gd name="connsiteY8" fmla="*/ 455462 h 771851"/>
                <a:gd name="connsiteX9" fmla="*/ 448450 w 938680"/>
                <a:gd name="connsiteY9" fmla="*/ 493706 h 771851"/>
                <a:gd name="connsiteX10" fmla="*/ 472788 w 938680"/>
                <a:gd name="connsiteY10" fmla="*/ 500660 h 771851"/>
                <a:gd name="connsiteX11" fmla="*/ 500602 w 938680"/>
                <a:gd name="connsiteY11" fmla="*/ 511090 h 771851"/>
                <a:gd name="connsiteX12" fmla="*/ 514509 w 938680"/>
                <a:gd name="connsiteY12" fmla="*/ 514567 h 771851"/>
                <a:gd name="connsiteX13" fmla="*/ 573615 w 938680"/>
                <a:gd name="connsiteY13" fmla="*/ 528474 h 771851"/>
                <a:gd name="connsiteX14" fmla="*/ 594476 w 938680"/>
                <a:gd name="connsiteY14" fmla="*/ 535428 h 771851"/>
                <a:gd name="connsiteX15" fmla="*/ 604906 w 938680"/>
                <a:gd name="connsiteY15" fmla="*/ 542382 h 771851"/>
                <a:gd name="connsiteX16" fmla="*/ 639674 w 938680"/>
                <a:gd name="connsiteY16" fmla="*/ 566719 h 771851"/>
                <a:gd name="connsiteX17" fmla="*/ 664012 w 938680"/>
                <a:gd name="connsiteY17" fmla="*/ 584103 h 771851"/>
                <a:gd name="connsiteX18" fmla="*/ 677919 w 938680"/>
                <a:gd name="connsiteY18" fmla="*/ 598011 h 771851"/>
                <a:gd name="connsiteX19" fmla="*/ 702257 w 938680"/>
                <a:gd name="connsiteY19" fmla="*/ 615395 h 771851"/>
                <a:gd name="connsiteX20" fmla="*/ 723118 w 938680"/>
                <a:gd name="connsiteY20" fmla="*/ 632779 h 771851"/>
                <a:gd name="connsiteX21" fmla="*/ 750932 w 938680"/>
                <a:gd name="connsiteY21" fmla="*/ 664070 h 771851"/>
                <a:gd name="connsiteX22" fmla="*/ 771793 w 938680"/>
                <a:gd name="connsiteY22" fmla="*/ 677977 h 771851"/>
                <a:gd name="connsiteX23" fmla="*/ 778747 w 938680"/>
                <a:gd name="connsiteY23" fmla="*/ 688408 h 771851"/>
                <a:gd name="connsiteX24" fmla="*/ 799607 w 938680"/>
                <a:gd name="connsiteY24" fmla="*/ 698838 h 771851"/>
                <a:gd name="connsiteX25" fmla="*/ 830899 w 938680"/>
                <a:gd name="connsiteY25" fmla="*/ 723176 h 771851"/>
                <a:gd name="connsiteX26" fmla="*/ 841329 w 938680"/>
                <a:gd name="connsiteY26" fmla="*/ 726652 h 771851"/>
                <a:gd name="connsiteX27" fmla="*/ 869143 w 938680"/>
                <a:gd name="connsiteY27" fmla="*/ 740560 h 771851"/>
                <a:gd name="connsiteX28" fmla="*/ 890004 w 938680"/>
                <a:gd name="connsiteY28" fmla="*/ 747513 h 771851"/>
                <a:gd name="connsiteX29" fmla="*/ 910865 w 938680"/>
                <a:gd name="connsiteY29" fmla="*/ 761420 h 771851"/>
                <a:gd name="connsiteX30" fmla="*/ 931726 w 938680"/>
                <a:gd name="connsiteY30" fmla="*/ 768374 h 771851"/>
                <a:gd name="connsiteX31" fmla="*/ 938680 w 938680"/>
                <a:gd name="connsiteY31" fmla="*/ 771851 h 771851"/>
                <a:gd name="connsiteX0" fmla="*/ 76432 w 938680"/>
                <a:gd name="connsiteY0" fmla="*/ 0 h 771851"/>
                <a:gd name="connsiteX1" fmla="*/ 20803 w 938680"/>
                <a:gd name="connsiteY1" fmla="*/ 100827 h 771851"/>
                <a:gd name="connsiteX2" fmla="*/ 3419 w 938680"/>
                <a:gd name="connsiteY2" fmla="*/ 215562 h 771851"/>
                <a:gd name="connsiteX3" fmla="*/ 83385 w 938680"/>
                <a:gd name="connsiteY3" fmla="*/ 299005 h 771851"/>
                <a:gd name="connsiteX4" fmla="*/ 184213 w 938680"/>
                <a:gd name="connsiteY4" fmla="*/ 368541 h 771851"/>
                <a:gd name="connsiteX5" fmla="*/ 225934 w 938680"/>
                <a:gd name="connsiteY5" fmla="*/ 403309 h 771851"/>
                <a:gd name="connsiteX6" fmla="*/ 354576 w 938680"/>
                <a:gd name="connsiteY6" fmla="*/ 434601 h 771851"/>
                <a:gd name="connsiteX7" fmla="*/ 375437 w 938680"/>
                <a:gd name="connsiteY7" fmla="*/ 441554 h 771851"/>
                <a:gd name="connsiteX8" fmla="*/ 448450 w 938680"/>
                <a:gd name="connsiteY8" fmla="*/ 493706 h 771851"/>
                <a:gd name="connsiteX9" fmla="*/ 472788 w 938680"/>
                <a:gd name="connsiteY9" fmla="*/ 500660 h 771851"/>
                <a:gd name="connsiteX10" fmla="*/ 500602 w 938680"/>
                <a:gd name="connsiteY10" fmla="*/ 511090 h 771851"/>
                <a:gd name="connsiteX11" fmla="*/ 514509 w 938680"/>
                <a:gd name="connsiteY11" fmla="*/ 514567 h 771851"/>
                <a:gd name="connsiteX12" fmla="*/ 573615 w 938680"/>
                <a:gd name="connsiteY12" fmla="*/ 528474 h 771851"/>
                <a:gd name="connsiteX13" fmla="*/ 594476 w 938680"/>
                <a:gd name="connsiteY13" fmla="*/ 535428 h 771851"/>
                <a:gd name="connsiteX14" fmla="*/ 604906 w 938680"/>
                <a:gd name="connsiteY14" fmla="*/ 542382 h 771851"/>
                <a:gd name="connsiteX15" fmla="*/ 639674 w 938680"/>
                <a:gd name="connsiteY15" fmla="*/ 566719 h 771851"/>
                <a:gd name="connsiteX16" fmla="*/ 664012 w 938680"/>
                <a:gd name="connsiteY16" fmla="*/ 584103 h 771851"/>
                <a:gd name="connsiteX17" fmla="*/ 677919 w 938680"/>
                <a:gd name="connsiteY17" fmla="*/ 598011 h 771851"/>
                <a:gd name="connsiteX18" fmla="*/ 702257 w 938680"/>
                <a:gd name="connsiteY18" fmla="*/ 615395 h 771851"/>
                <a:gd name="connsiteX19" fmla="*/ 723118 w 938680"/>
                <a:gd name="connsiteY19" fmla="*/ 632779 h 771851"/>
                <a:gd name="connsiteX20" fmla="*/ 750932 w 938680"/>
                <a:gd name="connsiteY20" fmla="*/ 664070 h 771851"/>
                <a:gd name="connsiteX21" fmla="*/ 771793 w 938680"/>
                <a:gd name="connsiteY21" fmla="*/ 677977 h 771851"/>
                <a:gd name="connsiteX22" fmla="*/ 778747 w 938680"/>
                <a:gd name="connsiteY22" fmla="*/ 688408 h 771851"/>
                <a:gd name="connsiteX23" fmla="*/ 799607 w 938680"/>
                <a:gd name="connsiteY23" fmla="*/ 698838 h 771851"/>
                <a:gd name="connsiteX24" fmla="*/ 830899 w 938680"/>
                <a:gd name="connsiteY24" fmla="*/ 723176 h 771851"/>
                <a:gd name="connsiteX25" fmla="*/ 841329 w 938680"/>
                <a:gd name="connsiteY25" fmla="*/ 726652 h 771851"/>
                <a:gd name="connsiteX26" fmla="*/ 869143 w 938680"/>
                <a:gd name="connsiteY26" fmla="*/ 740560 h 771851"/>
                <a:gd name="connsiteX27" fmla="*/ 890004 w 938680"/>
                <a:gd name="connsiteY27" fmla="*/ 747513 h 771851"/>
                <a:gd name="connsiteX28" fmla="*/ 910865 w 938680"/>
                <a:gd name="connsiteY28" fmla="*/ 761420 h 771851"/>
                <a:gd name="connsiteX29" fmla="*/ 931726 w 938680"/>
                <a:gd name="connsiteY29" fmla="*/ 768374 h 771851"/>
                <a:gd name="connsiteX30" fmla="*/ 938680 w 938680"/>
                <a:gd name="connsiteY30" fmla="*/ 771851 h 771851"/>
                <a:gd name="connsiteX0" fmla="*/ 76432 w 938680"/>
                <a:gd name="connsiteY0" fmla="*/ 0 h 771851"/>
                <a:gd name="connsiteX1" fmla="*/ 20803 w 938680"/>
                <a:gd name="connsiteY1" fmla="*/ 100827 h 771851"/>
                <a:gd name="connsiteX2" fmla="*/ 3419 w 938680"/>
                <a:gd name="connsiteY2" fmla="*/ 215562 h 771851"/>
                <a:gd name="connsiteX3" fmla="*/ 83385 w 938680"/>
                <a:gd name="connsiteY3" fmla="*/ 299005 h 771851"/>
                <a:gd name="connsiteX4" fmla="*/ 184213 w 938680"/>
                <a:gd name="connsiteY4" fmla="*/ 368541 h 771851"/>
                <a:gd name="connsiteX5" fmla="*/ 225934 w 938680"/>
                <a:gd name="connsiteY5" fmla="*/ 403309 h 771851"/>
                <a:gd name="connsiteX6" fmla="*/ 354576 w 938680"/>
                <a:gd name="connsiteY6" fmla="*/ 434601 h 771851"/>
                <a:gd name="connsiteX7" fmla="*/ 375437 w 938680"/>
                <a:gd name="connsiteY7" fmla="*/ 441554 h 771851"/>
                <a:gd name="connsiteX8" fmla="*/ 448450 w 938680"/>
                <a:gd name="connsiteY8" fmla="*/ 493706 h 771851"/>
                <a:gd name="connsiteX9" fmla="*/ 472788 w 938680"/>
                <a:gd name="connsiteY9" fmla="*/ 500660 h 771851"/>
                <a:gd name="connsiteX10" fmla="*/ 500602 w 938680"/>
                <a:gd name="connsiteY10" fmla="*/ 511090 h 771851"/>
                <a:gd name="connsiteX11" fmla="*/ 573615 w 938680"/>
                <a:gd name="connsiteY11" fmla="*/ 528474 h 771851"/>
                <a:gd name="connsiteX12" fmla="*/ 594476 w 938680"/>
                <a:gd name="connsiteY12" fmla="*/ 535428 h 771851"/>
                <a:gd name="connsiteX13" fmla="*/ 604906 w 938680"/>
                <a:gd name="connsiteY13" fmla="*/ 542382 h 771851"/>
                <a:gd name="connsiteX14" fmla="*/ 639674 w 938680"/>
                <a:gd name="connsiteY14" fmla="*/ 566719 h 771851"/>
                <a:gd name="connsiteX15" fmla="*/ 664012 w 938680"/>
                <a:gd name="connsiteY15" fmla="*/ 584103 h 771851"/>
                <a:gd name="connsiteX16" fmla="*/ 677919 w 938680"/>
                <a:gd name="connsiteY16" fmla="*/ 598011 h 771851"/>
                <a:gd name="connsiteX17" fmla="*/ 702257 w 938680"/>
                <a:gd name="connsiteY17" fmla="*/ 615395 h 771851"/>
                <a:gd name="connsiteX18" fmla="*/ 723118 w 938680"/>
                <a:gd name="connsiteY18" fmla="*/ 632779 h 771851"/>
                <a:gd name="connsiteX19" fmla="*/ 750932 w 938680"/>
                <a:gd name="connsiteY19" fmla="*/ 664070 h 771851"/>
                <a:gd name="connsiteX20" fmla="*/ 771793 w 938680"/>
                <a:gd name="connsiteY20" fmla="*/ 677977 h 771851"/>
                <a:gd name="connsiteX21" fmla="*/ 778747 w 938680"/>
                <a:gd name="connsiteY21" fmla="*/ 688408 h 771851"/>
                <a:gd name="connsiteX22" fmla="*/ 799607 w 938680"/>
                <a:gd name="connsiteY22" fmla="*/ 698838 h 771851"/>
                <a:gd name="connsiteX23" fmla="*/ 830899 w 938680"/>
                <a:gd name="connsiteY23" fmla="*/ 723176 h 771851"/>
                <a:gd name="connsiteX24" fmla="*/ 841329 w 938680"/>
                <a:gd name="connsiteY24" fmla="*/ 726652 h 771851"/>
                <a:gd name="connsiteX25" fmla="*/ 869143 w 938680"/>
                <a:gd name="connsiteY25" fmla="*/ 740560 h 771851"/>
                <a:gd name="connsiteX26" fmla="*/ 890004 w 938680"/>
                <a:gd name="connsiteY26" fmla="*/ 747513 h 771851"/>
                <a:gd name="connsiteX27" fmla="*/ 910865 w 938680"/>
                <a:gd name="connsiteY27" fmla="*/ 761420 h 771851"/>
                <a:gd name="connsiteX28" fmla="*/ 931726 w 938680"/>
                <a:gd name="connsiteY28" fmla="*/ 768374 h 771851"/>
                <a:gd name="connsiteX29" fmla="*/ 938680 w 938680"/>
                <a:gd name="connsiteY29" fmla="*/ 771851 h 771851"/>
                <a:gd name="connsiteX0" fmla="*/ 76432 w 938680"/>
                <a:gd name="connsiteY0" fmla="*/ 0 h 771851"/>
                <a:gd name="connsiteX1" fmla="*/ 20803 w 938680"/>
                <a:gd name="connsiteY1" fmla="*/ 100827 h 771851"/>
                <a:gd name="connsiteX2" fmla="*/ 3419 w 938680"/>
                <a:gd name="connsiteY2" fmla="*/ 215562 h 771851"/>
                <a:gd name="connsiteX3" fmla="*/ 83385 w 938680"/>
                <a:gd name="connsiteY3" fmla="*/ 299005 h 771851"/>
                <a:gd name="connsiteX4" fmla="*/ 184213 w 938680"/>
                <a:gd name="connsiteY4" fmla="*/ 368541 h 771851"/>
                <a:gd name="connsiteX5" fmla="*/ 225934 w 938680"/>
                <a:gd name="connsiteY5" fmla="*/ 403309 h 771851"/>
                <a:gd name="connsiteX6" fmla="*/ 354576 w 938680"/>
                <a:gd name="connsiteY6" fmla="*/ 434601 h 771851"/>
                <a:gd name="connsiteX7" fmla="*/ 375437 w 938680"/>
                <a:gd name="connsiteY7" fmla="*/ 441554 h 771851"/>
                <a:gd name="connsiteX8" fmla="*/ 448450 w 938680"/>
                <a:gd name="connsiteY8" fmla="*/ 493706 h 771851"/>
                <a:gd name="connsiteX9" fmla="*/ 472788 w 938680"/>
                <a:gd name="connsiteY9" fmla="*/ 500660 h 771851"/>
                <a:gd name="connsiteX10" fmla="*/ 500602 w 938680"/>
                <a:gd name="connsiteY10" fmla="*/ 511090 h 771851"/>
                <a:gd name="connsiteX11" fmla="*/ 573615 w 938680"/>
                <a:gd name="connsiteY11" fmla="*/ 528474 h 771851"/>
                <a:gd name="connsiteX12" fmla="*/ 594476 w 938680"/>
                <a:gd name="connsiteY12" fmla="*/ 535428 h 771851"/>
                <a:gd name="connsiteX13" fmla="*/ 639674 w 938680"/>
                <a:gd name="connsiteY13" fmla="*/ 566719 h 771851"/>
                <a:gd name="connsiteX14" fmla="*/ 664012 w 938680"/>
                <a:gd name="connsiteY14" fmla="*/ 584103 h 771851"/>
                <a:gd name="connsiteX15" fmla="*/ 677919 w 938680"/>
                <a:gd name="connsiteY15" fmla="*/ 598011 h 771851"/>
                <a:gd name="connsiteX16" fmla="*/ 702257 w 938680"/>
                <a:gd name="connsiteY16" fmla="*/ 615395 h 771851"/>
                <a:gd name="connsiteX17" fmla="*/ 723118 w 938680"/>
                <a:gd name="connsiteY17" fmla="*/ 632779 h 771851"/>
                <a:gd name="connsiteX18" fmla="*/ 750932 w 938680"/>
                <a:gd name="connsiteY18" fmla="*/ 664070 h 771851"/>
                <a:gd name="connsiteX19" fmla="*/ 771793 w 938680"/>
                <a:gd name="connsiteY19" fmla="*/ 677977 h 771851"/>
                <a:gd name="connsiteX20" fmla="*/ 778747 w 938680"/>
                <a:gd name="connsiteY20" fmla="*/ 688408 h 771851"/>
                <a:gd name="connsiteX21" fmla="*/ 799607 w 938680"/>
                <a:gd name="connsiteY21" fmla="*/ 698838 h 771851"/>
                <a:gd name="connsiteX22" fmla="*/ 830899 w 938680"/>
                <a:gd name="connsiteY22" fmla="*/ 723176 h 771851"/>
                <a:gd name="connsiteX23" fmla="*/ 841329 w 938680"/>
                <a:gd name="connsiteY23" fmla="*/ 726652 h 771851"/>
                <a:gd name="connsiteX24" fmla="*/ 869143 w 938680"/>
                <a:gd name="connsiteY24" fmla="*/ 740560 h 771851"/>
                <a:gd name="connsiteX25" fmla="*/ 890004 w 938680"/>
                <a:gd name="connsiteY25" fmla="*/ 747513 h 771851"/>
                <a:gd name="connsiteX26" fmla="*/ 910865 w 938680"/>
                <a:gd name="connsiteY26" fmla="*/ 761420 h 771851"/>
                <a:gd name="connsiteX27" fmla="*/ 931726 w 938680"/>
                <a:gd name="connsiteY27" fmla="*/ 768374 h 771851"/>
                <a:gd name="connsiteX28" fmla="*/ 938680 w 938680"/>
                <a:gd name="connsiteY28" fmla="*/ 771851 h 771851"/>
                <a:gd name="connsiteX0" fmla="*/ 76432 w 938680"/>
                <a:gd name="connsiteY0" fmla="*/ 0 h 771851"/>
                <a:gd name="connsiteX1" fmla="*/ 20803 w 938680"/>
                <a:gd name="connsiteY1" fmla="*/ 100827 h 771851"/>
                <a:gd name="connsiteX2" fmla="*/ 3419 w 938680"/>
                <a:gd name="connsiteY2" fmla="*/ 215562 h 771851"/>
                <a:gd name="connsiteX3" fmla="*/ 83385 w 938680"/>
                <a:gd name="connsiteY3" fmla="*/ 299005 h 771851"/>
                <a:gd name="connsiteX4" fmla="*/ 184213 w 938680"/>
                <a:gd name="connsiteY4" fmla="*/ 368541 h 771851"/>
                <a:gd name="connsiteX5" fmla="*/ 225934 w 938680"/>
                <a:gd name="connsiteY5" fmla="*/ 403309 h 771851"/>
                <a:gd name="connsiteX6" fmla="*/ 354576 w 938680"/>
                <a:gd name="connsiteY6" fmla="*/ 434601 h 771851"/>
                <a:gd name="connsiteX7" fmla="*/ 375437 w 938680"/>
                <a:gd name="connsiteY7" fmla="*/ 441554 h 771851"/>
                <a:gd name="connsiteX8" fmla="*/ 448450 w 938680"/>
                <a:gd name="connsiteY8" fmla="*/ 493706 h 771851"/>
                <a:gd name="connsiteX9" fmla="*/ 472788 w 938680"/>
                <a:gd name="connsiteY9" fmla="*/ 500660 h 771851"/>
                <a:gd name="connsiteX10" fmla="*/ 500602 w 938680"/>
                <a:gd name="connsiteY10" fmla="*/ 511090 h 771851"/>
                <a:gd name="connsiteX11" fmla="*/ 573615 w 938680"/>
                <a:gd name="connsiteY11" fmla="*/ 528474 h 771851"/>
                <a:gd name="connsiteX12" fmla="*/ 594476 w 938680"/>
                <a:gd name="connsiteY12" fmla="*/ 535428 h 771851"/>
                <a:gd name="connsiteX13" fmla="*/ 639674 w 938680"/>
                <a:gd name="connsiteY13" fmla="*/ 566719 h 771851"/>
                <a:gd name="connsiteX14" fmla="*/ 664012 w 938680"/>
                <a:gd name="connsiteY14" fmla="*/ 584103 h 771851"/>
                <a:gd name="connsiteX15" fmla="*/ 677919 w 938680"/>
                <a:gd name="connsiteY15" fmla="*/ 598011 h 771851"/>
                <a:gd name="connsiteX16" fmla="*/ 723118 w 938680"/>
                <a:gd name="connsiteY16" fmla="*/ 632779 h 771851"/>
                <a:gd name="connsiteX17" fmla="*/ 750932 w 938680"/>
                <a:gd name="connsiteY17" fmla="*/ 664070 h 771851"/>
                <a:gd name="connsiteX18" fmla="*/ 771793 w 938680"/>
                <a:gd name="connsiteY18" fmla="*/ 677977 h 771851"/>
                <a:gd name="connsiteX19" fmla="*/ 778747 w 938680"/>
                <a:gd name="connsiteY19" fmla="*/ 688408 h 771851"/>
                <a:gd name="connsiteX20" fmla="*/ 799607 w 938680"/>
                <a:gd name="connsiteY20" fmla="*/ 698838 h 771851"/>
                <a:gd name="connsiteX21" fmla="*/ 830899 w 938680"/>
                <a:gd name="connsiteY21" fmla="*/ 723176 h 771851"/>
                <a:gd name="connsiteX22" fmla="*/ 841329 w 938680"/>
                <a:gd name="connsiteY22" fmla="*/ 726652 h 771851"/>
                <a:gd name="connsiteX23" fmla="*/ 869143 w 938680"/>
                <a:gd name="connsiteY23" fmla="*/ 740560 h 771851"/>
                <a:gd name="connsiteX24" fmla="*/ 890004 w 938680"/>
                <a:gd name="connsiteY24" fmla="*/ 747513 h 771851"/>
                <a:gd name="connsiteX25" fmla="*/ 910865 w 938680"/>
                <a:gd name="connsiteY25" fmla="*/ 761420 h 771851"/>
                <a:gd name="connsiteX26" fmla="*/ 931726 w 938680"/>
                <a:gd name="connsiteY26" fmla="*/ 768374 h 771851"/>
                <a:gd name="connsiteX27" fmla="*/ 938680 w 938680"/>
                <a:gd name="connsiteY27" fmla="*/ 771851 h 771851"/>
                <a:gd name="connsiteX0" fmla="*/ 76432 w 938680"/>
                <a:gd name="connsiteY0" fmla="*/ 0 h 771851"/>
                <a:gd name="connsiteX1" fmla="*/ 20803 w 938680"/>
                <a:gd name="connsiteY1" fmla="*/ 100827 h 771851"/>
                <a:gd name="connsiteX2" fmla="*/ 3419 w 938680"/>
                <a:gd name="connsiteY2" fmla="*/ 215562 h 771851"/>
                <a:gd name="connsiteX3" fmla="*/ 83385 w 938680"/>
                <a:gd name="connsiteY3" fmla="*/ 299005 h 771851"/>
                <a:gd name="connsiteX4" fmla="*/ 184213 w 938680"/>
                <a:gd name="connsiteY4" fmla="*/ 368541 h 771851"/>
                <a:gd name="connsiteX5" fmla="*/ 225934 w 938680"/>
                <a:gd name="connsiteY5" fmla="*/ 403309 h 771851"/>
                <a:gd name="connsiteX6" fmla="*/ 354576 w 938680"/>
                <a:gd name="connsiteY6" fmla="*/ 434601 h 771851"/>
                <a:gd name="connsiteX7" fmla="*/ 375437 w 938680"/>
                <a:gd name="connsiteY7" fmla="*/ 441554 h 771851"/>
                <a:gd name="connsiteX8" fmla="*/ 448450 w 938680"/>
                <a:gd name="connsiteY8" fmla="*/ 493706 h 771851"/>
                <a:gd name="connsiteX9" fmla="*/ 472788 w 938680"/>
                <a:gd name="connsiteY9" fmla="*/ 500660 h 771851"/>
                <a:gd name="connsiteX10" fmla="*/ 500602 w 938680"/>
                <a:gd name="connsiteY10" fmla="*/ 511090 h 771851"/>
                <a:gd name="connsiteX11" fmla="*/ 573615 w 938680"/>
                <a:gd name="connsiteY11" fmla="*/ 528474 h 771851"/>
                <a:gd name="connsiteX12" fmla="*/ 594476 w 938680"/>
                <a:gd name="connsiteY12" fmla="*/ 535428 h 771851"/>
                <a:gd name="connsiteX13" fmla="*/ 639674 w 938680"/>
                <a:gd name="connsiteY13" fmla="*/ 566719 h 771851"/>
                <a:gd name="connsiteX14" fmla="*/ 664012 w 938680"/>
                <a:gd name="connsiteY14" fmla="*/ 584103 h 771851"/>
                <a:gd name="connsiteX15" fmla="*/ 677919 w 938680"/>
                <a:gd name="connsiteY15" fmla="*/ 598011 h 771851"/>
                <a:gd name="connsiteX16" fmla="*/ 723118 w 938680"/>
                <a:gd name="connsiteY16" fmla="*/ 632779 h 771851"/>
                <a:gd name="connsiteX17" fmla="*/ 750932 w 938680"/>
                <a:gd name="connsiteY17" fmla="*/ 664070 h 771851"/>
                <a:gd name="connsiteX18" fmla="*/ 778747 w 938680"/>
                <a:gd name="connsiteY18" fmla="*/ 688408 h 771851"/>
                <a:gd name="connsiteX19" fmla="*/ 799607 w 938680"/>
                <a:gd name="connsiteY19" fmla="*/ 698838 h 771851"/>
                <a:gd name="connsiteX20" fmla="*/ 830899 w 938680"/>
                <a:gd name="connsiteY20" fmla="*/ 723176 h 771851"/>
                <a:gd name="connsiteX21" fmla="*/ 841329 w 938680"/>
                <a:gd name="connsiteY21" fmla="*/ 726652 h 771851"/>
                <a:gd name="connsiteX22" fmla="*/ 869143 w 938680"/>
                <a:gd name="connsiteY22" fmla="*/ 740560 h 771851"/>
                <a:gd name="connsiteX23" fmla="*/ 890004 w 938680"/>
                <a:gd name="connsiteY23" fmla="*/ 747513 h 771851"/>
                <a:gd name="connsiteX24" fmla="*/ 910865 w 938680"/>
                <a:gd name="connsiteY24" fmla="*/ 761420 h 771851"/>
                <a:gd name="connsiteX25" fmla="*/ 931726 w 938680"/>
                <a:gd name="connsiteY25" fmla="*/ 768374 h 771851"/>
                <a:gd name="connsiteX26" fmla="*/ 938680 w 938680"/>
                <a:gd name="connsiteY26" fmla="*/ 771851 h 771851"/>
                <a:gd name="connsiteX0" fmla="*/ 76432 w 938680"/>
                <a:gd name="connsiteY0" fmla="*/ 0 h 771851"/>
                <a:gd name="connsiteX1" fmla="*/ 20803 w 938680"/>
                <a:gd name="connsiteY1" fmla="*/ 100827 h 771851"/>
                <a:gd name="connsiteX2" fmla="*/ 3419 w 938680"/>
                <a:gd name="connsiteY2" fmla="*/ 215562 h 771851"/>
                <a:gd name="connsiteX3" fmla="*/ 83385 w 938680"/>
                <a:gd name="connsiteY3" fmla="*/ 299005 h 771851"/>
                <a:gd name="connsiteX4" fmla="*/ 184213 w 938680"/>
                <a:gd name="connsiteY4" fmla="*/ 368541 h 771851"/>
                <a:gd name="connsiteX5" fmla="*/ 225934 w 938680"/>
                <a:gd name="connsiteY5" fmla="*/ 403309 h 771851"/>
                <a:gd name="connsiteX6" fmla="*/ 354576 w 938680"/>
                <a:gd name="connsiteY6" fmla="*/ 434601 h 771851"/>
                <a:gd name="connsiteX7" fmla="*/ 375437 w 938680"/>
                <a:gd name="connsiteY7" fmla="*/ 441554 h 771851"/>
                <a:gd name="connsiteX8" fmla="*/ 448450 w 938680"/>
                <a:gd name="connsiteY8" fmla="*/ 493706 h 771851"/>
                <a:gd name="connsiteX9" fmla="*/ 472788 w 938680"/>
                <a:gd name="connsiteY9" fmla="*/ 500660 h 771851"/>
                <a:gd name="connsiteX10" fmla="*/ 500602 w 938680"/>
                <a:gd name="connsiteY10" fmla="*/ 511090 h 771851"/>
                <a:gd name="connsiteX11" fmla="*/ 573615 w 938680"/>
                <a:gd name="connsiteY11" fmla="*/ 528474 h 771851"/>
                <a:gd name="connsiteX12" fmla="*/ 594476 w 938680"/>
                <a:gd name="connsiteY12" fmla="*/ 535428 h 771851"/>
                <a:gd name="connsiteX13" fmla="*/ 639674 w 938680"/>
                <a:gd name="connsiteY13" fmla="*/ 566719 h 771851"/>
                <a:gd name="connsiteX14" fmla="*/ 664012 w 938680"/>
                <a:gd name="connsiteY14" fmla="*/ 584103 h 771851"/>
                <a:gd name="connsiteX15" fmla="*/ 677919 w 938680"/>
                <a:gd name="connsiteY15" fmla="*/ 598011 h 771851"/>
                <a:gd name="connsiteX16" fmla="*/ 723118 w 938680"/>
                <a:gd name="connsiteY16" fmla="*/ 632779 h 771851"/>
                <a:gd name="connsiteX17" fmla="*/ 778747 w 938680"/>
                <a:gd name="connsiteY17" fmla="*/ 688408 h 771851"/>
                <a:gd name="connsiteX18" fmla="*/ 799607 w 938680"/>
                <a:gd name="connsiteY18" fmla="*/ 698838 h 771851"/>
                <a:gd name="connsiteX19" fmla="*/ 830899 w 938680"/>
                <a:gd name="connsiteY19" fmla="*/ 723176 h 771851"/>
                <a:gd name="connsiteX20" fmla="*/ 841329 w 938680"/>
                <a:gd name="connsiteY20" fmla="*/ 726652 h 771851"/>
                <a:gd name="connsiteX21" fmla="*/ 869143 w 938680"/>
                <a:gd name="connsiteY21" fmla="*/ 740560 h 771851"/>
                <a:gd name="connsiteX22" fmla="*/ 890004 w 938680"/>
                <a:gd name="connsiteY22" fmla="*/ 747513 h 771851"/>
                <a:gd name="connsiteX23" fmla="*/ 910865 w 938680"/>
                <a:gd name="connsiteY23" fmla="*/ 761420 h 771851"/>
                <a:gd name="connsiteX24" fmla="*/ 931726 w 938680"/>
                <a:gd name="connsiteY24" fmla="*/ 768374 h 771851"/>
                <a:gd name="connsiteX25" fmla="*/ 938680 w 938680"/>
                <a:gd name="connsiteY25" fmla="*/ 771851 h 771851"/>
                <a:gd name="connsiteX0" fmla="*/ 76432 w 938680"/>
                <a:gd name="connsiteY0" fmla="*/ 0 h 771851"/>
                <a:gd name="connsiteX1" fmla="*/ 20803 w 938680"/>
                <a:gd name="connsiteY1" fmla="*/ 100827 h 771851"/>
                <a:gd name="connsiteX2" fmla="*/ 3419 w 938680"/>
                <a:gd name="connsiteY2" fmla="*/ 215562 h 771851"/>
                <a:gd name="connsiteX3" fmla="*/ 83385 w 938680"/>
                <a:gd name="connsiteY3" fmla="*/ 299005 h 771851"/>
                <a:gd name="connsiteX4" fmla="*/ 184213 w 938680"/>
                <a:gd name="connsiteY4" fmla="*/ 368541 h 771851"/>
                <a:gd name="connsiteX5" fmla="*/ 225934 w 938680"/>
                <a:gd name="connsiteY5" fmla="*/ 403309 h 771851"/>
                <a:gd name="connsiteX6" fmla="*/ 354576 w 938680"/>
                <a:gd name="connsiteY6" fmla="*/ 434601 h 771851"/>
                <a:gd name="connsiteX7" fmla="*/ 375437 w 938680"/>
                <a:gd name="connsiteY7" fmla="*/ 441554 h 771851"/>
                <a:gd name="connsiteX8" fmla="*/ 448450 w 938680"/>
                <a:gd name="connsiteY8" fmla="*/ 493706 h 771851"/>
                <a:gd name="connsiteX9" fmla="*/ 472788 w 938680"/>
                <a:gd name="connsiteY9" fmla="*/ 500660 h 771851"/>
                <a:gd name="connsiteX10" fmla="*/ 500602 w 938680"/>
                <a:gd name="connsiteY10" fmla="*/ 511090 h 771851"/>
                <a:gd name="connsiteX11" fmla="*/ 573615 w 938680"/>
                <a:gd name="connsiteY11" fmla="*/ 528474 h 771851"/>
                <a:gd name="connsiteX12" fmla="*/ 594476 w 938680"/>
                <a:gd name="connsiteY12" fmla="*/ 535428 h 771851"/>
                <a:gd name="connsiteX13" fmla="*/ 639674 w 938680"/>
                <a:gd name="connsiteY13" fmla="*/ 566719 h 771851"/>
                <a:gd name="connsiteX14" fmla="*/ 664012 w 938680"/>
                <a:gd name="connsiteY14" fmla="*/ 584103 h 771851"/>
                <a:gd name="connsiteX15" fmla="*/ 723118 w 938680"/>
                <a:gd name="connsiteY15" fmla="*/ 632779 h 771851"/>
                <a:gd name="connsiteX16" fmla="*/ 778747 w 938680"/>
                <a:gd name="connsiteY16" fmla="*/ 688408 h 771851"/>
                <a:gd name="connsiteX17" fmla="*/ 799607 w 938680"/>
                <a:gd name="connsiteY17" fmla="*/ 698838 h 771851"/>
                <a:gd name="connsiteX18" fmla="*/ 830899 w 938680"/>
                <a:gd name="connsiteY18" fmla="*/ 723176 h 771851"/>
                <a:gd name="connsiteX19" fmla="*/ 841329 w 938680"/>
                <a:gd name="connsiteY19" fmla="*/ 726652 h 771851"/>
                <a:gd name="connsiteX20" fmla="*/ 869143 w 938680"/>
                <a:gd name="connsiteY20" fmla="*/ 740560 h 771851"/>
                <a:gd name="connsiteX21" fmla="*/ 890004 w 938680"/>
                <a:gd name="connsiteY21" fmla="*/ 747513 h 771851"/>
                <a:gd name="connsiteX22" fmla="*/ 910865 w 938680"/>
                <a:gd name="connsiteY22" fmla="*/ 761420 h 771851"/>
                <a:gd name="connsiteX23" fmla="*/ 931726 w 938680"/>
                <a:gd name="connsiteY23" fmla="*/ 768374 h 771851"/>
                <a:gd name="connsiteX24" fmla="*/ 938680 w 938680"/>
                <a:gd name="connsiteY24" fmla="*/ 771851 h 771851"/>
                <a:gd name="connsiteX0" fmla="*/ 76432 w 938680"/>
                <a:gd name="connsiteY0" fmla="*/ 0 h 771851"/>
                <a:gd name="connsiteX1" fmla="*/ 20803 w 938680"/>
                <a:gd name="connsiteY1" fmla="*/ 100827 h 771851"/>
                <a:gd name="connsiteX2" fmla="*/ 3419 w 938680"/>
                <a:gd name="connsiteY2" fmla="*/ 215562 h 771851"/>
                <a:gd name="connsiteX3" fmla="*/ 83385 w 938680"/>
                <a:gd name="connsiteY3" fmla="*/ 299005 h 771851"/>
                <a:gd name="connsiteX4" fmla="*/ 184213 w 938680"/>
                <a:gd name="connsiteY4" fmla="*/ 368541 h 771851"/>
                <a:gd name="connsiteX5" fmla="*/ 225934 w 938680"/>
                <a:gd name="connsiteY5" fmla="*/ 403309 h 771851"/>
                <a:gd name="connsiteX6" fmla="*/ 354576 w 938680"/>
                <a:gd name="connsiteY6" fmla="*/ 434601 h 771851"/>
                <a:gd name="connsiteX7" fmla="*/ 375437 w 938680"/>
                <a:gd name="connsiteY7" fmla="*/ 441554 h 771851"/>
                <a:gd name="connsiteX8" fmla="*/ 448450 w 938680"/>
                <a:gd name="connsiteY8" fmla="*/ 493706 h 771851"/>
                <a:gd name="connsiteX9" fmla="*/ 472788 w 938680"/>
                <a:gd name="connsiteY9" fmla="*/ 500660 h 771851"/>
                <a:gd name="connsiteX10" fmla="*/ 500602 w 938680"/>
                <a:gd name="connsiteY10" fmla="*/ 511090 h 771851"/>
                <a:gd name="connsiteX11" fmla="*/ 573615 w 938680"/>
                <a:gd name="connsiteY11" fmla="*/ 528474 h 771851"/>
                <a:gd name="connsiteX12" fmla="*/ 594476 w 938680"/>
                <a:gd name="connsiteY12" fmla="*/ 535428 h 771851"/>
                <a:gd name="connsiteX13" fmla="*/ 639674 w 938680"/>
                <a:gd name="connsiteY13" fmla="*/ 566719 h 771851"/>
                <a:gd name="connsiteX14" fmla="*/ 723118 w 938680"/>
                <a:gd name="connsiteY14" fmla="*/ 632779 h 771851"/>
                <a:gd name="connsiteX15" fmla="*/ 778747 w 938680"/>
                <a:gd name="connsiteY15" fmla="*/ 688408 h 771851"/>
                <a:gd name="connsiteX16" fmla="*/ 799607 w 938680"/>
                <a:gd name="connsiteY16" fmla="*/ 698838 h 771851"/>
                <a:gd name="connsiteX17" fmla="*/ 830899 w 938680"/>
                <a:gd name="connsiteY17" fmla="*/ 723176 h 771851"/>
                <a:gd name="connsiteX18" fmla="*/ 841329 w 938680"/>
                <a:gd name="connsiteY18" fmla="*/ 726652 h 771851"/>
                <a:gd name="connsiteX19" fmla="*/ 869143 w 938680"/>
                <a:gd name="connsiteY19" fmla="*/ 740560 h 771851"/>
                <a:gd name="connsiteX20" fmla="*/ 890004 w 938680"/>
                <a:gd name="connsiteY20" fmla="*/ 747513 h 771851"/>
                <a:gd name="connsiteX21" fmla="*/ 910865 w 938680"/>
                <a:gd name="connsiteY21" fmla="*/ 761420 h 771851"/>
                <a:gd name="connsiteX22" fmla="*/ 931726 w 938680"/>
                <a:gd name="connsiteY22" fmla="*/ 768374 h 771851"/>
                <a:gd name="connsiteX23" fmla="*/ 938680 w 938680"/>
                <a:gd name="connsiteY23" fmla="*/ 771851 h 771851"/>
                <a:gd name="connsiteX0" fmla="*/ 76432 w 938680"/>
                <a:gd name="connsiteY0" fmla="*/ 0 h 771851"/>
                <a:gd name="connsiteX1" fmla="*/ 20803 w 938680"/>
                <a:gd name="connsiteY1" fmla="*/ 100827 h 771851"/>
                <a:gd name="connsiteX2" fmla="*/ 3419 w 938680"/>
                <a:gd name="connsiteY2" fmla="*/ 215562 h 771851"/>
                <a:gd name="connsiteX3" fmla="*/ 83385 w 938680"/>
                <a:gd name="connsiteY3" fmla="*/ 299005 h 771851"/>
                <a:gd name="connsiteX4" fmla="*/ 184213 w 938680"/>
                <a:gd name="connsiteY4" fmla="*/ 368541 h 771851"/>
                <a:gd name="connsiteX5" fmla="*/ 225934 w 938680"/>
                <a:gd name="connsiteY5" fmla="*/ 403309 h 771851"/>
                <a:gd name="connsiteX6" fmla="*/ 354576 w 938680"/>
                <a:gd name="connsiteY6" fmla="*/ 434601 h 771851"/>
                <a:gd name="connsiteX7" fmla="*/ 375437 w 938680"/>
                <a:gd name="connsiteY7" fmla="*/ 441554 h 771851"/>
                <a:gd name="connsiteX8" fmla="*/ 448450 w 938680"/>
                <a:gd name="connsiteY8" fmla="*/ 493706 h 771851"/>
                <a:gd name="connsiteX9" fmla="*/ 472788 w 938680"/>
                <a:gd name="connsiteY9" fmla="*/ 500660 h 771851"/>
                <a:gd name="connsiteX10" fmla="*/ 500602 w 938680"/>
                <a:gd name="connsiteY10" fmla="*/ 511090 h 771851"/>
                <a:gd name="connsiteX11" fmla="*/ 573615 w 938680"/>
                <a:gd name="connsiteY11" fmla="*/ 528474 h 771851"/>
                <a:gd name="connsiteX12" fmla="*/ 639674 w 938680"/>
                <a:gd name="connsiteY12" fmla="*/ 566719 h 771851"/>
                <a:gd name="connsiteX13" fmla="*/ 723118 w 938680"/>
                <a:gd name="connsiteY13" fmla="*/ 632779 h 771851"/>
                <a:gd name="connsiteX14" fmla="*/ 778747 w 938680"/>
                <a:gd name="connsiteY14" fmla="*/ 688408 h 771851"/>
                <a:gd name="connsiteX15" fmla="*/ 799607 w 938680"/>
                <a:gd name="connsiteY15" fmla="*/ 698838 h 771851"/>
                <a:gd name="connsiteX16" fmla="*/ 830899 w 938680"/>
                <a:gd name="connsiteY16" fmla="*/ 723176 h 771851"/>
                <a:gd name="connsiteX17" fmla="*/ 841329 w 938680"/>
                <a:gd name="connsiteY17" fmla="*/ 726652 h 771851"/>
                <a:gd name="connsiteX18" fmla="*/ 869143 w 938680"/>
                <a:gd name="connsiteY18" fmla="*/ 740560 h 771851"/>
                <a:gd name="connsiteX19" fmla="*/ 890004 w 938680"/>
                <a:gd name="connsiteY19" fmla="*/ 747513 h 771851"/>
                <a:gd name="connsiteX20" fmla="*/ 910865 w 938680"/>
                <a:gd name="connsiteY20" fmla="*/ 761420 h 771851"/>
                <a:gd name="connsiteX21" fmla="*/ 931726 w 938680"/>
                <a:gd name="connsiteY21" fmla="*/ 768374 h 771851"/>
                <a:gd name="connsiteX22" fmla="*/ 938680 w 938680"/>
                <a:gd name="connsiteY22" fmla="*/ 771851 h 771851"/>
                <a:gd name="connsiteX0" fmla="*/ 76432 w 938680"/>
                <a:gd name="connsiteY0" fmla="*/ 0 h 771851"/>
                <a:gd name="connsiteX1" fmla="*/ 20803 w 938680"/>
                <a:gd name="connsiteY1" fmla="*/ 100827 h 771851"/>
                <a:gd name="connsiteX2" fmla="*/ 3419 w 938680"/>
                <a:gd name="connsiteY2" fmla="*/ 215562 h 771851"/>
                <a:gd name="connsiteX3" fmla="*/ 83385 w 938680"/>
                <a:gd name="connsiteY3" fmla="*/ 299005 h 771851"/>
                <a:gd name="connsiteX4" fmla="*/ 184213 w 938680"/>
                <a:gd name="connsiteY4" fmla="*/ 368541 h 771851"/>
                <a:gd name="connsiteX5" fmla="*/ 225934 w 938680"/>
                <a:gd name="connsiteY5" fmla="*/ 403309 h 771851"/>
                <a:gd name="connsiteX6" fmla="*/ 354576 w 938680"/>
                <a:gd name="connsiteY6" fmla="*/ 434601 h 771851"/>
                <a:gd name="connsiteX7" fmla="*/ 375437 w 938680"/>
                <a:gd name="connsiteY7" fmla="*/ 441554 h 771851"/>
                <a:gd name="connsiteX8" fmla="*/ 448450 w 938680"/>
                <a:gd name="connsiteY8" fmla="*/ 493706 h 771851"/>
                <a:gd name="connsiteX9" fmla="*/ 500602 w 938680"/>
                <a:gd name="connsiteY9" fmla="*/ 511090 h 771851"/>
                <a:gd name="connsiteX10" fmla="*/ 573615 w 938680"/>
                <a:gd name="connsiteY10" fmla="*/ 528474 h 771851"/>
                <a:gd name="connsiteX11" fmla="*/ 639674 w 938680"/>
                <a:gd name="connsiteY11" fmla="*/ 566719 h 771851"/>
                <a:gd name="connsiteX12" fmla="*/ 723118 w 938680"/>
                <a:gd name="connsiteY12" fmla="*/ 632779 h 771851"/>
                <a:gd name="connsiteX13" fmla="*/ 778747 w 938680"/>
                <a:gd name="connsiteY13" fmla="*/ 688408 h 771851"/>
                <a:gd name="connsiteX14" fmla="*/ 799607 w 938680"/>
                <a:gd name="connsiteY14" fmla="*/ 698838 h 771851"/>
                <a:gd name="connsiteX15" fmla="*/ 830899 w 938680"/>
                <a:gd name="connsiteY15" fmla="*/ 723176 h 771851"/>
                <a:gd name="connsiteX16" fmla="*/ 841329 w 938680"/>
                <a:gd name="connsiteY16" fmla="*/ 726652 h 771851"/>
                <a:gd name="connsiteX17" fmla="*/ 869143 w 938680"/>
                <a:gd name="connsiteY17" fmla="*/ 740560 h 771851"/>
                <a:gd name="connsiteX18" fmla="*/ 890004 w 938680"/>
                <a:gd name="connsiteY18" fmla="*/ 747513 h 771851"/>
                <a:gd name="connsiteX19" fmla="*/ 910865 w 938680"/>
                <a:gd name="connsiteY19" fmla="*/ 761420 h 771851"/>
                <a:gd name="connsiteX20" fmla="*/ 931726 w 938680"/>
                <a:gd name="connsiteY20" fmla="*/ 768374 h 771851"/>
                <a:gd name="connsiteX21" fmla="*/ 938680 w 938680"/>
                <a:gd name="connsiteY21" fmla="*/ 771851 h 771851"/>
                <a:gd name="connsiteX0" fmla="*/ 76432 w 938680"/>
                <a:gd name="connsiteY0" fmla="*/ 0 h 771851"/>
                <a:gd name="connsiteX1" fmla="*/ 20803 w 938680"/>
                <a:gd name="connsiteY1" fmla="*/ 100827 h 771851"/>
                <a:gd name="connsiteX2" fmla="*/ 3419 w 938680"/>
                <a:gd name="connsiteY2" fmla="*/ 215562 h 771851"/>
                <a:gd name="connsiteX3" fmla="*/ 83385 w 938680"/>
                <a:gd name="connsiteY3" fmla="*/ 299005 h 771851"/>
                <a:gd name="connsiteX4" fmla="*/ 184213 w 938680"/>
                <a:gd name="connsiteY4" fmla="*/ 368541 h 771851"/>
                <a:gd name="connsiteX5" fmla="*/ 225934 w 938680"/>
                <a:gd name="connsiteY5" fmla="*/ 403309 h 771851"/>
                <a:gd name="connsiteX6" fmla="*/ 354576 w 938680"/>
                <a:gd name="connsiteY6" fmla="*/ 434601 h 771851"/>
                <a:gd name="connsiteX7" fmla="*/ 375437 w 938680"/>
                <a:gd name="connsiteY7" fmla="*/ 441554 h 771851"/>
                <a:gd name="connsiteX8" fmla="*/ 500602 w 938680"/>
                <a:gd name="connsiteY8" fmla="*/ 511090 h 771851"/>
                <a:gd name="connsiteX9" fmla="*/ 573615 w 938680"/>
                <a:gd name="connsiteY9" fmla="*/ 528474 h 771851"/>
                <a:gd name="connsiteX10" fmla="*/ 639674 w 938680"/>
                <a:gd name="connsiteY10" fmla="*/ 566719 h 771851"/>
                <a:gd name="connsiteX11" fmla="*/ 723118 w 938680"/>
                <a:gd name="connsiteY11" fmla="*/ 632779 h 771851"/>
                <a:gd name="connsiteX12" fmla="*/ 778747 w 938680"/>
                <a:gd name="connsiteY12" fmla="*/ 688408 h 771851"/>
                <a:gd name="connsiteX13" fmla="*/ 799607 w 938680"/>
                <a:gd name="connsiteY13" fmla="*/ 698838 h 771851"/>
                <a:gd name="connsiteX14" fmla="*/ 830899 w 938680"/>
                <a:gd name="connsiteY14" fmla="*/ 723176 h 771851"/>
                <a:gd name="connsiteX15" fmla="*/ 841329 w 938680"/>
                <a:gd name="connsiteY15" fmla="*/ 726652 h 771851"/>
                <a:gd name="connsiteX16" fmla="*/ 869143 w 938680"/>
                <a:gd name="connsiteY16" fmla="*/ 740560 h 771851"/>
                <a:gd name="connsiteX17" fmla="*/ 890004 w 938680"/>
                <a:gd name="connsiteY17" fmla="*/ 747513 h 771851"/>
                <a:gd name="connsiteX18" fmla="*/ 910865 w 938680"/>
                <a:gd name="connsiteY18" fmla="*/ 761420 h 771851"/>
                <a:gd name="connsiteX19" fmla="*/ 931726 w 938680"/>
                <a:gd name="connsiteY19" fmla="*/ 768374 h 771851"/>
                <a:gd name="connsiteX20" fmla="*/ 938680 w 938680"/>
                <a:gd name="connsiteY20" fmla="*/ 771851 h 771851"/>
                <a:gd name="connsiteX0" fmla="*/ 76432 w 938680"/>
                <a:gd name="connsiteY0" fmla="*/ 0 h 771851"/>
                <a:gd name="connsiteX1" fmla="*/ 20803 w 938680"/>
                <a:gd name="connsiteY1" fmla="*/ 100827 h 771851"/>
                <a:gd name="connsiteX2" fmla="*/ 3419 w 938680"/>
                <a:gd name="connsiteY2" fmla="*/ 215562 h 771851"/>
                <a:gd name="connsiteX3" fmla="*/ 83385 w 938680"/>
                <a:gd name="connsiteY3" fmla="*/ 299005 h 771851"/>
                <a:gd name="connsiteX4" fmla="*/ 184213 w 938680"/>
                <a:gd name="connsiteY4" fmla="*/ 368541 h 771851"/>
                <a:gd name="connsiteX5" fmla="*/ 225934 w 938680"/>
                <a:gd name="connsiteY5" fmla="*/ 403309 h 771851"/>
                <a:gd name="connsiteX6" fmla="*/ 354576 w 938680"/>
                <a:gd name="connsiteY6" fmla="*/ 434601 h 771851"/>
                <a:gd name="connsiteX7" fmla="*/ 500602 w 938680"/>
                <a:gd name="connsiteY7" fmla="*/ 511090 h 771851"/>
                <a:gd name="connsiteX8" fmla="*/ 573615 w 938680"/>
                <a:gd name="connsiteY8" fmla="*/ 528474 h 771851"/>
                <a:gd name="connsiteX9" fmla="*/ 639674 w 938680"/>
                <a:gd name="connsiteY9" fmla="*/ 566719 h 771851"/>
                <a:gd name="connsiteX10" fmla="*/ 723118 w 938680"/>
                <a:gd name="connsiteY10" fmla="*/ 632779 h 771851"/>
                <a:gd name="connsiteX11" fmla="*/ 778747 w 938680"/>
                <a:gd name="connsiteY11" fmla="*/ 688408 h 771851"/>
                <a:gd name="connsiteX12" fmla="*/ 799607 w 938680"/>
                <a:gd name="connsiteY12" fmla="*/ 698838 h 771851"/>
                <a:gd name="connsiteX13" fmla="*/ 830899 w 938680"/>
                <a:gd name="connsiteY13" fmla="*/ 723176 h 771851"/>
                <a:gd name="connsiteX14" fmla="*/ 841329 w 938680"/>
                <a:gd name="connsiteY14" fmla="*/ 726652 h 771851"/>
                <a:gd name="connsiteX15" fmla="*/ 869143 w 938680"/>
                <a:gd name="connsiteY15" fmla="*/ 740560 h 771851"/>
                <a:gd name="connsiteX16" fmla="*/ 890004 w 938680"/>
                <a:gd name="connsiteY16" fmla="*/ 747513 h 771851"/>
                <a:gd name="connsiteX17" fmla="*/ 910865 w 938680"/>
                <a:gd name="connsiteY17" fmla="*/ 761420 h 771851"/>
                <a:gd name="connsiteX18" fmla="*/ 931726 w 938680"/>
                <a:gd name="connsiteY18" fmla="*/ 768374 h 771851"/>
                <a:gd name="connsiteX19" fmla="*/ 938680 w 938680"/>
                <a:gd name="connsiteY19" fmla="*/ 771851 h 771851"/>
                <a:gd name="connsiteX0" fmla="*/ 55651 w 917899"/>
                <a:gd name="connsiteY0" fmla="*/ 0 h 771851"/>
                <a:gd name="connsiteX1" fmla="*/ 22 w 917899"/>
                <a:gd name="connsiteY1" fmla="*/ 100827 h 771851"/>
                <a:gd name="connsiteX2" fmla="*/ 62605 w 917899"/>
                <a:gd name="connsiteY2" fmla="*/ 201655 h 771851"/>
                <a:gd name="connsiteX3" fmla="*/ 62604 w 917899"/>
                <a:gd name="connsiteY3" fmla="*/ 299005 h 771851"/>
                <a:gd name="connsiteX4" fmla="*/ 163432 w 917899"/>
                <a:gd name="connsiteY4" fmla="*/ 368541 h 771851"/>
                <a:gd name="connsiteX5" fmla="*/ 205153 w 917899"/>
                <a:gd name="connsiteY5" fmla="*/ 403309 h 771851"/>
                <a:gd name="connsiteX6" fmla="*/ 333795 w 917899"/>
                <a:gd name="connsiteY6" fmla="*/ 434601 h 771851"/>
                <a:gd name="connsiteX7" fmla="*/ 479821 w 917899"/>
                <a:gd name="connsiteY7" fmla="*/ 511090 h 771851"/>
                <a:gd name="connsiteX8" fmla="*/ 552834 w 917899"/>
                <a:gd name="connsiteY8" fmla="*/ 528474 h 771851"/>
                <a:gd name="connsiteX9" fmla="*/ 618893 w 917899"/>
                <a:gd name="connsiteY9" fmla="*/ 566719 h 771851"/>
                <a:gd name="connsiteX10" fmla="*/ 702337 w 917899"/>
                <a:gd name="connsiteY10" fmla="*/ 632779 h 771851"/>
                <a:gd name="connsiteX11" fmla="*/ 757966 w 917899"/>
                <a:gd name="connsiteY11" fmla="*/ 688408 h 771851"/>
                <a:gd name="connsiteX12" fmla="*/ 778826 w 917899"/>
                <a:gd name="connsiteY12" fmla="*/ 698838 h 771851"/>
                <a:gd name="connsiteX13" fmla="*/ 810118 w 917899"/>
                <a:gd name="connsiteY13" fmla="*/ 723176 h 771851"/>
                <a:gd name="connsiteX14" fmla="*/ 820548 w 917899"/>
                <a:gd name="connsiteY14" fmla="*/ 726652 h 771851"/>
                <a:gd name="connsiteX15" fmla="*/ 848362 w 917899"/>
                <a:gd name="connsiteY15" fmla="*/ 740560 h 771851"/>
                <a:gd name="connsiteX16" fmla="*/ 869223 w 917899"/>
                <a:gd name="connsiteY16" fmla="*/ 747513 h 771851"/>
                <a:gd name="connsiteX17" fmla="*/ 890084 w 917899"/>
                <a:gd name="connsiteY17" fmla="*/ 761420 h 771851"/>
                <a:gd name="connsiteX18" fmla="*/ 910945 w 917899"/>
                <a:gd name="connsiteY18" fmla="*/ 768374 h 771851"/>
                <a:gd name="connsiteX19" fmla="*/ 917899 w 917899"/>
                <a:gd name="connsiteY19" fmla="*/ 771851 h 771851"/>
                <a:gd name="connsiteX0" fmla="*/ 8353 w 870601"/>
                <a:gd name="connsiteY0" fmla="*/ 0 h 771851"/>
                <a:gd name="connsiteX1" fmla="*/ 1399 w 870601"/>
                <a:gd name="connsiteY1" fmla="*/ 79966 h 771851"/>
                <a:gd name="connsiteX2" fmla="*/ 15307 w 870601"/>
                <a:gd name="connsiteY2" fmla="*/ 201655 h 771851"/>
                <a:gd name="connsiteX3" fmla="*/ 15306 w 870601"/>
                <a:gd name="connsiteY3" fmla="*/ 299005 h 771851"/>
                <a:gd name="connsiteX4" fmla="*/ 116134 w 870601"/>
                <a:gd name="connsiteY4" fmla="*/ 368541 h 771851"/>
                <a:gd name="connsiteX5" fmla="*/ 157855 w 870601"/>
                <a:gd name="connsiteY5" fmla="*/ 403309 h 771851"/>
                <a:gd name="connsiteX6" fmla="*/ 286497 w 870601"/>
                <a:gd name="connsiteY6" fmla="*/ 434601 h 771851"/>
                <a:gd name="connsiteX7" fmla="*/ 432523 w 870601"/>
                <a:gd name="connsiteY7" fmla="*/ 511090 h 771851"/>
                <a:gd name="connsiteX8" fmla="*/ 505536 w 870601"/>
                <a:gd name="connsiteY8" fmla="*/ 528474 h 771851"/>
                <a:gd name="connsiteX9" fmla="*/ 571595 w 870601"/>
                <a:gd name="connsiteY9" fmla="*/ 566719 h 771851"/>
                <a:gd name="connsiteX10" fmla="*/ 655039 w 870601"/>
                <a:gd name="connsiteY10" fmla="*/ 632779 h 771851"/>
                <a:gd name="connsiteX11" fmla="*/ 710668 w 870601"/>
                <a:gd name="connsiteY11" fmla="*/ 688408 h 771851"/>
                <a:gd name="connsiteX12" fmla="*/ 731528 w 870601"/>
                <a:gd name="connsiteY12" fmla="*/ 698838 h 771851"/>
                <a:gd name="connsiteX13" fmla="*/ 762820 w 870601"/>
                <a:gd name="connsiteY13" fmla="*/ 723176 h 771851"/>
                <a:gd name="connsiteX14" fmla="*/ 773250 w 870601"/>
                <a:gd name="connsiteY14" fmla="*/ 726652 h 771851"/>
                <a:gd name="connsiteX15" fmla="*/ 801064 w 870601"/>
                <a:gd name="connsiteY15" fmla="*/ 740560 h 771851"/>
                <a:gd name="connsiteX16" fmla="*/ 821925 w 870601"/>
                <a:gd name="connsiteY16" fmla="*/ 747513 h 771851"/>
                <a:gd name="connsiteX17" fmla="*/ 842786 w 870601"/>
                <a:gd name="connsiteY17" fmla="*/ 761420 h 771851"/>
                <a:gd name="connsiteX18" fmla="*/ 863647 w 870601"/>
                <a:gd name="connsiteY18" fmla="*/ 768374 h 771851"/>
                <a:gd name="connsiteX19" fmla="*/ 870601 w 870601"/>
                <a:gd name="connsiteY19" fmla="*/ 771851 h 771851"/>
                <a:gd name="connsiteX0" fmla="*/ 8353 w 870601"/>
                <a:gd name="connsiteY0" fmla="*/ 0 h 771851"/>
                <a:gd name="connsiteX1" fmla="*/ 1399 w 870601"/>
                <a:gd name="connsiteY1" fmla="*/ 79966 h 771851"/>
                <a:gd name="connsiteX2" fmla="*/ 15307 w 870601"/>
                <a:gd name="connsiteY2" fmla="*/ 201655 h 771851"/>
                <a:gd name="connsiteX3" fmla="*/ 67458 w 870601"/>
                <a:gd name="connsiteY3" fmla="*/ 253807 h 771851"/>
                <a:gd name="connsiteX4" fmla="*/ 116134 w 870601"/>
                <a:gd name="connsiteY4" fmla="*/ 368541 h 771851"/>
                <a:gd name="connsiteX5" fmla="*/ 157855 w 870601"/>
                <a:gd name="connsiteY5" fmla="*/ 403309 h 771851"/>
                <a:gd name="connsiteX6" fmla="*/ 286497 w 870601"/>
                <a:gd name="connsiteY6" fmla="*/ 434601 h 771851"/>
                <a:gd name="connsiteX7" fmla="*/ 432523 w 870601"/>
                <a:gd name="connsiteY7" fmla="*/ 511090 h 771851"/>
                <a:gd name="connsiteX8" fmla="*/ 505536 w 870601"/>
                <a:gd name="connsiteY8" fmla="*/ 528474 h 771851"/>
                <a:gd name="connsiteX9" fmla="*/ 571595 w 870601"/>
                <a:gd name="connsiteY9" fmla="*/ 566719 h 771851"/>
                <a:gd name="connsiteX10" fmla="*/ 655039 w 870601"/>
                <a:gd name="connsiteY10" fmla="*/ 632779 h 771851"/>
                <a:gd name="connsiteX11" fmla="*/ 710668 w 870601"/>
                <a:gd name="connsiteY11" fmla="*/ 688408 h 771851"/>
                <a:gd name="connsiteX12" fmla="*/ 731528 w 870601"/>
                <a:gd name="connsiteY12" fmla="*/ 698838 h 771851"/>
                <a:gd name="connsiteX13" fmla="*/ 762820 w 870601"/>
                <a:gd name="connsiteY13" fmla="*/ 723176 h 771851"/>
                <a:gd name="connsiteX14" fmla="*/ 773250 w 870601"/>
                <a:gd name="connsiteY14" fmla="*/ 726652 h 771851"/>
                <a:gd name="connsiteX15" fmla="*/ 801064 w 870601"/>
                <a:gd name="connsiteY15" fmla="*/ 740560 h 771851"/>
                <a:gd name="connsiteX16" fmla="*/ 821925 w 870601"/>
                <a:gd name="connsiteY16" fmla="*/ 747513 h 771851"/>
                <a:gd name="connsiteX17" fmla="*/ 842786 w 870601"/>
                <a:gd name="connsiteY17" fmla="*/ 761420 h 771851"/>
                <a:gd name="connsiteX18" fmla="*/ 863647 w 870601"/>
                <a:gd name="connsiteY18" fmla="*/ 768374 h 771851"/>
                <a:gd name="connsiteX19" fmla="*/ 870601 w 870601"/>
                <a:gd name="connsiteY19" fmla="*/ 771851 h 771851"/>
                <a:gd name="connsiteX0" fmla="*/ 8353 w 870601"/>
                <a:gd name="connsiteY0" fmla="*/ 0 h 771851"/>
                <a:gd name="connsiteX1" fmla="*/ 1399 w 870601"/>
                <a:gd name="connsiteY1" fmla="*/ 79966 h 771851"/>
                <a:gd name="connsiteX2" fmla="*/ 15307 w 870601"/>
                <a:gd name="connsiteY2" fmla="*/ 201655 h 771851"/>
                <a:gd name="connsiteX3" fmla="*/ 67458 w 870601"/>
                <a:gd name="connsiteY3" fmla="*/ 253807 h 771851"/>
                <a:gd name="connsiteX4" fmla="*/ 91796 w 870601"/>
                <a:gd name="connsiteY4" fmla="*/ 347680 h 771851"/>
                <a:gd name="connsiteX5" fmla="*/ 157855 w 870601"/>
                <a:gd name="connsiteY5" fmla="*/ 403309 h 771851"/>
                <a:gd name="connsiteX6" fmla="*/ 286497 w 870601"/>
                <a:gd name="connsiteY6" fmla="*/ 434601 h 771851"/>
                <a:gd name="connsiteX7" fmla="*/ 432523 w 870601"/>
                <a:gd name="connsiteY7" fmla="*/ 511090 h 771851"/>
                <a:gd name="connsiteX8" fmla="*/ 505536 w 870601"/>
                <a:gd name="connsiteY8" fmla="*/ 528474 h 771851"/>
                <a:gd name="connsiteX9" fmla="*/ 571595 w 870601"/>
                <a:gd name="connsiteY9" fmla="*/ 566719 h 771851"/>
                <a:gd name="connsiteX10" fmla="*/ 655039 w 870601"/>
                <a:gd name="connsiteY10" fmla="*/ 632779 h 771851"/>
                <a:gd name="connsiteX11" fmla="*/ 710668 w 870601"/>
                <a:gd name="connsiteY11" fmla="*/ 688408 h 771851"/>
                <a:gd name="connsiteX12" fmla="*/ 731528 w 870601"/>
                <a:gd name="connsiteY12" fmla="*/ 698838 h 771851"/>
                <a:gd name="connsiteX13" fmla="*/ 762820 w 870601"/>
                <a:gd name="connsiteY13" fmla="*/ 723176 h 771851"/>
                <a:gd name="connsiteX14" fmla="*/ 773250 w 870601"/>
                <a:gd name="connsiteY14" fmla="*/ 726652 h 771851"/>
                <a:gd name="connsiteX15" fmla="*/ 801064 w 870601"/>
                <a:gd name="connsiteY15" fmla="*/ 740560 h 771851"/>
                <a:gd name="connsiteX16" fmla="*/ 821925 w 870601"/>
                <a:gd name="connsiteY16" fmla="*/ 747513 h 771851"/>
                <a:gd name="connsiteX17" fmla="*/ 842786 w 870601"/>
                <a:gd name="connsiteY17" fmla="*/ 761420 h 771851"/>
                <a:gd name="connsiteX18" fmla="*/ 863647 w 870601"/>
                <a:gd name="connsiteY18" fmla="*/ 768374 h 771851"/>
                <a:gd name="connsiteX19" fmla="*/ 870601 w 870601"/>
                <a:gd name="connsiteY19" fmla="*/ 771851 h 771851"/>
                <a:gd name="connsiteX0" fmla="*/ 8353 w 870601"/>
                <a:gd name="connsiteY0" fmla="*/ 0 h 771851"/>
                <a:gd name="connsiteX1" fmla="*/ 1399 w 870601"/>
                <a:gd name="connsiteY1" fmla="*/ 79966 h 771851"/>
                <a:gd name="connsiteX2" fmla="*/ 15307 w 870601"/>
                <a:gd name="connsiteY2" fmla="*/ 201655 h 771851"/>
                <a:gd name="connsiteX3" fmla="*/ 67458 w 870601"/>
                <a:gd name="connsiteY3" fmla="*/ 253807 h 771851"/>
                <a:gd name="connsiteX4" fmla="*/ 91796 w 870601"/>
                <a:gd name="connsiteY4" fmla="*/ 347680 h 771851"/>
                <a:gd name="connsiteX5" fmla="*/ 286497 w 870601"/>
                <a:gd name="connsiteY5" fmla="*/ 434601 h 771851"/>
                <a:gd name="connsiteX6" fmla="*/ 432523 w 870601"/>
                <a:gd name="connsiteY6" fmla="*/ 511090 h 771851"/>
                <a:gd name="connsiteX7" fmla="*/ 505536 w 870601"/>
                <a:gd name="connsiteY7" fmla="*/ 528474 h 771851"/>
                <a:gd name="connsiteX8" fmla="*/ 571595 w 870601"/>
                <a:gd name="connsiteY8" fmla="*/ 566719 h 771851"/>
                <a:gd name="connsiteX9" fmla="*/ 655039 w 870601"/>
                <a:gd name="connsiteY9" fmla="*/ 632779 h 771851"/>
                <a:gd name="connsiteX10" fmla="*/ 710668 w 870601"/>
                <a:gd name="connsiteY10" fmla="*/ 688408 h 771851"/>
                <a:gd name="connsiteX11" fmla="*/ 731528 w 870601"/>
                <a:gd name="connsiteY11" fmla="*/ 698838 h 771851"/>
                <a:gd name="connsiteX12" fmla="*/ 762820 w 870601"/>
                <a:gd name="connsiteY12" fmla="*/ 723176 h 771851"/>
                <a:gd name="connsiteX13" fmla="*/ 773250 w 870601"/>
                <a:gd name="connsiteY13" fmla="*/ 726652 h 771851"/>
                <a:gd name="connsiteX14" fmla="*/ 801064 w 870601"/>
                <a:gd name="connsiteY14" fmla="*/ 740560 h 771851"/>
                <a:gd name="connsiteX15" fmla="*/ 821925 w 870601"/>
                <a:gd name="connsiteY15" fmla="*/ 747513 h 771851"/>
                <a:gd name="connsiteX16" fmla="*/ 842786 w 870601"/>
                <a:gd name="connsiteY16" fmla="*/ 761420 h 771851"/>
                <a:gd name="connsiteX17" fmla="*/ 863647 w 870601"/>
                <a:gd name="connsiteY17" fmla="*/ 768374 h 771851"/>
                <a:gd name="connsiteX18" fmla="*/ 870601 w 870601"/>
                <a:gd name="connsiteY18" fmla="*/ 771851 h 771851"/>
                <a:gd name="connsiteX0" fmla="*/ 8353 w 870601"/>
                <a:gd name="connsiteY0" fmla="*/ 0 h 771851"/>
                <a:gd name="connsiteX1" fmla="*/ 1399 w 870601"/>
                <a:gd name="connsiteY1" fmla="*/ 79966 h 771851"/>
                <a:gd name="connsiteX2" fmla="*/ 15307 w 870601"/>
                <a:gd name="connsiteY2" fmla="*/ 201655 h 771851"/>
                <a:gd name="connsiteX3" fmla="*/ 67458 w 870601"/>
                <a:gd name="connsiteY3" fmla="*/ 253807 h 771851"/>
                <a:gd name="connsiteX4" fmla="*/ 91796 w 870601"/>
                <a:gd name="connsiteY4" fmla="*/ 347680 h 771851"/>
                <a:gd name="connsiteX5" fmla="*/ 126564 w 870601"/>
                <a:gd name="connsiteY5" fmla="*/ 323343 h 771851"/>
                <a:gd name="connsiteX6" fmla="*/ 286497 w 870601"/>
                <a:gd name="connsiteY6" fmla="*/ 434601 h 771851"/>
                <a:gd name="connsiteX7" fmla="*/ 432523 w 870601"/>
                <a:gd name="connsiteY7" fmla="*/ 511090 h 771851"/>
                <a:gd name="connsiteX8" fmla="*/ 505536 w 870601"/>
                <a:gd name="connsiteY8" fmla="*/ 528474 h 771851"/>
                <a:gd name="connsiteX9" fmla="*/ 571595 w 870601"/>
                <a:gd name="connsiteY9" fmla="*/ 566719 h 771851"/>
                <a:gd name="connsiteX10" fmla="*/ 655039 w 870601"/>
                <a:gd name="connsiteY10" fmla="*/ 632779 h 771851"/>
                <a:gd name="connsiteX11" fmla="*/ 710668 w 870601"/>
                <a:gd name="connsiteY11" fmla="*/ 688408 h 771851"/>
                <a:gd name="connsiteX12" fmla="*/ 731528 w 870601"/>
                <a:gd name="connsiteY12" fmla="*/ 698838 h 771851"/>
                <a:gd name="connsiteX13" fmla="*/ 762820 w 870601"/>
                <a:gd name="connsiteY13" fmla="*/ 723176 h 771851"/>
                <a:gd name="connsiteX14" fmla="*/ 773250 w 870601"/>
                <a:gd name="connsiteY14" fmla="*/ 726652 h 771851"/>
                <a:gd name="connsiteX15" fmla="*/ 801064 w 870601"/>
                <a:gd name="connsiteY15" fmla="*/ 740560 h 771851"/>
                <a:gd name="connsiteX16" fmla="*/ 821925 w 870601"/>
                <a:gd name="connsiteY16" fmla="*/ 747513 h 771851"/>
                <a:gd name="connsiteX17" fmla="*/ 842786 w 870601"/>
                <a:gd name="connsiteY17" fmla="*/ 761420 h 771851"/>
                <a:gd name="connsiteX18" fmla="*/ 863647 w 870601"/>
                <a:gd name="connsiteY18" fmla="*/ 768374 h 771851"/>
                <a:gd name="connsiteX19" fmla="*/ 870601 w 870601"/>
                <a:gd name="connsiteY19" fmla="*/ 771851 h 771851"/>
                <a:gd name="connsiteX0" fmla="*/ 8353 w 870601"/>
                <a:gd name="connsiteY0" fmla="*/ 0 h 771851"/>
                <a:gd name="connsiteX1" fmla="*/ 1399 w 870601"/>
                <a:gd name="connsiteY1" fmla="*/ 79966 h 771851"/>
                <a:gd name="connsiteX2" fmla="*/ 15307 w 870601"/>
                <a:gd name="connsiteY2" fmla="*/ 201655 h 771851"/>
                <a:gd name="connsiteX3" fmla="*/ 67458 w 870601"/>
                <a:gd name="connsiteY3" fmla="*/ 253807 h 771851"/>
                <a:gd name="connsiteX4" fmla="*/ 126564 w 870601"/>
                <a:gd name="connsiteY4" fmla="*/ 323343 h 771851"/>
                <a:gd name="connsiteX5" fmla="*/ 286497 w 870601"/>
                <a:gd name="connsiteY5" fmla="*/ 434601 h 771851"/>
                <a:gd name="connsiteX6" fmla="*/ 432523 w 870601"/>
                <a:gd name="connsiteY6" fmla="*/ 511090 h 771851"/>
                <a:gd name="connsiteX7" fmla="*/ 505536 w 870601"/>
                <a:gd name="connsiteY7" fmla="*/ 528474 h 771851"/>
                <a:gd name="connsiteX8" fmla="*/ 571595 w 870601"/>
                <a:gd name="connsiteY8" fmla="*/ 566719 h 771851"/>
                <a:gd name="connsiteX9" fmla="*/ 655039 w 870601"/>
                <a:gd name="connsiteY9" fmla="*/ 632779 h 771851"/>
                <a:gd name="connsiteX10" fmla="*/ 710668 w 870601"/>
                <a:gd name="connsiteY10" fmla="*/ 688408 h 771851"/>
                <a:gd name="connsiteX11" fmla="*/ 731528 w 870601"/>
                <a:gd name="connsiteY11" fmla="*/ 698838 h 771851"/>
                <a:gd name="connsiteX12" fmla="*/ 762820 w 870601"/>
                <a:gd name="connsiteY12" fmla="*/ 723176 h 771851"/>
                <a:gd name="connsiteX13" fmla="*/ 773250 w 870601"/>
                <a:gd name="connsiteY13" fmla="*/ 726652 h 771851"/>
                <a:gd name="connsiteX14" fmla="*/ 801064 w 870601"/>
                <a:gd name="connsiteY14" fmla="*/ 740560 h 771851"/>
                <a:gd name="connsiteX15" fmla="*/ 821925 w 870601"/>
                <a:gd name="connsiteY15" fmla="*/ 747513 h 771851"/>
                <a:gd name="connsiteX16" fmla="*/ 842786 w 870601"/>
                <a:gd name="connsiteY16" fmla="*/ 761420 h 771851"/>
                <a:gd name="connsiteX17" fmla="*/ 863647 w 870601"/>
                <a:gd name="connsiteY17" fmla="*/ 768374 h 771851"/>
                <a:gd name="connsiteX18" fmla="*/ 870601 w 870601"/>
                <a:gd name="connsiteY18" fmla="*/ 771851 h 771851"/>
                <a:gd name="connsiteX0" fmla="*/ 8353 w 870601"/>
                <a:gd name="connsiteY0" fmla="*/ 0 h 771851"/>
                <a:gd name="connsiteX1" fmla="*/ 1399 w 870601"/>
                <a:gd name="connsiteY1" fmla="*/ 79966 h 771851"/>
                <a:gd name="connsiteX2" fmla="*/ 15307 w 870601"/>
                <a:gd name="connsiteY2" fmla="*/ 201655 h 771851"/>
                <a:gd name="connsiteX3" fmla="*/ 102226 w 870601"/>
                <a:gd name="connsiteY3" fmla="*/ 222516 h 771851"/>
                <a:gd name="connsiteX4" fmla="*/ 126564 w 870601"/>
                <a:gd name="connsiteY4" fmla="*/ 323343 h 771851"/>
                <a:gd name="connsiteX5" fmla="*/ 286497 w 870601"/>
                <a:gd name="connsiteY5" fmla="*/ 434601 h 771851"/>
                <a:gd name="connsiteX6" fmla="*/ 432523 w 870601"/>
                <a:gd name="connsiteY6" fmla="*/ 511090 h 771851"/>
                <a:gd name="connsiteX7" fmla="*/ 505536 w 870601"/>
                <a:gd name="connsiteY7" fmla="*/ 528474 h 771851"/>
                <a:gd name="connsiteX8" fmla="*/ 571595 w 870601"/>
                <a:gd name="connsiteY8" fmla="*/ 566719 h 771851"/>
                <a:gd name="connsiteX9" fmla="*/ 655039 w 870601"/>
                <a:gd name="connsiteY9" fmla="*/ 632779 h 771851"/>
                <a:gd name="connsiteX10" fmla="*/ 710668 w 870601"/>
                <a:gd name="connsiteY10" fmla="*/ 688408 h 771851"/>
                <a:gd name="connsiteX11" fmla="*/ 731528 w 870601"/>
                <a:gd name="connsiteY11" fmla="*/ 698838 h 771851"/>
                <a:gd name="connsiteX12" fmla="*/ 762820 w 870601"/>
                <a:gd name="connsiteY12" fmla="*/ 723176 h 771851"/>
                <a:gd name="connsiteX13" fmla="*/ 773250 w 870601"/>
                <a:gd name="connsiteY13" fmla="*/ 726652 h 771851"/>
                <a:gd name="connsiteX14" fmla="*/ 801064 w 870601"/>
                <a:gd name="connsiteY14" fmla="*/ 740560 h 771851"/>
                <a:gd name="connsiteX15" fmla="*/ 821925 w 870601"/>
                <a:gd name="connsiteY15" fmla="*/ 747513 h 771851"/>
                <a:gd name="connsiteX16" fmla="*/ 842786 w 870601"/>
                <a:gd name="connsiteY16" fmla="*/ 761420 h 771851"/>
                <a:gd name="connsiteX17" fmla="*/ 863647 w 870601"/>
                <a:gd name="connsiteY17" fmla="*/ 768374 h 771851"/>
                <a:gd name="connsiteX18" fmla="*/ 870601 w 870601"/>
                <a:gd name="connsiteY18" fmla="*/ 771851 h 771851"/>
                <a:gd name="connsiteX0" fmla="*/ 9597 w 871845"/>
                <a:gd name="connsiteY0" fmla="*/ 0 h 771851"/>
                <a:gd name="connsiteX1" fmla="*/ 2643 w 871845"/>
                <a:gd name="connsiteY1" fmla="*/ 79966 h 771851"/>
                <a:gd name="connsiteX2" fmla="*/ 33935 w 871845"/>
                <a:gd name="connsiteY2" fmla="*/ 184271 h 771851"/>
                <a:gd name="connsiteX3" fmla="*/ 103470 w 871845"/>
                <a:gd name="connsiteY3" fmla="*/ 222516 h 771851"/>
                <a:gd name="connsiteX4" fmla="*/ 127808 w 871845"/>
                <a:gd name="connsiteY4" fmla="*/ 323343 h 771851"/>
                <a:gd name="connsiteX5" fmla="*/ 287741 w 871845"/>
                <a:gd name="connsiteY5" fmla="*/ 434601 h 771851"/>
                <a:gd name="connsiteX6" fmla="*/ 433767 w 871845"/>
                <a:gd name="connsiteY6" fmla="*/ 511090 h 771851"/>
                <a:gd name="connsiteX7" fmla="*/ 506780 w 871845"/>
                <a:gd name="connsiteY7" fmla="*/ 528474 h 771851"/>
                <a:gd name="connsiteX8" fmla="*/ 572839 w 871845"/>
                <a:gd name="connsiteY8" fmla="*/ 566719 h 771851"/>
                <a:gd name="connsiteX9" fmla="*/ 656283 w 871845"/>
                <a:gd name="connsiteY9" fmla="*/ 632779 h 771851"/>
                <a:gd name="connsiteX10" fmla="*/ 711912 w 871845"/>
                <a:gd name="connsiteY10" fmla="*/ 688408 h 771851"/>
                <a:gd name="connsiteX11" fmla="*/ 732772 w 871845"/>
                <a:gd name="connsiteY11" fmla="*/ 698838 h 771851"/>
                <a:gd name="connsiteX12" fmla="*/ 764064 w 871845"/>
                <a:gd name="connsiteY12" fmla="*/ 723176 h 771851"/>
                <a:gd name="connsiteX13" fmla="*/ 774494 w 871845"/>
                <a:gd name="connsiteY13" fmla="*/ 726652 h 771851"/>
                <a:gd name="connsiteX14" fmla="*/ 802308 w 871845"/>
                <a:gd name="connsiteY14" fmla="*/ 740560 h 771851"/>
                <a:gd name="connsiteX15" fmla="*/ 823169 w 871845"/>
                <a:gd name="connsiteY15" fmla="*/ 747513 h 771851"/>
                <a:gd name="connsiteX16" fmla="*/ 844030 w 871845"/>
                <a:gd name="connsiteY16" fmla="*/ 761420 h 771851"/>
                <a:gd name="connsiteX17" fmla="*/ 864891 w 871845"/>
                <a:gd name="connsiteY17" fmla="*/ 768374 h 771851"/>
                <a:gd name="connsiteX18" fmla="*/ 871845 w 871845"/>
                <a:gd name="connsiteY18" fmla="*/ 771851 h 771851"/>
                <a:gd name="connsiteX0" fmla="*/ 9597 w 871845"/>
                <a:gd name="connsiteY0" fmla="*/ 0 h 771851"/>
                <a:gd name="connsiteX1" fmla="*/ 2643 w 871845"/>
                <a:gd name="connsiteY1" fmla="*/ 79966 h 771851"/>
                <a:gd name="connsiteX2" fmla="*/ 33935 w 871845"/>
                <a:gd name="connsiteY2" fmla="*/ 184271 h 771851"/>
                <a:gd name="connsiteX3" fmla="*/ 103470 w 871845"/>
                <a:gd name="connsiteY3" fmla="*/ 222516 h 771851"/>
                <a:gd name="connsiteX4" fmla="*/ 127808 w 871845"/>
                <a:gd name="connsiteY4" fmla="*/ 323343 h 771851"/>
                <a:gd name="connsiteX5" fmla="*/ 287741 w 871845"/>
                <a:gd name="connsiteY5" fmla="*/ 434601 h 771851"/>
                <a:gd name="connsiteX6" fmla="*/ 433767 w 871845"/>
                <a:gd name="connsiteY6" fmla="*/ 511090 h 771851"/>
                <a:gd name="connsiteX7" fmla="*/ 506780 w 871845"/>
                <a:gd name="connsiteY7" fmla="*/ 528474 h 771851"/>
                <a:gd name="connsiteX8" fmla="*/ 572839 w 871845"/>
                <a:gd name="connsiteY8" fmla="*/ 566719 h 771851"/>
                <a:gd name="connsiteX9" fmla="*/ 656283 w 871845"/>
                <a:gd name="connsiteY9" fmla="*/ 632779 h 771851"/>
                <a:gd name="connsiteX10" fmla="*/ 711912 w 871845"/>
                <a:gd name="connsiteY10" fmla="*/ 688408 h 771851"/>
                <a:gd name="connsiteX11" fmla="*/ 732772 w 871845"/>
                <a:gd name="connsiteY11" fmla="*/ 698838 h 771851"/>
                <a:gd name="connsiteX12" fmla="*/ 764064 w 871845"/>
                <a:gd name="connsiteY12" fmla="*/ 723176 h 771851"/>
                <a:gd name="connsiteX13" fmla="*/ 802308 w 871845"/>
                <a:gd name="connsiteY13" fmla="*/ 740560 h 771851"/>
                <a:gd name="connsiteX14" fmla="*/ 823169 w 871845"/>
                <a:gd name="connsiteY14" fmla="*/ 747513 h 771851"/>
                <a:gd name="connsiteX15" fmla="*/ 844030 w 871845"/>
                <a:gd name="connsiteY15" fmla="*/ 761420 h 771851"/>
                <a:gd name="connsiteX16" fmla="*/ 864891 w 871845"/>
                <a:gd name="connsiteY16" fmla="*/ 768374 h 771851"/>
                <a:gd name="connsiteX17" fmla="*/ 871845 w 871845"/>
                <a:gd name="connsiteY17" fmla="*/ 771851 h 771851"/>
                <a:gd name="connsiteX0" fmla="*/ 9597 w 871845"/>
                <a:gd name="connsiteY0" fmla="*/ 0 h 771851"/>
                <a:gd name="connsiteX1" fmla="*/ 2643 w 871845"/>
                <a:gd name="connsiteY1" fmla="*/ 79966 h 771851"/>
                <a:gd name="connsiteX2" fmla="*/ 33935 w 871845"/>
                <a:gd name="connsiteY2" fmla="*/ 184271 h 771851"/>
                <a:gd name="connsiteX3" fmla="*/ 103470 w 871845"/>
                <a:gd name="connsiteY3" fmla="*/ 222516 h 771851"/>
                <a:gd name="connsiteX4" fmla="*/ 127808 w 871845"/>
                <a:gd name="connsiteY4" fmla="*/ 323343 h 771851"/>
                <a:gd name="connsiteX5" fmla="*/ 287741 w 871845"/>
                <a:gd name="connsiteY5" fmla="*/ 434601 h 771851"/>
                <a:gd name="connsiteX6" fmla="*/ 433767 w 871845"/>
                <a:gd name="connsiteY6" fmla="*/ 511090 h 771851"/>
                <a:gd name="connsiteX7" fmla="*/ 506780 w 871845"/>
                <a:gd name="connsiteY7" fmla="*/ 528474 h 771851"/>
                <a:gd name="connsiteX8" fmla="*/ 572839 w 871845"/>
                <a:gd name="connsiteY8" fmla="*/ 566719 h 771851"/>
                <a:gd name="connsiteX9" fmla="*/ 656283 w 871845"/>
                <a:gd name="connsiteY9" fmla="*/ 632779 h 771851"/>
                <a:gd name="connsiteX10" fmla="*/ 711912 w 871845"/>
                <a:gd name="connsiteY10" fmla="*/ 688408 h 771851"/>
                <a:gd name="connsiteX11" fmla="*/ 764064 w 871845"/>
                <a:gd name="connsiteY11" fmla="*/ 723176 h 771851"/>
                <a:gd name="connsiteX12" fmla="*/ 802308 w 871845"/>
                <a:gd name="connsiteY12" fmla="*/ 740560 h 771851"/>
                <a:gd name="connsiteX13" fmla="*/ 823169 w 871845"/>
                <a:gd name="connsiteY13" fmla="*/ 747513 h 771851"/>
                <a:gd name="connsiteX14" fmla="*/ 844030 w 871845"/>
                <a:gd name="connsiteY14" fmla="*/ 761420 h 771851"/>
                <a:gd name="connsiteX15" fmla="*/ 864891 w 871845"/>
                <a:gd name="connsiteY15" fmla="*/ 768374 h 771851"/>
                <a:gd name="connsiteX16" fmla="*/ 871845 w 871845"/>
                <a:gd name="connsiteY16" fmla="*/ 771851 h 771851"/>
                <a:gd name="connsiteX0" fmla="*/ 9597 w 871845"/>
                <a:gd name="connsiteY0" fmla="*/ 0 h 771851"/>
                <a:gd name="connsiteX1" fmla="*/ 2643 w 871845"/>
                <a:gd name="connsiteY1" fmla="*/ 79966 h 771851"/>
                <a:gd name="connsiteX2" fmla="*/ 33935 w 871845"/>
                <a:gd name="connsiteY2" fmla="*/ 184271 h 771851"/>
                <a:gd name="connsiteX3" fmla="*/ 103470 w 871845"/>
                <a:gd name="connsiteY3" fmla="*/ 222516 h 771851"/>
                <a:gd name="connsiteX4" fmla="*/ 127808 w 871845"/>
                <a:gd name="connsiteY4" fmla="*/ 323343 h 771851"/>
                <a:gd name="connsiteX5" fmla="*/ 287741 w 871845"/>
                <a:gd name="connsiteY5" fmla="*/ 434601 h 771851"/>
                <a:gd name="connsiteX6" fmla="*/ 433767 w 871845"/>
                <a:gd name="connsiteY6" fmla="*/ 511090 h 771851"/>
                <a:gd name="connsiteX7" fmla="*/ 506780 w 871845"/>
                <a:gd name="connsiteY7" fmla="*/ 528474 h 771851"/>
                <a:gd name="connsiteX8" fmla="*/ 572839 w 871845"/>
                <a:gd name="connsiteY8" fmla="*/ 566719 h 771851"/>
                <a:gd name="connsiteX9" fmla="*/ 656283 w 871845"/>
                <a:gd name="connsiteY9" fmla="*/ 632779 h 771851"/>
                <a:gd name="connsiteX10" fmla="*/ 764064 w 871845"/>
                <a:gd name="connsiteY10" fmla="*/ 723176 h 771851"/>
                <a:gd name="connsiteX11" fmla="*/ 802308 w 871845"/>
                <a:gd name="connsiteY11" fmla="*/ 740560 h 771851"/>
                <a:gd name="connsiteX12" fmla="*/ 823169 w 871845"/>
                <a:gd name="connsiteY12" fmla="*/ 747513 h 771851"/>
                <a:gd name="connsiteX13" fmla="*/ 844030 w 871845"/>
                <a:gd name="connsiteY13" fmla="*/ 761420 h 771851"/>
                <a:gd name="connsiteX14" fmla="*/ 864891 w 871845"/>
                <a:gd name="connsiteY14" fmla="*/ 768374 h 771851"/>
                <a:gd name="connsiteX15" fmla="*/ 871845 w 871845"/>
                <a:gd name="connsiteY15" fmla="*/ 771851 h 771851"/>
                <a:gd name="connsiteX0" fmla="*/ 9597 w 871845"/>
                <a:gd name="connsiteY0" fmla="*/ 0 h 771851"/>
                <a:gd name="connsiteX1" fmla="*/ 2643 w 871845"/>
                <a:gd name="connsiteY1" fmla="*/ 79966 h 771851"/>
                <a:gd name="connsiteX2" fmla="*/ 33935 w 871845"/>
                <a:gd name="connsiteY2" fmla="*/ 184271 h 771851"/>
                <a:gd name="connsiteX3" fmla="*/ 103470 w 871845"/>
                <a:gd name="connsiteY3" fmla="*/ 222516 h 771851"/>
                <a:gd name="connsiteX4" fmla="*/ 127808 w 871845"/>
                <a:gd name="connsiteY4" fmla="*/ 323343 h 771851"/>
                <a:gd name="connsiteX5" fmla="*/ 287741 w 871845"/>
                <a:gd name="connsiteY5" fmla="*/ 434601 h 771851"/>
                <a:gd name="connsiteX6" fmla="*/ 433767 w 871845"/>
                <a:gd name="connsiteY6" fmla="*/ 511090 h 771851"/>
                <a:gd name="connsiteX7" fmla="*/ 506780 w 871845"/>
                <a:gd name="connsiteY7" fmla="*/ 528474 h 771851"/>
                <a:gd name="connsiteX8" fmla="*/ 572839 w 871845"/>
                <a:gd name="connsiteY8" fmla="*/ 566719 h 771851"/>
                <a:gd name="connsiteX9" fmla="*/ 656283 w 871845"/>
                <a:gd name="connsiteY9" fmla="*/ 632779 h 771851"/>
                <a:gd name="connsiteX10" fmla="*/ 711912 w 871845"/>
                <a:gd name="connsiteY10" fmla="*/ 674500 h 771851"/>
                <a:gd name="connsiteX11" fmla="*/ 802308 w 871845"/>
                <a:gd name="connsiteY11" fmla="*/ 740560 h 771851"/>
                <a:gd name="connsiteX12" fmla="*/ 823169 w 871845"/>
                <a:gd name="connsiteY12" fmla="*/ 747513 h 771851"/>
                <a:gd name="connsiteX13" fmla="*/ 844030 w 871845"/>
                <a:gd name="connsiteY13" fmla="*/ 761420 h 771851"/>
                <a:gd name="connsiteX14" fmla="*/ 864891 w 871845"/>
                <a:gd name="connsiteY14" fmla="*/ 768374 h 771851"/>
                <a:gd name="connsiteX15" fmla="*/ 871845 w 871845"/>
                <a:gd name="connsiteY15" fmla="*/ 771851 h 771851"/>
                <a:gd name="connsiteX0" fmla="*/ 9597 w 871845"/>
                <a:gd name="connsiteY0" fmla="*/ 0 h 771851"/>
                <a:gd name="connsiteX1" fmla="*/ 2643 w 871845"/>
                <a:gd name="connsiteY1" fmla="*/ 79966 h 771851"/>
                <a:gd name="connsiteX2" fmla="*/ 33935 w 871845"/>
                <a:gd name="connsiteY2" fmla="*/ 184271 h 771851"/>
                <a:gd name="connsiteX3" fmla="*/ 103470 w 871845"/>
                <a:gd name="connsiteY3" fmla="*/ 222516 h 771851"/>
                <a:gd name="connsiteX4" fmla="*/ 127808 w 871845"/>
                <a:gd name="connsiteY4" fmla="*/ 323343 h 771851"/>
                <a:gd name="connsiteX5" fmla="*/ 287741 w 871845"/>
                <a:gd name="connsiteY5" fmla="*/ 434601 h 771851"/>
                <a:gd name="connsiteX6" fmla="*/ 433767 w 871845"/>
                <a:gd name="connsiteY6" fmla="*/ 511090 h 771851"/>
                <a:gd name="connsiteX7" fmla="*/ 506780 w 871845"/>
                <a:gd name="connsiteY7" fmla="*/ 528474 h 771851"/>
                <a:gd name="connsiteX8" fmla="*/ 572839 w 871845"/>
                <a:gd name="connsiteY8" fmla="*/ 566719 h 771851"/>
                <a:gd name="connsiteX9" fmla="*/ 656283 w 871845"/>
                <a:gd name="connsiteY9" fmla="*/ 632779 h 771851"/>
                <a:gd name="connsiteX10" fmla="*/ 802308 w 871845"/>
                <a:gd name="connsiteY10" fmla="*/ 740560 h 771851"/>
                <a:gd name="connsiteX11" fmla="*/ 823169 w 871845"/>
                <a:gd name="connsiteY11" fmla="*/ 747513 h 771851"/>
                <a:gd name="connsiteX12" fmla="*/ 844030 w 871845"/>
                <a:gd name="connsiteY12" fmla="*/ 761420 h 771851"/>
                <a:gd name="connsiteX13" fmla="*/ 864891 w 871845"/>
                <a:gd name="connsiteY13" fmla="*/ 768374 h 771851"/>
                <a:gd name="connsiteX14" fmla="*/ 871845 w 871845"/>
                <a:gd name="connsiteY14" fmla="*/ 771851 h 771851"/>
                <a:gd name="connsiteX0" fmla="*/ 9597 w 871845"/>
                <a:gd name="connsiteY0" fmla="*/ 0 h 771851"/>
                <a:gd name="connsiteX1" fmla="*/ 2643 w 871845"/>
                <a:gd name="connsiteY1" fmla="*/ 79966 h 771851"/>
                <a:gd name="connsiteX2" fmla="*/ 33935 w 871845"/>
                <a:gd name="connsiteY2" fmla="*/ 184271 h 771851"/>
                <a:gd name="connsiteX3" fmla="*/ 103470 w 871845"/>
                <a:gd name="connsiteY3" fmla="*/ 222516 h 771851"/>
                <a:gd name="connsiteX4" fmla="*/ 127808 w 871845"/>
                <a:gd name="connsiteY4" fmla="*/ 323343 h 771851"/>
                <a:gd name="connsiteX5" fmla="*/ 287741 w 871845"/>
                <a:gd name="connsiteY5" fmla="*/ 434601 h 771851"/>
                <a:gd name="connsiteX6" fmla="*/ 433767 w 871845"/>
                <a:gd name="connsiteY6" fmla="*/ 511090 h 771851"/>
                <a:gd name="connsiteX7" fmla="*/ 506780 w 871845"/>
                <a:gd name="connsiteY7" fmla="*/ 528474 h 771851"/>
                <a:gd name="connsiteX8" fmla="*/ 572839 w 871845"/>
                <a:gd name="connsiteY8" fmla="*/ 566719 h 771851"/>
                <a:gd name="connsiteX9" fmla="*/ 656283 w 871845"/>
                <a:gd name="connsiteY9" fmla="*/ 632779 h 771851"/>
                <a:gd name="connsiteX10" fmla="*/ 750156 w 871845"/>
                <a:gd name="connsiteY10" fmla="*/ 688408 h 771851"/>
                <a:gd name="connsiteX11" fmla="*/ 823169 w 871845"/>
                <a:gd name="connsiteY11" fmla="*/ 747513 h 771851"/>
                <a:gd name="connsiteX12" fmla="*/ 844030 w 871845"/>
                <a:gd name="connsiteY12" fmla="*/ 761420 h 771851"/>
                <a:gd name="connsiteX13" fmla="*/ 864891 w 871845"/>
                <a:gd name="connsiteY13" fmla="*/ 768374 h 771851"/>
                <a:gd name="connsiteX14" fmla="*/ 871845 w 871845"/>
                <a:gd name="connsiteY14" fmla="*/ 771851 h 771851"/>
                <a:gd name="connsiteX0" fmla="*/ 9597 w 871845"/>
                <a:gd name="connsiteY0" fmla="*/ 0 h 771851"/>
                <a:gd name="connsiteX1" fmla="*/ 2643 w 871845"/>
                <a:gd name="connsiteY1" fmla="*/ 79966 h 771851"/>
                <a:gd name="connsiteX2" fmla="*/ 33935 w 871845"/>
                <a:gd name="connsiteY2" fmla="*/ 184271 h 771851"/>
                <a:gd name="connsiteX3" fmla="*/ 103470 w 871845"/>
                <a:gd name="connsiteY3" fmla="*/ 222516 h 771851"/>
                <a:gd name="connsiteX4" fmla="*/ 127808 w 871845"/>
                <a:gd name="connsiteY4" fmla="*/ 323343 h 771851"/>
                <a:gd name="connsiteX5" fmla="*/ 287741 w 871845"/>
                <a:gd name="connsiteY5" fmla="*/ 434601 h 771851"/>
                <a:gd name="connsiteX6" fmla="*/ 433767 w 871845"/>
                <a:gd name="connsiteY6" fmla="*/ 511090 h 771851"/>
                <a:gd name="connsiteX7" fmla="*/ 506780 w 871845"/>
                <a:gd name="connsiteY7" fmla="*/ 528474 h 771851"/>
                <a:gd name="connsiteX8" fmla="*/ 572839 w 871845"/>
                <a:gd name="connsiteY8" fmla="*/ 566719 h 771851"/>
                <a:gd name="connsiteX9" fmla="*/ 656283 w 871845"/>
                <a:gd name="connsiteY9" fmla="*/ 632779 h 771851"/>
                <a:gd name="connsiteX10" fmla="*/ 823169 w 871845"/>
                <a:gd name="connsiteY10" fmla="*/ 747513 h 771851"/>
                <a:gd name="connsiteX11" fmla="*/ 844030 w 871845"/>
                <a:gd name="connsiteY11" fmla="*/ 761420 h 771851"/>
                <a:gd name="connsiteX12" fmla="*/ 864891 w 871845"/>
                <a:gd name="connsiteY12" fmla="*/ 768374 h 771851"/>
                <a:gd name="connsiteX13" fmla="*/ 871845 w 871845"/>
                <a:gd name="connsiteY13" fmla="*/ 771851 h 771851"/>
                <a:gd name="connsiteX0" fmla="*/ 9597 w 874937"/>
                <a:gd name="connsiteY0" fmla="*/ 0 h 773770"/>
                <a:gd name="connsiteX1" fmla="*/ 2643 w 874937"/>
                <a:gd name="connsiteY1" fmla="*/ 79966 h 773770"/>
                <a:gd name="connsiteX2" fmla="*/ 33935 w 874937"/>
                <a:gd name="connsiteY2" fmla="*/ 184271 h 773770"/>
                <a:gd name="connsiteX3" fmla="*/ 103470 w 874937"/>
                <a:gd name="connsiteY3" fmla="*/ 222516 h 773770"/>
                <a:gd name="connsiteX4" fmla="*/ 127808 w 874937"/>
                <a:gd name="connsiteY4" fmla="*/ 323343 h 773770"/>
                <a:gd name="connsiteX5" fmla="*/ 287741 w 874937"/>
                <a:gd name="connsiteY5" fmla="*/ 434601 h 773770"/>
                <a:gd name="connsiteX6" fmla="*/ 433767 w 874937"/>
                <a:gd name="connsiteY6" fmla="*/ 511090 h 773770"/>
                <a:gd name="connsiteX7" fmla="*/ 506780 w 874937"/>
                <a:gd name="connsiteY7" fmla="*/ 528474 h 773770"/>
                <a:gd name="connsiteX8" fmla="*/ 572839 w 874937"/>
                <a:gd name="connsiteY8" fmla="*/ 566719 h 773770"/>
                <a:gd name="connsiteX9" fmla="*/ 656283 w 874937"/>
                <a:gd name="connsiteY9" fmla="*/ 632779 h 773770"/>
                <a:gd name="connsiteX10" fmla="*/ 823169 w 874937"/>
                <a:gd name="connsiteY10" fmla="*/ 747513 h 773770"/>
                <a:gd name="connsiteX11" fmla="*/ 757110 w 874937"/>
                <a:gd name="connsiteY11" fmla="*/ 709268 h 773770"/>
                <a:gd name="connsiteX12" fmla="*/ 864891 w 874937"/>
                <a:gd name="connsiteY12" fmla="*/ 768374 h 773770"/>
                <a:gd name="connsiteX13" fmla="*/ 871845 w 874937"/>
                <a:gd name="connsiteY13" fmla="*/ 771851 h 773770"/>
                <a:gd name="connsiteX0" fmla="*/ 9597 w 871845"/>
                <a:gd name="connsiteY0" fmla="*/ 0 h 771851"/>
                <a:gd name="connsiteX1" fmla="*/ 2643 w 871845"/>
                <a:gd name="connsiteY1" fmla="*/ 79966 h 771851"/>
                <a:gd name="connsiteX2" fmla="*/ 33935 w 871845"/>
                <a:gd name="connsiteY2" fmla="*/ 184271 h 771851"/>
                <a:gd name="connsiteX3" fmla="*/ 103470 w 871845"/>
                <a:gd name="connsiteY3" fmla="*/ 222516 h 771851"/>
                <a:gd name="connsiteX4" fmla="*/ 127808 w 871845"/>
                <a:gd name="connsiteY4" fmla="*/ 323343 h 771851"/>
                <a:gd name="connsiteX5" fmla="*/ 287741 w 871845"/>
                <a:gd name="connsiteY5" fmla="*/ 434601 h 771851"/>
                <a:gd name="connsiteX6" fmla="*/ 433767 w 871845"/>
                <a:gd name="connsiteY6" fmla="*/ 511090 h 771851"/>
                <a:gd name="connsiteX7" fmla="*/ 506780 w 871845"/>
                <a:gd name="connsiteY7" fmla="*/ 528474 h 771851"/>
                <a:gd name="connsiteX8" fmla="*/ 572839 w 871845"/>
                <a:gd name="connsiteY8" fmla="*/ 566719 h 771851"/>
                <a:gd name="connsiteX9" fmla="*/ 656283 w 871845"/>
                <a:gd name="connsiteY9" fmla="*/ 632779 h 771851"/>
                <a:gd name="connsiteX10" fmla="*/ 823169 w 871845"/>
                <a:gd name="connsiteY10" fmla="*/ 747513 h 771851"/>
                <a:gd name="connsiteX11" fmla="*/ 864891 w 871845"/>
                <a:gd name="connsiteY11" fmla="*/ 768374 h 771851"/>
                <a:gd name="connsiteX12" fmla="*/ 871845 w 871845"/>
                <a:gd name="connsiteY12" fmla="*/ 771851 h 771851"/>
                <a:gd name="connsiteX0" fmla="*/ 9597 w 876183"/>
                <a:gd name="connsiteY0" fmla="*/ 0 h 774523"/>
                <a:gd name="connsiteX1" fmla="*/ 2643 w 876183"/>
                <a:gd name="connsiteY1" fmla="*/ 79966 h 774523"/>
                <a:gd name="connsiteX2" fmla="*/ 33935 w 876183"/>
                <a:gd name="connsiteY2" fmla="*/ 184271 h 774523"/>
                <a:gd name="connsiteX3" fmla="*/ 103470 w 876183"/>
                <a:gd name="connsiteY3" fmla="*/ 222516 h 774523"/>
                <a:gd name="connsiteX4" fmla="*/ 127808 w 876183"/>
                <a:gd name="connsiteY4" fmla="*/ 323343 h 774523"/>
                <a:gd name="connsiteX5" fmla="*/ 287741 w 876183"/>
                <a:gd name="connsiteY5" fmla="*/ 434601 h 774523"/>
                <a:gd name="connsiteX6" fmla="*/ 433767 w 876183"/>
                <a:gd name="connsiteY6" fmla="*/ 511090 h 774523"/>
                <a:gd name="connsiteX7" fmla="*/ 506780 w 876183"/>
                <a:gd name="connsiteY7" fmla="*/ 528474 h 774523"/>
                <a:gd name="connsiteX8" fmla="*/ 572839 w 876183"/>
                <a:gd name="connsiteY8" fmla="*/ 566719 h 774523"/>
                <a:gd name="connsiteX9" fmla="*/ 656283 w 876183"/>
                <a:gd name="connsiteY9" fmla="*/ 632779 h 774523"/>
                <a:gd name="connsiteX10" fmla="*/ 739726 w 876183"/>
                <a:gd name="connsiteY10" fmla="*/ 698838 h 774523"/>
                <a:gd name="connsiteX11" fmla="*/ 864891 w 876183"/>
                <a:gd name="connsiteY11" fmla="*/ 768374 h 774523"/>
                <a:gd name="connsiteX12" fmla="*/ 871845 w 876183"/>
                <a:gd name="connsiteY12" fmla="*/ 771851 h 774523"/>
                <a:gd name="connsiteX0" fmla="*/ 9597 w 882270"/>
                <a:gd name="connsiteY0" fmla="*/ 0 h 779366"/>
                <a:gd name="connsiteX1" fmla="*/ 2643 w 882270"/>
                <a:gd name="connsiteY1" fmla="*/ 79966 h 779366"/>
                <a:gd name="connsiteX2" fmla="*/ 33935 w 882270"/>
                <a:gd name="connsiteY2" fmla="*/ 184271 h 779366"/>
                <a:gd name="connsiteX3" fmla="*/ 103470 w 882270"/>
                <a:gd name="connsiteY3" fmla="*/ 222516 h 779366"/>
                <a:gd name="connsiteX4" fmla="*/ 127808 w 882270"/>
                <a:gd name="connsiteY4" fmla="*/ 323343 h 779366"/>
                <a:gd name="connsiteX5" fmla="*/ 287741 w 882270"/>
                <a:gd name="connsiteY5" fmla="*/ 434601 h 779366"/>
                <a:gd name="connsiteX6" fmla="*/ 433767 w 882270"/>
                <a:gd name="connsiteY6" fmla="*/ 511090 h 779366"/>
                <a:gd name="connsiteX7" fmla="*/ 506780 w 882270"/>
                <a:gd name="connsiteY7" fmla="*/ 528474 h 779366"/>
                <a:gd name="connsiteX8" fmla="*/ 572839 w 882270"/>
                <a:gd name="connsiteY8" fmla="*/ 566719 h 779366"/>
                <a:gd name="connsiteX9" fmla="*/ 656283 w 882270"/>
                <a:gd name="connsiteY9" fmla="*/ 632779 h 779366"/>
                <a:gd name="connsiteX10" fmla="*/ 864891 w 882270"/>
                <a:gd name="connsiteY10" fmla="*/ 768374 h 779366"/>
                <a:gd name="connsiteX11" fmla="*/ 871845 w 882270"/>
                <a:gd name="connsiteY11" fmla="*/ 771851 h 779366"/>
                <a:gd name="connsiteX0" fmla="*/ 9597 w 934427"/>
                <a:gd name="connsiteY0" fmla="*/ 0 h 782362"/>
                <a:gd name="connsiteX1" fmla="*/ 2643 w 934427"/>
                <a:gd name="connsiteY1" fmla="*/ 79966 h 782362"/>
                <a:gd name="connsiteX2" fmla="*/ 33935 w 934427"/>
                <a:gd name="connsiteY2" fmla="*/ 184271 h 782362"/>
                <a:gd name="connsiteX3" fmla="*/ 103470 w 934427"/>
                <a:gd name="connsiteY3" fmla="*/ 222516 h 782362"/>
                <a:gd name="connsiteX4" fmla="*/ 127808 w 934427"/>
                <a:gd name="connsiteY4" fmla="*/ 323343 h 782362"/>
                <a:gd name="connsiteX5" fmla="*/ 287741 w 934427"/>
                <a:gd name="connsiteY5" fmla="*/ 434601 h 782362"/>
                <a:gd name="connsiteX6" fmla="*/ 433767 w 934427"/>
                <a:gd name="connsiteY6" fmla="*/ 511090 h 782362"/>
                <a:gd name="connsiteX7" fmla="*/ 506780 w 934427"/>
                <a:gd name="connsiteY7" fmla="*/ 528474 h 782362"/>
                <a:gd name="connsiteX8" fmla="*/ 572839 w 934427"/>
                <a:gd name="connsiteY8" fmla="*/ 566719 h 782362"/>
                <a:gd name="connsiteX9" fmla="*/ 656283 w 934427"/>
                <a:gd name="connsiteY9" fmla="*/ 632779 h 782362"/>
                <a:gd name="connsiteX10" fmla="*/ 864891 w 934427"/>
                <a:gd name="connsiteY10" fmla="*/ 768374 h 782362"/>
                <a:gd name="connsiteX11" fmla="*/ 934427 w 934427"/>
                <a:gd name="connsiteY11" fmla="*/ 778804 h 782362"/>
                <a:gd name="connsiteX0" fmla="*/ 9597 w 934427"/>
                <a:gd name="connsiteY0" fmla="*/ 0 h 778804"/>
                <a:gd name="connsiteX1" fmla="*/ 2643 w 934427"/>
                <a:gd name="connsiteY1" fmla="*/ 79966 h 778804"/>
                <a:gd name="connsiteX2" fmla="*/ 33935 w 934427"/>
                <a:gd name="connsiteY2" fmla="*/ 184271 h 778804"/>
                <a:gd name="connsiteX3" fmla="*/ 103470 w 934427"/>
                <a:gd name="connsiteY3" fmla="*/ 222516 h 778804"/>
                <a:gd name="connsiteX4" fmla="*/ 127808 w 934427"/>
                <a:gd name="connsiteY4" fmla="*/ 323343 h 778804"/>
                <a:gd name="connsiteX5" fmla="*/ 287741 w 934427"/>
                <a:gd name="connsiteY5" fmla="*/ 434601 h 778804"/>
                <a:gd name="connsiteX6" fmla="*/ 433767 w 934427"/>
                <a:gd name="connsiteY6" fmla="*/ 511090 h 778804"/>
                <a:gd name="connsiteX7" fmla="*/ 506780 w 934427"/>
                <a:gd name="connsiteY7" fmla="*/ 528474 h 778804"/>
                <a:gd name="connsiteX8" fmla="*/ 572839 w 934427"/>
                <a:gd name="connsiteY8" fmla="*/ 566719 h 778804"/>
                <a:gd name="connsiteX9" fmla="*/ 656283 w 934427"/>
                <a:gd name="connsiteY9" fmla="*/ 632779 h 778804"/>
                <a:gd name="connsiteX10" fmla="*/ 722342 w 934427"/>
                <a:gd name="connsiteY10" fmla="*/ 667547 h 778804"/>
                <a:gd name="connsiteX11" fmla="*/ 934427 w 934427"/>
                <a:gd name="connsiteY11" fmla="*/ 778804 h 778804"/>
                <a:gd name="connsiteX0" fmla="*/ 9597 w 868368"/>
                <a:gd name="connsiteY0" fmla="*/ 0 h 764897"/>
                <a:gd name="connsiteX1" fmla="*/ 2643 w 868368"/>
                <a:gd name="connsiteY1" fmla="*/ 79966 h 764897"/>
                <a:gd name="connsiteX2" fmla="*/ 33935 w 868368"/>
                <a:gd name="connsiteY2" fmla="*/ 184271 h 764897"/>
                <a:gd name="connsiteX3" fmla="*/ 103470 w 868368"/>
                <a:gd name="connsiteY3" fmla="*/ 222516 h 764897"/>
                <a:gd name="connsiteX4" fmla="*/ 127808 w 868368"/>
                <a:gd name="connsiteY4" fmla="*/ 323343 h 764897"/>
                <a:gd name="connsiteX5" fmla="*/ 287741 w 868368"/>
                <a:gd name="connsiteY5" fmla="*/ 434601 h 764897"/>
                <a:gd name="connsiteX6" fmla="*/ 433767 w 868368"/>
                <a:gd name="connsiteY6" fmla="*/ 511090 h 764897"/>
                <a:gd name="connsiteX7" fmla="*/ 506780 w 868368"/>
                <a:gd name="connsiteY7" fmla="*/ 528474 h 764897"/>
                <a:gd name="connsiteX8" fmla="*/ 572839 w 868368"/>
                <a:gd name="connsiteY8" fmla="*/ 566719 h 764897"/>
                <a:gd name="connsiteX9" fmla="*/ 656283 w 868368"/>
                <a:gd name="connsiteY9" fmla="*/ 632779 h 764897"/>
                <a:gd name="connsiteX10" fmla="*/ 722342 w 868368"/>
                <a:gd name="connsiteY10" fmla="*/ 667547 h 764897"/>
                <a:gd name="connsiteX11" fmla="*/ 868368 w 868368"/>
                <a:gd name="connsiteY11" fmla="*/ 764897 h 764897"/>
                <a:gd name="connsiteX0" fmla="*/ 9597 w 833600"/>
                <a:gd name="connsiteY0" fmla="*/ 0 h 778804"/>
                <a:gd name="connsiteX1" fmla="*/ 2643 w 833600"/>
                <a:gd name="connsiteY1" fmla="*/ 79966 h 778804"/>
                <a:gd name="connsiteX2" fmla="*/ 33935 w 833600"/>
                <a:gd name="connsiteY2" fmla="*/ 184271 h 778804"/>
                <a:gd name="connsiteX3" fmla="*/ 103470 w 833600"/>
                <a:gd name="connsiteY3" fmla="*/ 222516 h 778804"/>
                <a:gd name="connsiteX4" fmla="*/ 127808 w 833600"/>
                <a:gd name="connsiteY4" fmla="*/ 323343 h 778804"/>
                <a:gd name="connsiteX5" fmla="*/ 287741 w 833600"/>
                <a:gd name="connsiteY5" fmla="*/ 434601 h 778804"/>
                <a:gd name="connsiteX6" fmla="*/ 433767 w 833600"/>
                <a:gd name="connsiteY6" fmla="*/ 511090 h 778804"/>
                <a:gd name="connsiteX7" fmla="*/ 506780 w 833600"/>
                <a:gd name="connsiteY7" fmla="*/ 528474 h 778804"/>
                <a:gd name="connsiteX8" fmla="*/ 572839 w 833600"/>
                <a:gd name="connsiteY8" fmla="*/ 566719 h 778804"/>
                <a:gd name="connsiteX9" fmla="*/ 656283 w 833600"/>
                <a:gd name="connsiteY9" fmla="*/ 632779 h 778804"/>
                <a:gd name="connsiteX10" fmla="*/ 722342 w 833600"/>
                <a:gd name="connsiteY10" fmla="*/ 667547 h 778804"/>
                <a:gd name="connsiteX11" fmla="*/ 833600 w 833600"/>
                <a:gd name="connsiteY11" fmla="*/ 778804 h 778804"/>
                <a:gd name="connsiteX0" fmla="*/ 9597 w 833600"/>
                <a:gd name="connsiteY0" fmla="*/ 0 h 785061"/>
                <a:gd name="connsiteX1" fmla="*/ 2643 w 833600"/>
                <a:gd name="connsiteY1" fmla="*/ 79966 h 785061"/>
                <a:gd name="connsiteX2" fmla="*/ 33935 w 833600"/>
                <a:gd name="connsiteY2" fmla="*/ 184271 h 785061"/>
                <a:gd name="connsiteX3" fmla="*/ 103470 w 833600"/>
                <a:gd name="connsiteY3" fmla="*/ 222516 h 785061"/>
                <a:gd name="connsiteX4" fmla="*/ 127808 w 833600"/>
                <a:gd name="connsiteY4" fmla="*/ 323343 h 785061"/>
                <a:gd name="connsiteX5" fmla="*/ 287741 w 833600"/>
                <a:gd name="connsiteY5" fmla="*/ 434601 h 785061"/>
                <a:gd name="connsiteX6" fmla="*/ 433767 w 833600"/>
                <a:gd name="connsiteY6" fmla="*/ 511090 h 785061"/>
                <a:gd name="connsiteX7" fmla="*/ 506780 w 833600"/>
                <a:gd name="connsiteY7" fmla="*/ 528474 h 785061"/>
                <a:gd name="connsiteX8" fmla="*/ 572839 w 833600"/>
                <a:gd name="connsiteY8" fmla="*/ 566719 h 785061"/>
                <a:gd name="connsiteX9" fmla="*/ 656283 w 833600"/>
                <a:gd name="connsiteY9" fmla="*/ 632779 h 785061"/>
                <a:gd name="connsiteX10" fmla="*/ 663236 w 833600"/>
                <a:gd name="connsiteY10" fmla="*/ 778805 h 785061"/>
                <a:gd name="connsiteX11" fmla="*/ 833600 w 833600"/>
                <a:gd name="connsiteY11" fmla="*/ 778804 h 785061"/>
                <a:gd name="connsiteX0" fmla="*/ 9597 w 833600"/>
                <a:gd name="connsiteY0" fmla="*/ 0 h 783392"/>
                <a:gd name="connsiteX1" fmla="*/ 2643 w 833600"/>
                <a:gd name="connsiteY1" fmla="*/ 79966 h 783392"/>
                <a:gd name="connsiteX2" fmla="*/ 33935 w 833600"/>
                <a:gd name="connsiteY2" fmla="*/ 184271 h 783392"/>
                <a:gd name="connsiteX3" fmla="*/ 103470 w 833600"/>
                <a:gd name="connsiteY3" fmla="*/ 222516 h 783392"/>
                <a:gd name="connsiteX4" fmla="*/ 127808 w 833600"/>
                <a:gd name="connsiteY4" fmla="*/ 323343 h 783392"/>
                <a:gd name="connsiteX5" fmla="*/ 287741 w 833600"/>
                <a:gd name="connsiteY5" fmla="*/ 434601 h 783392"/>
                <a:gd name="connsiteX6" fmla="*/ 433767 w 833600"/>
                <a:gd name="connsiteY6" fmla="*/ 511090 h 783392"/>
                <a:gd name="connsiteX7" fmla="*/ 506780 w 833600"/>
                <a:gd name="connsiteY7" fmla="*/ 528474 h 783392"/>
                <a:gd name="connsiteX8" fmla="*/ 572839 w 833600"/>
                <a:gd name="connsiteY8" fmla="*/ 566719 h 783392"/>
                <a:gd name="connsiteX9" fmla="*/ 611084 w 833600"/>
                <a:gd name="connsiteY9" fmla="*/ 660593 h 783392"/>
                <a:gd name="connsiteX10" fmla="*/ 663236 w 833600"/>
                <a:gd name="connsiteY10" fmla="*/ 778805 h 783392"/>
                <a:gd name="connsiteX11" fmla="*/ 833600 w 833600"/>
                <a:gd name="connsiteY11" fmla="*/ 778804 h 783392"/>
                <a:gd name="connsiteX0" fmla="*/ 9597 w 833600"/>
                <a:gd name="connsiteY0" fmla="*/ 0 h 783392"/>
                <a:gd name="connsiteX1" fmla="*/ 2643 w 833600"/>
                <a:gd name="connsiteY1" fmla="*/ 79966 h 783392"/>
                <a:gd name="connsiteX2" fmla="*/ 33935 w 833600"/>
                <a:gd name="connsiteY2" fmla="*/ 184271 h 783392"/>
                <a:gd name="connsiteX3" fmla="*/ 103470 w 833600"/>
                <a:gd name="connsiteY3" fmla="*/ 222516 h 783392"/>
                <a:gd name="connsiteX4" fmla="*/ 127808 w 833600"/>
                <a:gd name="connsiteY4" fmla="*/ 323343 h 783392"/>
                <a:gd name="connsiteX5" fmla="*/ 287741 w 833600"/>
                <a:gd name="connsiteY5" fmla="*/ 434601 h 783392"/>
                <a:gd name="connsiteX6" fmla="*/ 433767 w 833600"/>
                <a:gd name="connsiteY6" fmla="*/ 511090 h 783392"/>
                <a:gd name="connsiteX7" fmla="*/ 506780 w 833600"/>
                <a:gd name="connsiteY7" fmla="*/ 528474 h 783392"/>
                <a:gd name="connsiteX8" fmla="*/ 572839 w 833600"/>
                <a:gd name="connsiteY8" fmla="*/ 566719 h 783392"/>
                <a:gd name="connsiteX9" fmla="*/ 611084 w 833600"/>
                <a:gd name="connsiteY9" fmla="*/ 660593 h 783392"/>
                <a:gd name="connsiteX10" fmla="*/ 663236 w 833600"/>
                <a:gd name="connsiteY10" fmla="*/ 778805 h 783392"/>
                <a:gd name="connsiteX11" fmla="*/ 833600 w 833600"/>
                <a:gd name="connsiteY11" fmla="*/ 778804 h 783392"/>
                <a:gd name="connsiteX0" fmla="*/ 9597 w 833600"/>
                <a:gd name="connsiteY0" fmla="*/ 0 h 789323"/>
                <a:gd name="connsiteX1" fmla="*/ 2643 w 833600"/>
                <a:gd name="connsiteY1" fmla="*/ 79966 h 789323"/>
                <a:gd name="connsiteX2" fmla="*/ 33935 w 833600"/>
                <a:gd name="connsiteY2" fmla="*/ 184271 h 789323"/>
                <a:gd name="connsiteX3" fmla="*/ 103470 w 833600"/>
                <a:gd name="connsiteY3" fmla="*/ 222516 h 789323"/>
                <a:gd name="connsiteX4" fmla="*/ 127808 w 833600"/>
                <a:gd name="connsiteY4" fmla="*/ 323343 h 789323"/>
                <a:gd name="connsiteX5" fmla="*/ 287741 w 833600"/>
                <a:gd name="connsiteY5" fmla="*/ 434601 h 789323"/>
                <a:gd name="connsiteX6" fmla="*/ 433767 w 833600"/>
                <a:gd name="connsiteY6" fmla="*/ 511090 h 789323"/>
                <a:gd name="connsiteX7" fmla="*/ 506780 w 833600"/>
                <a:gd name="connsiteY7" fmla="*/ 528474 h 789323"/>
                <a:gd name="connsiteX8" fmla="*/ 572839 w 833600"/>
                <a:gd name="connsiteY8" fmla="*/ 566719 h 789323"/>
                <a:gd name="connsiteX9" fmla="*/ 663236 w 833600"/>
                <a:gd name="connsiteY9" fmla="*/ 778805 h 789323"/>
                <a:gd name="connsiteX10" fmla="*/ 833600 w 833600"/>
                <a:gd name="connsiteY10" fmla="*/ 778804 h 789323"/>
                <a:gd name="connsiteX0" fmla="*/ 9597 w 833600"/>
                <a:gd name="connsiteY0" fmla="*/ 0 h 783299"/>
                <a:gd name="connsiteX1" fmla="*/ 2643 w 833600"/>
                <a:gd name="connsiteY1" fmla="*/ 79966 h 783299"/>
                <a:gd name="connsiteX2" fmla="*/ 33935 w 833600"/>
                <a:gd name="connsiteY2" fmla="*/ 184271 h 783299"/>
                <a:gd name="connsiteX3" fmla="*/ 103470 w 833600"/>
                <a:gd name="connsiteY3" fmla="*/ 222516 h 783299"/>
                <a:gd name="connsiteX4" fmla="*/ 127808 w 833600"/>
                <a:gd name="connsiteY4" fmla="*/ 323343 h 783299"/>
                <a:gd name="connsiteX5" fmla="*/ 287741 w 833600"/>
                <a:gd name="connsiteY5" fmla="*/ 434601 h 783299"/>
                <a:gd name="connsiteX6" fmla="*/ 433767 w 833600"/>
                <a:gd name="connsiteY6" fmla="*/ 511090 h 783299"/>
                <a:gd name="connsiteX7" fmla="*/ 506780 w 833600"/>
                <a:gd name="connsiteY7" fmla="*/ 528474 h 783299"/>
                <a:gd name="connsiteX8" fmla="*/ 572839 w 833600"/>
                <a:gd name="connsiteY8" fmla="*/ 566719 h 783299"/>
                <a:gd name="connsiteX9" fmla="*/ 642375 w 833600"/>
                <a:gd name="connsiteY9" fmla="*/ 771852 h 783299"/>
                <a:gd name="connsiteX10" fmla="*/ 833600 w 833600"/>
                <a:gd name="connsiteY10" fmla="*/ 778804 h 783299"/>
                <a:gd name="connsiteX0" fmla="*/ 9597 w 833600"/>
                <a:gd name="connsiteY0" fmla="*/ 0 h 778804"/>
                <a:gd name="connsiteX1" fmla="*/ 2643 w 833600"/>
                <a:gd name="connsiteY1" fmla="*/ 79966 h 778804"/>
                <a:gd name="connsiteX2" fmla="*/ 33935 w 833600"/>
                <a:gd name="connsiteY2" fmla="*/ 184271 h 778804"/>
                <a:gd name="connsiteX3" fmla="*/ 103470 w 833600"/>
                <a:gd name="connsiteY3" fmla="*/ 222516 h 778804"/>
                <a:gd name="connsiteX4" fmla="*/ 127808 w 833600"/>
                <a:gd name="connsiteY4" fmla="*/ 323343 h 778804"/>
                <a:gd name="connsiteX5" fmla="*/ 287741 w 833600"/>
                <a:gd name="connsiteY5" fmla="*/ 434601 h 778804"/>
                <a:gd name="connsiteX6" fmla="*/ 433767 w 833600"/>
                <a:gd name="connsiteY6" fmla="*/ 511090 h 778804"/>
                <a:gd name="connsiteX7" fmla="*/ 506780 w 833600"/>
                <a:gd name="connsiteY7" fmla="*/ 528474 h 778804"/>
                <a:gd name="connsiteX8" fmla="*/ 572839 w 833600"/>
                <a:gd name="connsiteY8" fmla="*/ 566719 h 778804"/>
                <a:gd name="connsiteX9" fmla="*/ 642375 w 833600"/>
                <a:gd name="connsiteY9" fmla="*/ 771852 h 778804"/>
                <a:gd name="connsiteX10" fmla="*/ 833600 w 833600"/>
                <a:gd name="connsiteY10" fmla="*/ 778804 h 778804"/>
                <a:gd name="connsiteX0" fmla="*/ 9597 w 833600"/>
                <a:gd name="connsiteY0" fmla="*/ 0 h 778804"/>
                <a:gd name="connsiteX1" fmla="*/ 2643 w 833600"/>
                <a:gd name="connsiteY1" fmla="*/ 79966 h 778804"/>
                <a:gd name="connsiteX2" fmla="*/ 33935 w 833600"/>
                <a:gd name="connsiteY2" fmla="*/ 184271 h 778804"/>
                <a:gd name="connsiteX3" fmla="*/ 103470 w 833600"/>
                <a:gd name="connsiteY3" fmla="*/ 222516 h 778804"/>
                <a:gd name="connsiteX4" fmla="*/ 127808 w 833600"/>
                <a:gd name="connsiteY4" fmla="*/ 323343 h 778804"/>
                <a:gd name="connsiteX5" fmla="*/ 287741 w 833600"/>
                <a:gd name="connsiteY5" fmla="*/ 434601 h 778804"/>
                <a:gd name="connsiteX6" fmla="*/ 433767 w 833600"/>
                <a:gd name="connsiteY6" fmla="*/ 511090 h 778804"/>
                <a:gd name="connsiteX7" fmla="*/ 506780 w 833600"/>
                <a:gd name="connsiteY7" fmla="*/ 528474 h 778804"/>
                <a:gd name="connsiteX8" fmla="*/ 572839 w 833600"/>
                <a:gd name="connsiteY8" fmla="*/ 566719 h 778804"/>
                <a:gd name="connsiteX9" fmla="*/ 642375 w 833600"/>
                <a:gd name="connsiteY9" fmla="*/ 771852 h 778804"/>
                <a:gd name="connsiteX10" fmla="*/ 833600 w 833600"/>
                <a:gd name="connsiteY10" fmla="*/ 778804 h 778804"/>
                <a:gd name="connsiteX0" fmla="*/ 9597 w 833600"/>
                <a:gd name="connsiteY0" fmla="*/ 0 h 780912"/>
                <a:gd name="connsiteX1" fmla="*/ 2643 w 833600"/>
                <a:gd name="connsiteY1" fmla="*/ 79966 h 780912"/>
                <a:gd name="connsiteX2" fmla="*/ 33935 w 833600"/>
                <a:gd name="connsiteY2" fmla="*/ 184271 h 780912"/>
                <a:gd name="connsiteX3" fmla="*/ 103470 w 833600"/>
                <a:gd name="connsiteY3" fmla="*/ 222516 h 780912"/>
                <a:gd name="connsiteX4" fmla="*/ 127808 w 833600"/>
                <a:gd name="connsiteY4" fmla="*/ 323343 h 780912"/>
                <a:gd name="connsiteX5" fmla="*/ 287741 w 833600"/>
                <a:gd name="connsiteY5" fmla="*/ 434601 h 780912"/>
                <a:gd name="connsiteX6" fmla="*/ 433767 w 833600"/>
                <a:gd name="connsiteY6" fmla="*/ 511090 h 780912"/>
                <a:gd name="connsiteX7" fmla="*/ 506780 w 833600"/>
                <a:gd name="connsiteY7" fmla="*/ 528474 h 780912"/>
                <a:gd name="connsiteX8" fmla="*/ 586746 w 833600"/>
                <a:gd name="connsiteY8" fmla="*/ 601487 h 780912"/>
                <a:gd name="connsiteX9" fmla="*/ 642375 w 833600"/>
                <a:gd name="connsiteY9" fmla="*/ 771852 h 780912"/>
                <a:gd name="connsiteX10" fmla="*/ 833600 w 833600"/>
                <a:gd name="connsiteY10" fmla="*/ 778804 h 780912"/>
                <a:gd name="connsiteX0" fmla="*/ 9597 w 833600"/>
                <a:gd name="connsiteY0" fmla="*/ 0 h 778804"/>
                <a:gd name="connsiteX1" fmla="*/ 2643 w 833600"/>
                <a:gd name="connsiteY1" fmla="*/ 79966 h 778804"/>
                <a:gd name="connsiteX2" fmla="*/ 33935 w 833600"/>
                <a:gd name="connsiteY2" fmla="*/ 184271 h 778804"/>
                <a:gd name="connsiteX3" fmla="*/ 103470 w 833600"/>
                <a:gd name="connsiteY3" fmla="*/ 222516 h 778804"/>
                <a:gd name="connsiteX4" fmla="*/ 127808 w 833600"/>
                <a:gd name="connsiteY4" fmla="*/ 323343 h 778804"/>
                <a:gd name="connsiteX5" fmla="*/ 287741 w 833600"/>
                <a:gd name="connsiteY5" fmla="*/ 434601 h 778804"/>
                <a:gd name="connsiteX6" fmla="*/ 433767 w 833600"/>
                <a:gd name="connsiteY6" fmla="*/ 511090 h 778804"/>
                <a:gd name="connsiteX7" fmla="*/ 506780 w 833600"/>
                <a:gd name="connsiteY7" fmla="*/ 528474 h 778804"/>
                <a:gd name="connsiteX8" fmla="*/ 586746 w 833600"/>
                <a:gd name="connsiteY8" fmla="*/ 601487 h 778804"/>
                <a:gd name="connsiteX9" fmla="*/ 642375 w 833600"/>
                <a:gd name="connsiteY9" fmla="*/ 771852 h 778804"/>
                <a:gd name="connsiteX10" fmla="*/ 833600 w 833600"/>
                <a:gd name="connsiteY10" fmla="*/ 778804 h 778804"/>
                <a:gd name="connsiteX0" fmla="*/ 9597 w 861414"/>
                <a:gd name="connsiteY0" fmla="*/ 0 h 780248"/>
                <a:gd name="connsiteX1" fmla="*/ 2643 w 861414"/>
                <a:gd name="connsiteY1" fmla="*/ 79966 h 780248"/>
                <a:gd name="connsiteX2" fmla="*/ 33935 w 861414"/>
                <a:gd name="connsiteY2" fmla="*/ 184271 h 780248"/>
                <a:gd name="connsiteX3" fmla="*/ 103470 w 861414"/>
                <a:gd name="connsiteY3" fmla="*/ 222516 h 780248"/>
                <a:gd name="connsiteX4" fmla="*/ 127808 w 861414"/>
                <a:gd name="connsiteY4" fmla="*/ 323343 h 780248"/>
                <a:gd name="connsiteX5" fmla="*/ 287741 w 861414"/>
                <a:gd name="connsiteY5" fmla="*/ 434601 h 780248"/>
                <a:gd name="connsiteX6" fmla="*/ 433767 w 861414"/>
                <a:gd name="connsiteY6" fmla="*/ 511090 h 780248"/>
                <a:gd name="connsiteX7" fmla="*/ 506780 w 861414"/>
                <a:gd name="connsiteY7" fmla="*/ 528474 h 780248"/>
                <a:gd name="connsiteX8" fmla="*/ 586746 w 861414"/>
                <a:gd name="connsiteY8" fmla="*/ 601487 h 780248"/>
                <a:gd name="connsiteX9" fmla="*/ 642375 w 861414"/>
                <a:gd name="connsiteY9" fmla="*/ 771852 h 780248"/>
                <a:gd name="connsiteX10" fmla="*/ 861414 w 861414"/>
                <a:gd name="connsiteY10" fmla="*/ 775327 h 7802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1414" h="780248">
                  <a:moveTo>
                    <a:pt x="9597" y="0"/>
                  </a:moveTo>
                  <a:cubicBezTo>
                    <a:pt x="-1992" y="21006"/>
                    <a:pt x="-1413" y="49254"/>
                    <a:pt x="2643" y="79966"/>
                  </a:cubicBezTo>
                  <a:cubicBezTo>
                    <a:pt x="6699" y="110678"/>
                    <a:pt x="17131" y="160513"/>
                    <a:pt x="33935" y="184271"/>
                  </a:cubicBezTo>
                  <a:cubicBezTo>
                    <a:pt x="50739" y="208029"/>
                    <a:pt x="87825" y="199337"/>
                    <a:pt x="103470" y="222516"/>
                  </a:cubicBezTo>
                  <a:cubicBezTo>
                    <a:pt x="119115" y="245695"/>
                    <a:pt x="91302" y="293211"/>
                    <a:pt x="127808" y="323343"/>
                  </a:cubicBezTo>
                  <a:cubicBezTo>
                    <a:pt x="164314" y="353475"/>
                    <a:pt x="236748" y="403310"/>
                    <a:pt x="287741" y="434601"/>
                  </a:cubicBezTo>
                  <a:cubicBezTo>
                    <a:pt x="338734" y="465892"/>
                    <a:pt x="397261" y="495445"/>
                    <a:pt x="433767" y="511090"/>
                  </a:cubicBezTo>
                  <a:cubicBezTo>
                    <a:pt x="470273" y="526735"/>
                    <a:pt x="491134" y="524418"/>
                    <a:pt x="506780" y="528474"/>
                  </a:cubicBezTo>
                  <a:cubicBezTo>
                    <a:pt x="529959" y="537746"/>
                    <a:pt x="560670" y="559765"/>
                    <a:pt x="586746" y="601487"/>
                  </a:cubicBezTo>
                  <a:cubicBezTo>
                    <a:pt x="612822" y="643209"/>
                    <a:pt x="596597" y="742879"/>
                    <a:pt x="642375" y="771852"/>
                  </a:cubicBezTo>
                  <a:cubicBezTo>
                    <a:pt x="688153" y="800825"/>
                    <a:pt x="812739" y="742877"/>
                    <a:pt x="861414" y="775327"/>
                  </a:cubicBezTo>
                </a:path>
              </a:pathLst>
            </a:custGeom>
            <a:noFill/>
            <a:ln w="3810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ru-RU"/>
            </a:p>
          </p:txBody>
        </p:sp>
        <p:sp>
          <p:nvSpPr>
            <p:cNvPr id="21" name="Содержимое 2"/>
            <p:cNvSpPr txBox="1">
              <a:spLocks/>
            </p:cNvSpPr>
            <p:nvPr/>
          </p:nvSpPr>
          <p:spPr bwMode="auto">
            <a:xfrm>
              <a:off x="6542371" y="4319795"/>
              <a:ext cx="2422117" cy="6167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marL="179388" indent="-179388">
                <a:spcBef>
                  <a:spcPct val="20000"/>
                </a:spcBef>
                <a:buFont typeface="Arial" panose="020B0604020202020204" pitchFamily="34" charset="0"/>
                <a:buChar char="•"/>
                <a:defRPr sz="16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16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9pPr>
            </a:lstStyle>
            <a:p>
              <a:pPr marL="0" indent="0" eaLnBrk="1" hangingPunct="1">
                <a:lnSpc>
                  <a:spcPct val="120000"/>
                </a:lnSpc>
                <a:spcBef>
                  <a:spcPct val="0"/>
                </a:spcBef>
                <a:buClr>
                  <a:srgbClr val="C00000"/>
                </a:buClr>
                <a:buSzPct val="120000"/>
                <a:buNone/>
              </a:pPr>
              <a:r>
                <a:rPr lang="en-US" altLang="ru-RU" sz="1400" b="1" dirty="0">
                  <a:solidFill>
                    <a:srgbClr val="006600"/>
                  </a:solidFill>
                  <a:latin typeface="Calibri" panose="020F0502020204030204" pitchFamily="34" charset="0"/>
                  <a:cs typeface="Arial" panose="020B0604020202020204" pitchFamily="34" charset="0"/>
                </a:rPr>
                <a:t>Suzhou</a:t>
              </a:r>
              <a:r>
                <a:rPr lang="ru-RU" altLang="ru-RU" sz="1400" b="1" dirty="0" smtClean="0">
                  <a:solidFill>
                    <a:srgbClr val="006600"/>
                  </a:solidFill>
                  <a:latin typeface="Calibri" panose="020F0502020204030204" pitchFamily="34" charset="0"/>
                  <a:cs typeface="Arial" panose="020B0604020202020204" pitchFamily="34" charset="0"/>
                </a:rPr>
                <a:t>– </a:t>
              </a:r>
              <a:r>
                <a:rPr lang="en-US" altLang="ru-RU" sz="1400" b="1" dirty="0" smtClean="0">
                  <a:solidFill>
                    <a:srgbClr val="006600"/>
                  </a:solidFill>
                  <a:latin typeface="Calibri" panose="020F0502020204030204" pitchFamily="34" charset="0"/>
                  <a:cs typeface="Arial" panose="020B0604020202020204" pitchFamily="34" charset="0"/>
                </a:rPr>
                <a:t>Warsaw</a:t>
              </a:r>
              <a:endParaRPr lang="en-US" altLang="ru-RU" sz="1400" b="1" dirty="0">
                <a:solidFill>
                  <a:srgbClr val="006600"/>
                </a:solidFill>
                <a:latin typeface="Calibri" panose="020F050202020403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25" name="Picture 9" descr="BALTICA_TRANSIT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235" b="7980"/>
          <a:stretch/>
        </p:blipFill>
        <p:spPr bwMode="auto">
          <a:xfrm>
            <a:off x="658275" y="4295775"/>
            <a:ext cx="2997360" cy="2160241"/>
          </a:xfrm>
          <a:prstGeom prst="rect">
            <a:avLst/>
          </a:prstGeom>
          <a:noFill/>
          <a:ln w="9525">
            <a:solidFill>
              <a:schemeClr val="bg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Text Box 10"/>
          <p:cNvSpPr txBox="1">
            <a:spLocks noChangeArrowheads="1"/>
          </p:cNvSpPr>
          <p:nvPr/>
        </p:nvSpPr>
        <p:spPr bwMode="auto">
          <a:xfrm>
            <a:off x="671180" y="4310911"/>
            <a:ext cx="2997360" cy="369332"/>
          </a:xfrm>
          <a:prstGeom prst="rect">
            <a:avLst/>
          </a:prstGeom>
          <a:solidFill>
            <a:srgbClr val="006600">
              <a:alpha val="80000"/>
            </a:srgbClr>
          </a:solidFill>
          <a:ln w="9525">
            <a:solidFill>
              <a:schemeClr val="bg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 eaLnBrk="1" hangingPunct="1">
              <a:defRPr/>
            </a:pPr>
            <a:r>
              <a:rPr lang="en-US" altLang="ru-RU" dirty="0">
                <a:solidFill>
                  <a:schemeClr val="bg1"/>
                </a:solidFill>
                <a:latin typeface="Calibri" panose="020F0502020204030204" pitchFamily="34" charset="0"/>
              </a:rPr>
              <a:t>BALTIC TRANSIT</a:t>
            </a:r>
          </a:p>
        </p:txBody>
      </p:sp>
      <p:sp>
        <p:nvSpPr>
          <p:cNvPr id="24" name="Text Box 11"/>
          <p:cNvSpPr txBox="1">
            <a:spLocks noChangeArrowheads="1"/>
          </p:cNvSpPr>
          <p:nvPr/>
        </p:nvSpPr>
        <p:spPr bwMode="auto">
          <a:xfrm>
            <a:off x="828459" y="6002628"/>
            <a:ext cx="344015" cy="275893"/>
          </a:xfrm>
          <a:prstGeom prst="rect">
            <a:avLst/>
          </a:prstGeom>
          <a:noFill/>
          <a:ln w="19050">
            <a:solidFill>
              <a:schemeClr val="bg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ru-RU" b="1" dirty="0">
                <a:solidFill>
                  <a:srgbClr val="CC0000"/>
                </a:solidFill>
                <a:latin typeface="Calibri" panose="020F0502020204030204" pitchFamily="34" charset="0"/>
              </a:rPr>
              <a:t>FIT</a:t>
            </a:r>
            <a:endParaRPr lang="ru-RU" altLang="ru-RU" b="1" dirty="0">
              <a:solidFill>
                <a:srgbClr val="CC0000"/>
              </a:solidFill>
              <a:latin typeface="Calibri" panose="020F0502020204030204" pitchFamily="34" charset="0"/>
            </a:endParaRPr>
          </a:p>
        </p:txBody>
      </p:sp>
      <p:sp>
        <p:nvSpPr>
          <p:cNvPr id="22" name="Text Box 13"/>
          <p:cNvSpPr txBox="1">
            <a:spLocks noChangeArrowheads="1"/>
          </p:cNvSpPr>
          <p:nvPr/>
        </p:nvSpPr>
        <p:spPr bwMode="auto">
          <a:xfrm>
            <a:off x="395288" y="152544"/>
            <a:ext cx="8353176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altLang="ru-RU" sz="1600" dirty="0">
                <a:solidFill>
                  <a:schemeClr val="bg1"/>
                </a:solidFill>
                <a:latin typeface="Calibri" pitchFamily="34" charset="0"/>
              </a:rPr>
              <a:t>The Trans-Siberian Route: ways to increase competitiveness of railway freight transportation</a:t>
            </a:r>
            <a:endParaRPr lang="en-US" altLang="ru-RU" sz="1600" dirty="0">
              <a:solidFill>
                <a:schemeClr val="bg1"/>
              </a:solidFill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5"/>
          <p:cNvSpPr txBox="1">
            <a:spLocks noChangeArrowheads="1"/>
          </p:cNvSpPr>
          <p:nvPr/>
        </p:nvSpPr>
        <p:spPr bwMode="auto">
          <a:xfrm>
            <a:off x="179512" y="947494"/>
            <a:ext cx="5805488" cy="5905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/>
          <a:p>
            <a:pPr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ru-RU" sz="2000" b="1" dirty="0">
                <a:solidFill>
                  <a:srgbClr val="FF0000"/>
                </a:solidFill>
                <a:latin typeface="Calibri" panose="020F0502020204030204" pitchFamily="34" charset="0"/>
              </a:rPr>
              <a:t>I. </a:t>
            </a:r>
            <a:r>
              <a:rPr lang="en-US" altLang="ru-RU" sz="2000" b="1" dirty="0" smtClean="0">
                <a:solidFill>
                  <a:srgbClr val="FF0000"/>
                </a:solidFill>
                <a:latin typeface="Calibri" panose="020F0502020204030204" pitchFamily="34" charset="0"/>
              </a:rPr>
              <a:t>Broadening </a:t>
            </a:r>
            <a:r>
              <a:rPr lang="en-US" altLang="ru-RU" sz="2000" b="1" dirty="0">
                <a:solidFill>
                  <a:srgbClr val="FF0000"/>
                </a:solidFill>
                <a:latin typeface="Calibri" panose="020F0502020204030204" pitchFamily="34" charset="0"/>
              </a:rPr>
              <a:t>i</a:t>
            </a:r>
            <a:r>
              <a:rPr lang="en-US" altLang="ru-RU" sz="2000" b="1" dirty="0" smtClean="0">
                <a:solidFill>
                  <a:srgbClr val="FF0000"/>
                </a:solidFill>
                <a:latin typeface="Calibri" panose="020F0502020204030204" pitchFamily="34" charset="0"/>
              </a:rPr>
              <a:t>nfrastructure possibilities</a:t>
            </a:r>
            <a:endParaRPr lang="ru-RU" altLang="ru-RU" sz="2000" b="1" dirty="0">
              <a:solidFill>
                <a:srgbClr val="FF0000"/>
              </a:solidFill>
              <a:latin typeface="Calibri" panose="020F0502020204030204" pitchFamily="34" charset="0"/>
            </a:endParaRPr>
          </a:p>
          <a:p>
            <a:pPr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ru-RU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rPr>
              <a:t>I. </a:t>
            </a:r>
            <a:r>
              <a:rPr lang="ru-RU" altLang="ru-RU" sz="2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rPr>
              <a:t>Расширение инфраструктурных возможностей</a:t>
            </a:r>
            <a:endParaRPr lang="ru-RU" altLang="ru-RU" sz="2000" b="1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</a:endParaRPr>
          </a:p>
        </p:txBody>
      </p:sp>
      <p:grpSp>
        <p:nvGrpSpPr>
          <p:cNvPr id="38" name="Группа 37"/>
          <p:cNvGrpSpPr/>
          <p:nvPr/>
        </p:nvGrpSpPr>
        <p:grpSpPr>
          <a:xfrm>
            <a:off x="179512" y="1856139"/>
            <a:ext cx="5531508" cy="3465260"/>
            <a:chOff x="-47625" y="1149350"/>
            <a:chExt cx="9191625" cy="5758170"/>
          </a:xfrm>
        </p:grpSpPr>
        <p:grpSp>
          <p:nvGrpSpPr>
            <p:cNvPr id="39" name="Группа 38"/>
            <p:cNvGrpSpPr/>
            <p:nvPr/>
          </p:nvGrpSpPr>
          <p:grpSpPr>
            <a:xfrm>
              <a:off x="-47625" y="1149350"/>
              <a:ext cx="9191625" cy="5708650"/>
              <a:chOff x="-47625" y="1149350"/>
              <a:chExt cx="9191625" cy="5708650"/>
            </a:xfrm>
          </p:grpSpPr>
          <p:pic>
            <p:nvPicPr>
              <p:cNvPr id="41" name="Picture 5" descr="Страны Зап"/>
              <p:cNvPicPr>
                <a:picLocks noChangeAspect="1" noChangeArrowheads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7758" t="29579"/>
              <a:stretch>
                <a:fillRect/>
              </a:stretch>
            </p:blipFill>
            <p:spPr bwMode="auto">
              <a:xfrm>
                <a:off x="0" y="1196975"/>
                <a:ext cx="9144000" cy="5661025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grpSp>
            <p:nvGrpSpPr>
              <p:cNvPr id="42" name="Группа 41"/>
              <p:cNvGrpSpPr/>
              <p:nvPr/>
            </p:nvGrpSpPr>
            <p:grpSpPr>
              <a:xfrm>
                <a:off x="-47625" y="1149350"/>
                <a:ext cx="8874125" cy="3863975"/>
                <a:chOff x="-47625" y="1149350"/>
                <a:chExt cx="8874125" cy="3863975"/>
              </a:xfrm>
            </p:grpSpPr>
            <p:sp>
              <p:nvSpPr>
                <p:cNvPr id="43" name="Freeform 6"/>
                <p:cNvSpPr>
                  <a:spLocks/>
                </p:cNvSpPr>
                <p:nvPr/>
              </p:nvSpPr>
              <p:spPr bwMode="auto">
                <a:xfrm>
                  <a:off x="3357563" y="1149350"/>
                  <a:ext cx="5468937" cy="2679700"/>
                </a:xfrm>
                <a:custGeom>
                  <a:avLst/>
                  <a:gdLst>
                    <a:gd name="T0" fmla="*/ 0 w 3445"/>
                    <a:gd name="T1" fmla="*/ 1597 h 1688"/>
                    <a:gd name="T2" fmla="*/ 170 w 3445"/>
                    <a:gd name="T3" fmla="*/ 1594 h 1688"/>
                    <a:gd name="T4" fmla="*/ 197 w 3445"/>
                    <a:gd name="T5" fmla="*/ 1597 h 1688"/>
                    <a:gd name="T6" fmla="*/ 269 w 3445"/>
                    <a:gd name="T7" fmla="*/ 1661 h 1688"/>
                    <a:gd name="T8" fmla="*/ 354 w 3445"/>
                    <a:gd name="T9" fmla="*/ 1688 h 1688"/>
                    <a:gd name="T10" fmla="*/ 434 w 3445"/>
                    <a:gd name="T11" fmla="*/ 1610 h 1688"/>
                    <a:gd name="T12" fmla="*/ 442 w 3445"/>
                    <a:gd name="T13" fmla="*/ 1562 h 1688"/>
                    <a:gd name="T14" fmla="*/ 520 w 3445"/>
                    <a:gd name="T15" fmla="*/ 1520 h 1688"/>
                    <a:gd name="T16" fmla="*/ 560 w 3445"/>
                    <a:gd name="T17" fmla="*/ 1530 h 1688"/>
                    <a:gd name="T18" fmla="*/ 648 w 3445"/>
                    <a:gd name="T19" fmla="*/ 1610 h 1688"/>
                    <a:gd name="T20" fmla="*/ 685 w 3445"/>
                    <a:gd name="T21" fmla="*/ 1621 h 1688"/>
                    <a:gd name="T22" fmla="*/ 757 w 3445"/>
                    <a:gd name="T23" fmla="*/ 1597 h 1688"/>
                    <a:gd name="T24" fmla="*/ 786 w 3445"/>
                    <a:gd name="T25" fmla="*/ 1541 h 1688"/>
                    <a:gd name="T26" fmla="*/ 904 w 3445"/>
                    <a:gd name="T27" fmla="*/ 1474 h 1688"/>
                    <a:gd name="T28" fmla="*/ 962 w 3445"/>
                    <a:gd name="T29" fmla="*/ 1504 h 1688"/>
                    <a:gd name="T30" fmla="*/ 1026 w 3445"/>
                    <a:gd name="T31" fmla="*/ 1533 h 1688"/>
                    <a:gd name="T32" fmla="*/ 1133 w 3445"/>
                    <a:gd name="T33" fmla="*/ 1541 h 1688"/>
                    <a:gd name="T34" fmla="*/ 1101 w 3445"/>
                    <a:gd name="T35" fmla="*/ 1578 h 1688"/>
                    <a:gd name="T36" fmla="*/ 1149 w 3445"/>
                    <a:gd name="T37" fmla="*/ 1608 h 1688"/>
                    <a:gd name="T38" fmla="*/ 1322 w 3445"/>
                    <a:gd name="T39" fmla="*/ 1472 h 1688"/>
                    <a:gd name="T40" fmla="*/ 1424 w 3445"/>
                    <a:gd name="T41" fmla="*/ 1341 h 1688"/>
                    <a:gd name="T42" fmla="*/ 1528 w 3445"/>
                    <a:gd name="T43" fmla="*/ 1298 h 1688"/>
                    <a:gd name="T44" fmla="*/ 1773 w 3445"/>
                    <a:gd name="T45" fmla="*/ 1250 h 1688"/>
                    <a:gd name="T46" fmla="*/ 2005 w 3445"/>
                    <a:gd name="T47" fmla="*/ 1253 h 1688"/>
                    <a:gd name="T48" fmla="*/ 2237 w 3445"/>
                    <a:gd name="T49" fmla="*/ 1365 h 1688"/>
                    <a:gd name="T50" fmla="*/ 2298 w 3445"/>
                    <a:gd name="T51" fmla="*/ 1330 h 1688"/>
                    <a:gd name="T52" fmla="*/ 2301 w 3445"/>
                    <a:gd name="T53" fmla="*/ 1266 h 1688"/>
                    <a:gd name="T54" fmla="*/ 2325 w 3445"/>
                    <a:gd name="T55" fmla="*/ 1170 h 1688"/>
                    <a:gd name="T56" fmla="*/ 2512 w 3445"/>
                    <a:gd name="T57" fmla="*/ 1082 h 1688"/>
                    <a:gd name="T58" fmla="*/ 2608 w 3445"/>
                    <a:gd name="T59" fmla="*/ 981 h 1688"/>
                    <a:gd name="T60" fmla="*/ 2872 w 3445"/>
                    <a:gd name="T61" fmla="*/ 792 h 1688"/>
                    <a:gd name="T62" fmla="*/ 3042 w 3445"/>
                    <a:gd name="T63" fmla="*/ 773 h 1688"/>
                    <a:gd name="T64" fmla="*/ 3093 w 3445"/>
                    <a:gd name="T65" fmla="*/ 738 h 1688"/>
                    <a:gd name="T66" fmla="*/ 3200 w 3445"/>
                    <a:gd name="T67" fmla="*/ 496 h 1688"/>
                    <a:gd name="T68" fmla="*/ 3258 w 3445"/>
                    <a:gd name="T69" fmla="*/ 402 h 1688"/>
                    <a:gd name="T70" fmla="*/ 3392 w 3445"/>
                    <a:gd name="T71" fmla="*/ 250 h 1688"/>
                    <a:gd name="T72" fmla="*/ 3362 w 3445"/>
                    <a:gd name="T73" fmla="*/ 101 h 1688"/>
                    <a:gd name="T74" fmla="*/ 3445 w 3445"/>
                    <a:gd name="T75" fmla="*/ 0 h 1688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w 3445"/>
                    <a:gd name="T115" fmla="*/ 0 h 1688"/>
                    <a:gd name="T116" fmla="*/ 3445 w 3445"/>
                    <a:gd name="T117" fmla="*/ 1688 h 1688"/>
                  </a:gdLst>
                  <a:ahLst/>
                  <a:cxnLst>
                    <a:cxn ang="T76">
                      <a:pos x="T0" y="T1"/>
                    </a:cxn>
                    <a:cxn ang="T77">
                      <a:pos x="T2" y="T3"/>
                    </a:cxn>
                    <a:cxn ang="T78">
                      <a:pos x="T4" y="T5"/>
                    </a:cxn>
                    <a:cxn ang="T79">
                      <a:pos x="T6" y="T7"/>
                    </a:cxn>
                    <a:cxn ang="T80">
                      <a:pos x="T8" y="T9"/>
                    </a:cxn>
                    <a:cxn ang="T81">
                      <a:pos x="T10" y="T11"/>
                    </a:cxn>
                    <a:cxn ang="T82">
                      <a:pos x="T12" y="T13"/>
                    </a:cxn>
                    <a:cxn ang="T83">
                      <a:pos x="T14" y="T15"/>
                    </a:cxn>
                    <a:cxn ang="T84">
                      <a:pos x="T16" y="T17"/>
                    </a:cxn>
                    <a:cxn ang="T85">
                      <a:pos x="T18" y="T19"/>
                    </a:cxn>
                    <a:cxn ang="T86">
                      <a:pos x="T20" y="T21"/>
                    </a:cxn>
                    <a:cxn ang="T87">
                      <a:pos x="T22" y="T23"/>
                    </a:cxn>
                    <a:cxn ang="T88">
                      <a:pos x="T24" y="T25"/>
                    </a:cxn>
                    <a:cxn ang="T89">
                      <a:pos x="T26" y="T27"/>
                    </a:cxn>
                    <a:cxn ang="T90">
                      <a:pos x="T28" y="T29"/>
                    </a:cxn>
                    <a:cxn ang="T91">
                      <a:pos x="T30" y="T31"/>
                    </a:cxn>
                    <a:cxn ang="T92">
                      <a:pos x="T32" y="T33"/>
                    </a:cxn>
                    <a:cxn ang="T93">
                      <a:pos x="T34" y="T35"/>
                    </a:cxn>
                    <a:cxn ang="T94">
                      <a:pos x="T36" y="T37"/>
                    </a:cxn>
                    <a:cxn ang="T95">
                      <a:pos x="T38" y="T39"/>
                    </a:cxn>
                    <a:cxn ang="T96">
                      <a:pos x="T40" y="T41"/>
                    </a:cxn>
                    <a:cxn ang="T97">
                      <a:pos x="T42" y="T43"/>
                    </a:cxn>
                    <a:cxn ang="T98">
                      <a:pos x="T44" y="T45"/>
                    </a:cxn>
                    <a:cxn ang="T99">
                      <a:pos x="T46" y="T47"/>
                    </a:cxn>
                    <a:cxn ang="T100">
                      <a:pos x="T48" y="T49"/>
                    </a:cxn>
                    <a:cxn ang="T101">
                      <a:pos x="T50" y="T51"/>
                    </a:cxn>
                    <a:cxn ang="T102">
                      <a:pos x="T52" y="T53"/>
                    </a:cxn>
                    <a:cxn ang="T103">
                      <a:pos x="T54" y="T55"/>
                    </a:cxn>
                    <a:cxn ang="T104">
                      <a:pos x="T56" y="T57"/>
                    </a:cxn>
                    <a:cxn ang="T105">
                      <a:pos x="T58" y="T59"/>
                    </a:cxn>
                    <a:cxn ang="T106">
                      <a:pos x="T60" y="T61"/>
                    </a:cxn>
                    <a:cxn ang="T107">
                      <a:pos x="T62" y="T63"/>
                    </a:cxn>
                    <a:cxn ang="T108">
                      <a:pos x="T64" y="T65"/>
                    </a:cxn>
                    <a:cxn ang="T109">
                      <a:pos x="T66" y="T67"/>
                    </a:cxn>
                    <a:cxn ang="T110">
                      <a:pos x="T68" y="T69"/>
                    </a:cxn>
                    <a:cxn ang="T111">
                      <a:pos x="T70" y="T71"/>
                    </a:cxn>
                    <a:cxn ang="T112">
                      <a:pos x="T72" y="T73"/>
                    </a:cxn>
                    <a:cxn ang="T113">
                      <a:pos x="T74" y="T75"/>
                    </a:cxn>
                  </a:cxnLst>
                  <a:rect l="T114" t="T115" r="T116" b="T117"/>
                  <a:pathLst>
                    <a:path w="3445" h="1688">
                      <a:moveTo>
                        <a:pt x="0" y="1597"/>
                      </a:moveTo>
                      <a:lnTo>
                        <a:pt x="170" y="1594"/>
                      </a:lnTo>
                      <a:lnTo>
                        <a:pt x="197" y="1597"/>
                      </a:lnTo>
                      <a:lnTo>
                        <a:pt x="269" y="1661"/>
                      </a:lnTo>
                      <a:lnTo>
                        <a:pt x="354" y="1688"/>
                      </a:lnTo>
                      <a:lnTo>
                        <a:pt x="434" y="1610"/>
                      </a:lnTo>
                      <a:lnTo>
                        <a:pt x="442" y="1562"/>
                      </a:lnTo>
                      <a:lnTo>
                        <a:pt x="520" y="1520"/>
                      </a:lnTo>
                      <a:lnTo>
                        <a:pt x="560" y="1530"/>
                      </a:lnTo>
                      <a:lnTo>
                        <a:pt x="648" y="1610"/>
                      </a:lnTo>
                      <a:lnTo>
                        <a:pt x="685" y="1621"/>
                      </a:lnTo>
                      <a:lnTo>
                        <a:pt x="757" y="1597"/>
                      </a:lnTo>
                      <a:lnTo>
                        <a:pt x="786" y="1541"/>
                      </a:lnTo>
                      <a:lnTo>
                        <a:pt x="904" y="1474"/>
                      </a:lnTo>
                      <a:lnTo>
                        <a:pt x="962" y="1504"/>
                      </a:lnTo>
                      <a:lnTo>
                        <a:pt x="1026" y="1533"/>
                      </a:lnTo>
                      <a:lnTo>
                        <a:pt x="1133" y="1541"/>
                      </a:lnTo>
                      <a:lnTo>
                        <a:pt x="1101" y="1578"/>
                      </a:lnTo>
                      <a:lnTo>
                        <a:pt x="1149" y="1608"/>
                      </a:lnTo>
                      <a:lnTo>
                        <a:pt x="1322" y="1472"/>
                      </a:lnTo>
                      <a:lnTo>
                        <a:pt x="1424" y="1341"/>
                      </a:lnTo>
                      <a:lnTo>
                        <a:pt x="1528" y="1298"/>
                      </a:lnTo>
                      <a:lnTo>
                        <a:pt x="1773" y="1250"/>
                      </a:lnTo>
                      <a:lnTo>
                        <a:pt x="2005" y="1253"/>
                      </a:lnTo>
                      <a:lnTo>
                        <a:pt x="2237" y="1365"/>
                      </a:lnTo>
                      <a:lnTo>
                        <a:pt x="2298" y="1330"/>
                      </a:lnTo>
                      <a:lnTo>
                        <a:pt x="2301" y="1266"/>
                      </a:lnTo>
                      <a:lnTo>
                        <a:pt x="2325" y="1170"/>
                      </a:lnTo>
                      <a:lnTo>
                        <a:pt x="2512" y="1082"/>
                      </a:lnTo>
                      <a:lnTo>
                        <a:pt x="2608" y="981"/>
                      </a:lnTo>
                      <a:lnTo>
                        <a:pt x="2872" y="792"/>
                      </a:lnTo>
                      <a:lnTo>
                        <a:pt x="3042" y="773"/>
                      </a:lnTo>
                      <a:lnTo>
                        <a:pt x="3093" y="738"/>
                      </a:lnTo>
                      <a:lnTo>
                        <a:pt x="3200" y="496"/>
                      </a:lnTo>
                      <a:lnTo>
                        <a:pt x="3258" y="402"/>
                      </a:lnTo>
                      <a:lnTo>
                        <a:pt x="3392" y="250"/>
                      </a:lnTo>
                      <a:lnTo>
                        <a:pt x="3362" y="101"/>
                      </a:lnTo>
                      <a:lnTo>
                        <a:pt x="3445" y="0"/>
                      </a:lnTo>
                    </a:path>
                  </a:pathLst>
                </a:custGeom>
                <a:noFill/>
                <a:ln w="63500">
                  <a:solidFill>
                    <a:srgbClr val="00CCFF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4" name="Text Box 7"/>
                <p:cNvSpPr txBox="1">
                  <a:spLocks noChangeArrowheads="1"/>
                </p:cNvSpPr>
                <p:nvPr/>
              </p:nvSpPr>
              <p:spPr bwMode="auto">
                <a:xfrm>
                  <a:off x="2409825" y="2555875"/>
                  <a:ext cx="488950" cy="21272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0" tIns="0" rIns="0" bIns="0">
                  <a:spAutoFit/>
                </a:bodyPr>
                <a:lstStyle>
                  <a:lvl1pPr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5146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9718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4290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8862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r>
                    <a:rPr lang="ru-RU" altLang="ru-RU" sz="1400">
                      <a:latin typeface="Calibri" panose="020F0502020204030204" pitchFamily="34" charset="0"/>
                    </a:rPr>
                    <a:t>Прага</a:t>
                  </a:r>
                </a:p>
              </p:txBody>
            </p:sp>
            <p:sp>
              <p:nvSpPr>
                <p:cNvPr id="45" name="Oval 8"/>
                <p:cNvSpPr>
                  <a:spLocks noChangeArrowheads="1"/>
                </p:cNvSpPr>
                <p:nvPr/>
              </p:nvSpPr>
              <p:spPr bwMode="auto">
                <a:xfrm>
                  <a:off x="7451725" y="2676525"/>
                  <a:ext cx="71438" cy="71438"/>
                </a:xfrm>
                <a:prstGeom prst="ellipse">
                  <a:avLst/>
                </a:prstGeom>
                <a:solidFill>
                  <a:schemeClr val="tx2"/>
                </a:solidFill>
                <a:ln w="25400">
                  <a:solidFill>
                    <a:srgbClr val="FF0000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>
                  <a:lvl1pPr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5146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9718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4290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8862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endParaRPr lang="ru-RU" altLang="ru-RU"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46" name="Oval 11"/>
                <p:cNvSpPr>
                  <a:spLocks noChangeArrowheads="1"/>
                </p:cNvSpPr>
                <p:nvPr/>
              </p:nvSpPr>
              <p:spPr bwMode="auto">
                <a:xfrm>
                  <a:off x="4102100" y="4046538"/>
                  <a:ext cx="71438" cy="71437"/>
                </a:xfrm>
                <a:prstGeom prst="ellipse">
                  <a:avLst/>
                </a:prstGeom>
                <a:solidFill>
                  <a:schemeClr val="tx2"/>
                </a:solidFill>
                <a:ln w="25400">
                  <a:solidFill>
                    <a:srgbClr val="FF0000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>
                  <a:lvl1pPr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5146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9718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4290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8862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endParaRPr lang="ru-RU" altLang="ru-RU"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47" name="Oval 12"/>
                <p:cNvSpPr>
                  <a:spLocks noChangeArrowheads="1"/>
                </p:cNvSpPr>
                <p:nvPr/>
              </p:nvSpPr>
              <p:spPr bwMode="auto">
                <a:xfrm>
                  <a:off x="2887663" y="2705100"/>
                  <a:ext cx="71437" cy="71438"/>
                </a:xfrm>
                <a:prstGeom prst="ellipse">
                  <a:avLst/>
                </a:prstGeom>
                <a:solidFill>
                  <a:schemeClr val="tx2"/>
                </a:solidFill>
                <a:ln w="25400">
                  <a:solidFill>
                    <a:srgbClr val="FF0000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>
                  <a:lvl1pPr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5146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9718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4290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8862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endParaRPr lang="ru-RU" altLang="ru-RU"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48" name="Oval 13"/>
                <p:cNvSpPr>
                  <a:spLocks noChangeArrowheads="1"/>
                </p:cNvSpPr>
                <p:nvPr/>
              </p:nvSpPr>
              <p:spPr bwMode="auto">
                <a:xfrm>
                  <a:off x="2667000" y="4591050"/>
                  <a:ext cx="71438" cy="71438"/>
                </a:xfrm>
                <a:prstGeom prst="ellipse">
                  <a:avLst/>
                </a:prstGeom>
                <a:solidFill>
                  <a:schemeClr val="tx2"/>
                </a:solidFill>
                <a:ln w="25400">
                  <a:solidFill>
                    <a:srgbClr val="FF0000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>
                  <a:lvl1pPr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5146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9718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4290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8862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endParaRPr lang="ru-RU" altLang="ru-RU"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49" name="Oval 14"/>
                <p:cNvSpPr>
                  <a:spLocks noChangeArrowheads="1"/>
                </p:cNvSpPr>
                <p:nvPr/>
              </p:nvSpPr>
              <p:spPr bwMode="auto">
                <a:xfrm>
                  <a:off x="3101975" y="4773613"/>
                  <a:ext cx="71438" cy="71437"/>
                </a:xfrm>
                <a:prstGeom prst="ellipse">
                  <a:avLst/>
                </a:prstGeom>
                <a:solidFill>
                  <a:schemeClr val="tx2"/>
                </a:solidFill>
                <a:ln w="25400">
                  <a:solidFill>
                    <a:srgbClr val="FF0000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>
                  <a:lvl1pPr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5146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9718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4290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8862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endParaRPr lang="ru-RU" altLang="ru-RU"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50" name="Oval 15"/>
                <p:cNvSpPr>
                  <a:spLocks noChangeArrowheads="1"/>
                </p:cNvSpPr>
                <p:nvPr/>
              </p:nvSpPr>
              <p:spPr bwMode="auto">
                <a:xfrm>
                  <a:off x="633413" y="3806825"/>
                  <a:ext cx="71437" cy="71438"/>
                </a:xfrm>
                <a:prstGeom prst="ellipse">
                  <a:avLst/>
                </a:prstGeom>
                <a:solidFill>
                  <a:schemeClr val="tx2"/>
                </a:solidFill>
                <a:ln w="25400">
                  <a:solidFill>
                    <a:srgbClr val="FF0000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>
                  <a:lvl1pPr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5146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9718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4290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8862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endParaRPr lang="ru-RU" altLang="ru-RU"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51" name="Text Box 16"/>
                <p:cNvSpPr txBox="1">
                  <a:spLocks noChangeArrowheads="1"/>
                </p:cNvSpPr>
                <p:nvPr/>
              </p:nvSpPr>
              <p:spPr bwMode="auto">
                <a:xfrm>
                  <a:off x="2043113" y="1416050"/>
                  <a:ext cx="615950" cy="21272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0" tIns="0" rIns="0" bIns="0">
                  <a:spAutoFit/>
                </a:bodyPr>
                <a:lstStyle>
                  <a:lvl1pPr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5146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9718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4290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8862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r>
                    <a:rPr lang="ru-RU" altLang="ru-RU" sz="1400">
                      <a:latin typeface="Calibri" panose="020F0502020204030204" pitchFamily="34" charset="0"/>
                    </a:rPr>
                    <a:t>Берлин</a:t>
                  </a:r>
                </a:p>
              </p:txBody>
            </p:sp>
            <p:sp>
              <p:nvSpPr>
                <p:cNvPr id="52" name="Text Box 17"/>
                <p:cNvSpPr txBox="1">
                  <a:spLocks noChangeArrowheads="1"/>
                </p:cNvSpPr>
                <p:nvPr/>
              </p:nvSpPr>
              <p:spPr bwMode="auto">
                <a:xfrm>
                  <a:off x="4259263" y="3927475"/>
                  <a:ext cx="827087" cy="21272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0" tIns="0" rIns="0" bIns="0">
                  <a:spAutoFit/>
                </a:bodyPr>
                <a:lstStyle>
                  <a:lvl1pPr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5146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9718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4290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8862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r>
                    <a:rPr lang="ru-RU" altLang="ru-RU" sz="1400">
                      <a:latin typeface="Calibri" panose="020F0502020204030204" pitchFamily="34" charset="0"/>
                    </a:rPr>
                    <a:t>Будапешт</a:t>
                  </a:r>
                </a:p>
              </p:txBody>
            </p:sp>
            <p:sp>
              <p:nvSpPr>
                <p:cNvPr id="53" name="Text Box 18"/>
                <p:cNvSpPr txBox="1">
                  <a:spLocks noChangeArrowheads="1"/>
                </p:cNvSpPr>
                <p:nvPr/>
              </p:nvSpPr>
              <p:spPr bwMode="auto">
                <a:xfrm>
                  <a:off x="3268663" y="4800600"/>
                  <a:ext cx="569912" cy="21272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0" tIns="0" rIns="0" bIns="0">
                  <a:spAutoFit/>
                </a:bodyPr>
                <a:lstStyle>
                  <a:lvl1pPr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5146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9718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4290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8862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r>
                    <a:rPr lang="ru-RU" altLang="ru-RU" sz="1400">
                      <a:latin typeface="Calibri" panose="020F0502020204030204" pitchFamily="34" charset="0"/>
                    </a:rPr>
                    <a:t>Загреб</a:t>
                  </a:r>
                </a:p>
              </p:txBody>
            </p:sp>
            <p:sp>
              <p:nvSpPr>
                <p:cNvPr id="54" name="Text Box 19"/>
                <p:cNvSpPr txBox="1">
                  <a:spLocks noChangeArrowheads="1"/>
                </p:cNvSpPr>
                <p:nvPr/>
              </p:nvSpPr>
              <p:spPr bwMode="auto">
                <a:xfrm>
                  <a:off x="1868488" y="4476750"/>
                  <a:ext cx="749300" cy="21272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0" tIns="0" rIns="0" bIns="0">
                  <a:spAutoFit/>
                </a:bodyPr>
                <a:lstStyle>
                  <a:lvl1pPr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5146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9718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4290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8862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r>
                    <a:rPr lang="ru-RU" altLang="ru-RU" sz="1400">
                      <a:latin typeface="Calibri" panose="020F0502020204030204" pitchFamily="34" charset="0"/>
                    </a:rPr>
                    <a:t>Любляна</a:t>
                  </a:r>
                </a:p>
              </p:txBody>
            </p:sp>
            <p:sp>
              <p:nvSpPr>
                <p:cNvPr id="55" name="Text Box 20"/>
                <p:cNvSpPr txBox="1">
                  <a:spLocks noChangeArrowheads="1"/>
                </p:cNvSpPr>
                <p:nvPr/>
              </p:nvSpPr>
              <p:spPr bwMode="auto">
                <a:xfrm>
                  <a:off x="595313" y="3587750"/>
                  <a:ext cx="412750" cy="21272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0" tIns="0" rIns="0" bIns="0">
                  <a:spAutoFit/>
                </a:bodyPr>
                <a:lstStyle>
                  <a:lvl1pPr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5146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9718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4290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8862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r>
                    <a:rPr lang="ru-RU" altLang="ru-RU" sz="1400">
                      <a:latin typeface="Calibri" panose="020F0502020204030204" pitchFamily="34" charset="0"/>
                    </a:rPr>
                    <a:t>Берн</a:t>
                  </a:r>
                </a:p>
              </p:txBody>
            </p:sp>
            <p:sp>
              <p:nvSpPr>
                <p:cNvPr id="56" name="Oval 21"/>
                <p:cNvSpPr>
                  <a:spLocks noChangeArrowheads="1"/>
                </p:cNvSpPr>
                <p:nvPr/>
              </p:nvSpPr>
              <p:spPr bwMode="auto">
                <a:xfrm>
                  <a:off x="2725738" y="1500188"/>
                  <a:ext cx="71437" cy="71437"/>
                </a:xfrm>
                <a:prstGeom prst="ellipse">
                  <a:avLst/>
                </a:prstGeom>
                <a:solidFill>
                  <a:schemeClr val="tx2"/>
                </a:solidFill>
                <a:ln w="25400">
                  <a:solidFill>
                    <a:srgbClr val="FF0000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>
                  <a:lvl1pPr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5146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9718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4290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8862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endParaRPr lang="ru-RU" altLang="ru-RU"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57" name="Line 22"/>
                <p:cNvSpPr>
                  <a:spLocks noChangeShapeType="1"/>
                </p:cNvSpPr>
                <p:nvPr/>
              </p:nvSpPr>
              <p:spPr bwMode="auto">
                <a:xfrm flipH="1" flipV="1">
                  <a:off x="1658938" y="3057525"/>
                  <a:ext cx="1663700" cy="647700"/>
                </a:xfrm>
                <a:prstGeom prst="line">
                  <a:avLst/>
                </a:prstGeom>
                <a:noFill/>
                <a:ln w="76200" cmpd="tri">
                  <a:solidFill>
                    <a:srgbClr val="FF0000"/>
                  </a:solidFill>
                  <a:round/>
                  <a:headEnd/>
                  <a:tailEnd type="triangle" w="sm" len="med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58" name="Line 24"/>
                <p:cNvSpPr>
                  <a:spLocks noChangeShapeType="1"/>
                </p:cNvSpPr>
                <p:nvPr/>
              </p:nvSpPr>
              <p:spPr bwMode="auto">
                <a:xfrm flipH="1">
                  <a:off x="958850" y="3786188"/>
                  <a:ext cx="2362200" cy="77787"/>
                </a:xfrm>
                <a:prstGeom prst="line">
                  <a:avLst/>
                </a:prstGeom>
                <a:noFill/>
                <a:ln w="76200" cmpd="tri">
                  <a:solidFill>
                    <a:srgbClr val="FF0000"/>
                  </a:solidFill>
                  <a:round/>
                  <a:headEnd/>
                  <a:tailEnd type="triangle" w="sm" len="med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59" name="Line 26"/>
                <p:cNvSpPr>
                  <a:spLocks noChangeShapeType="1"/>
                </p:cNvSpPr>
                <p:nvPr/>
              </p:nvSpPr>
              <p:spPr bwMode="auto">
                <a:xfrm flipH="1">
                  <a:off x="1304925" y="3752850"/>
                  <a:ext cx="2019300" cy="969963"/>
                </a:xfrm>
                <a:prstGeom prst="line">
                  <a:avLst/>
                </a:prstGeom>
                <a:noFill/>
                <a:ln w="76200" cmpd="tri">
                  <a:solidFill>
                    <a:srgbClr val="FF0000"/>
                  </a:solidFill>
                  <a:round/>
                  <a:headEnd/>
                  <a:tailEnd type="triangle" w="sm" len="med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60" name="Line 28"/>
                <p:cNvSpPr>
                  <a:spLocks noChangeShapeType="1"/>
                </p:cNvSpPr>
                <p:nvPr/>
              </p:nvSpPr>
              <p:spPr bwMode="auto">
                <a:xfrm flipH="1">
                  <a:off x="2713038" y="3743325"/>
                  <a:ext cx="633412" cy="928688"/>
                </a:xfrm>
                <a:prstGeom prst="line">
                  <a:avLst/>
                </a:prstGeom>
                <a:noFill/>
                <a:ln w="76200" cmpd="tri">
                  <a:solidFill>
                    <a:srgbClr val="FF0000"/>
                  </a:solidFill>
                  <a:round/>
                  <a:headEnd/>
                  <a:tailEnd type="triangle" w="sm" len="med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61" name="Line 30"/>
                <p:cNvSpPr>
                  <a:spLocks noChangeShapeType="1"/>
                </p:cNvSpPr>
                <p:nvPr/>
              </p:nvSpPr>
              <p:spPr bwMode="auto">
                <a:xfrm flipH="1">
                  <a:off x="3171825" y="3727450"/>
                  <a:ext cx="207963" cy="1103313"/>
                </a:xfrm>
                <a:prstGeom prst="line">
                  <a:avLst/>
                </a:prstGeom>
                <a:noFill/>
                <a:ln w="76200" cmpd="tri">
                  <a:solidFill>
                    <a:srgbClr val="FF0000"/>
                  </a:solidFill>
                  <a:round/>
                  <a:headEnd/>
                  <a:tailEnd type="triangle" w="sm" len="med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62" name="Line 32"/>
                <p:cNvSpPr>
                  <a:spLocks noChangeShapeType="1"/>
                </p:cNvSpPr>
                <p:nvPr/>
              </p:nvSpPr>
              <p:spPr bwMode="auto">
                <a:xfrm rot="8010953" flipH="1">
                  <a:off x="3020218" y="2917032"/>
                  <a:ext cx="176213" cy="819150"/>
                </a:xfrm>
                <a:prstGeom prst="line">
                  <a:avLst/>
                </a:prstGeom>
                <a:noFill/>
                <a:ln w="76200" cmpd="tri">
                  <a:solidFill>
                    <a:srgbClr val="FF0000"/>
                  </a:solidFill>
                  <a:round/>
                  <a:headEnd/>
                  <a:tailEnd type="triangle" w="sm" len="med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63" name="Line 36"/>
                <p:cNvSpPr>
                  <a:spLocks noChangeShapeType="1"/>
                </p:cNvSpPr>
                <p:nvPr/>
              </p:nvSpPr>
              <p:spPr bwMode="auto">
                <a:xfrm>
                  <a:off x="3387725" y="3733800"/>
                  <a:ext cx="541338" cy="465138"/>
                </a:xfrm>
                <a:prstGeom prst="line">
                  <a:avLst/>
                </a:prstGeom>
                <a:noFill/>
                <a:ln w="76200" cmpd="tri">
                  <a:solidFill>
                    <a:srgbClr val="FF0000"/>
                  </a:solidFill>
                  <a:round/>
                  <a:headEnd/>
                  <a:tailEnd type="triangle" w="sm" len="med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64" name="Text Box 38"/>
                <p:cNvSpPr txBox="1">
                  <a:spLocks noChangeArrowheads="1"/>
                </p:cNvSpPr>
                <p:nvPr/>
              </p:nvSpPr>
              <p:spPr bwMode="auto">
                <a:xfrm>
                  <a:off x="-47625" y="2981325"/>
                  <a:ext cx="911225" cy="30480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/>
              </p:spPr>
              <p:txBody>
                <a:bodyPr wrap="none">
                  <a:spAutoFit/>
                </a:bodyPr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ru-RU" sz="1400">
                      <a:effectLst>
                        <a:outerShdw blurRad="38100" dist="38100" dir="2700000" algn="tl">
                          <a:srgbClr val="C0C0C0"/>
                        </a:outerShdw>
                      </a:effectLst>
                      <a:latin typeface="Arial Narrow" pitchFamily="34" charset="0"/>
                    </a:rPr>
                    <a:t>ФРАНЦИЯ</a:t>
                  </a:r>
                </a:p>
              </p:txBody>
            </p:sp>
            <p:sp>
              <p:nvSpPr>
                <p:cNvPr id="65" name="Line 39"/>
                <p:cNvSpPr>
                  <a:spLocks noChangeShapeType="1"/>
                </p:cNvSpPr>
                <p:nvPr/>
              </p:nvSpPr>
              <p:spPr bwMode="auto">
                <a:xfrm flipH="1" flipV="1">
                  <a:off x="349250" y="3305175"/>
                  <a:ext cx="2933700" cy="385763"/>
                </a:xfrm>
                <a:prstGeom prst="line">
                  <a:avLst/>
                </a:prstGeom>
                <a:noFill/>
                <a:ln w="76200" cmpd="tri">
                  <a:solidFill>
                    <a:srgbClr val="FF0000"/>
                  </a:solidFill>
                  <a:round/>
                  <a:headEnd/>
                  <a:tailEnd type="triangle" w="sm" len="med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66" name="Text Box 41"/>
                <p:cNvSpPr txBox="1">
                  <a:spLocks noChangeArrowheads="1"/>
                </p:cNvSpPr>
                <p:nvPr/>
              </p:nvSpPr>
              <p:spPr bwMode="auto">
                <a:xfrm>
                  <a:off x="3086100" y="3441700"/>
                  <a:ext cx="433388" cy="21272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0" tIns="0" rIns="0" bIns="0">
                  <a:spAutoFit/>
                </a:bodyPr>
                <a:lstStyle>
                  <a:lvl1pPr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5146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9718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4290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8862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r>
                    <a:rPr lang="ru-RU" altLang="ru-RU" sz="1400" b="1">
                      <a:latin typeface="Calibri" panose="020F0502020204030204" pitchFamily="34" charset="0"/>
                    </a:rPr>
                    <a:t>Вена</a:t>
                  </a:r>
                </a:p>
              </p:txBody>
            </p:sp>
            <p:sp>
              <p:nvSpPr>
                <p:cNvPr id="67" name="Oval 42"/>
                <p:cNvSpPr>
                  <a:spLocks noChangeArrowheads="1"/>
                </p:cNvSpPr>
                <p:nvPr/>
              </p:nvSpPr>
              <p:spPr bwMode="auto">
                <a:xfrm>
                  <a:off x="3622675" y="3636963"/>
                  <a:ext cx="71438" cy="71437"/>
                </a:xfrm>
                <a:prstGeom prst="ellipse">
                  <a:avLst/>
                </a:prstGeom>
                <a:solidFill>
                  <a:schemeClr val="tx2"/>
                </a:solidFill>
                <a:ln w="25400">
                  <a:solidFill>
                    <a:srgbClr val="FF0000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>
                  <a:lvl1pPr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5146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9718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4290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8862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endParaRPr lang="ru-RU" altLang="ru-RU"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68" name="Text Box 43"/>
                <p:cNvSpPr txBox="1">
                  <a:spLocks noChangeArrowheads="1"/>
                </p:cNvSpPr>
                <p:nvPr/>
              </p:nvSpPr>
              <p:spPr bwMode="auto">
                <a:xfrm>
                  <a:off x="6994525" y="2543175"/>
                  <a:ext cx="396875" cy="21272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0" tIns="0" rIns="0" bIns="0">
                  <a:spAutoFit/>
                </a:bodyPr>
                <a:lstStyle>
                  <a:lvl1pPr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5146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9718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4290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8862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r>
                    <a:rPr lang="ru-RU" altLang="ru-RU" sz="1400">
                      <a:latin typeface="Calibri" panose="020F0502020204030204" pitchFamily="34" charset="0"/>
                    </a:rPr>
                    <a:t>Киев</a:t>
                  </a:r>
                </a:p>
              </p:txBody>
            </p:sp>
            <p:sp>
              <p:nvSpPr>
                <p:cNvPr id="69" name="Oval 44"/>
                <p:cNvSpPr>
                  <a:spLocks noChangeArrowheads="1"/>
                </p:cNvSpPr>
                <p:nvPr/>
              </p:nvSpPr>
              <p:spPr bwMode="auto">
                <a:xfrm>
                  <a:off x="3316288" y="3670300"/>
                  <a:ext cx="71437" cy="71438"/>
                </a:xfrm>
                <a:prstGeom prst="ellipse">
                  <a:avLst/>
                </a:prstGeom>
                <a:solidFill>
                  <a:schemeClr val="tx2"/>
                </a:solidFill>
                <a:ln w="25400">
                  <a:solidFill>
                    <a:srgbClr val="FF0000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>
                  <a:lvl1pPr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5146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9718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4290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8862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endParaRPr lang="ru-RU" altLang="ru-RU"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70" name="Text Box 45"/>
                <p:cNvSpPr txBox="1">
                  <a:spLocks noChangeArrowheads="1"/>
                </p:cNvSpPr>
                <p:nvPr/>
              </p:nvSpPr>
              <p:spPr bwMode="auto">
                <a:xfrm>
                  <a:off x="3781425" y="3568700"/>
                  <a:ext cx="981075" cy="21272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0" tIns="0" rIns="0" bIns="0">
                  <a:spAutoFit/>
                </a:bodyPr>
                <a:lstStyle>
                  <a:lvl1pPr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5146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9718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4290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8862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r>
                    <a:rPr lang="ru-RU" altLang="ru-RU" sz="1400">
                      <a:latin typeface="Calibri" panose="020F0502020204030204" pitchFamily="34" charset="0"/>
                    </a:rPr>
                    <a:t>Братислава</a:t>
                  </a:r>
                </a:p>
              </p:txBody>
            </p:sp>
            <p:cxnSp>
              <p:nvCxnSpPr>
                <p:cNvPr id="71" name="Прямая соединительная линия 13"/>
                <p:cNvCxnSpPr>
                  <a:cxnSpLocks noChangeShapeType="1"/>
                </p:cNvCxnSpPr>
                <p:nvPr/>
              </p:nvCxnSpPr>
              <p:spPr bwMode="auto">
                <a:xfrm>
                  <a:off x="3698875" y="3852863"/>
                  <a:ext cx="42863" cy="0"/>
                </a:xfrm>
                <a:prstGeom prst="line">
                  <a:avLst/>
                </a:prstGeom>
                <a:noFill/>
                <a:ln w="44450">
                  <a:solidFill>
                    <a:srgbClr val="FF0000"/>
                  </a:solidFill>
                  <a:prstDash val="sysDash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</p:grpSp>
        </p:grpSp>
        <p:sp>
          <p:nvSpPr>
            <p:cNvPr id="40" name="Стрелка вниз 12"/>
            <p:cNvSpPr>
              <a:spLocks noChangeArrowheads="1"/>
            </p:cNvSpPr>
            <p:nvPr/>
          </p:nvSpPr>
          <p:spPr bwMode="auto">
            <a:xfrm>
              <a:off x="633415" y="6136965"/>
              <a:ext cx="8475661" cy="770555"/>
            </a:xfrm>
            <a:custGeom>
              <a:avLst/>
              <a:gdLst>
                <a:gd name="T0" fmla="*/ 7924800 w 7924800"/>
                <a:gd name="T1" fmla="*/ 850151 h 1700302"/>
                <a:gd name="T2" fmla="*/ 3962400 w 7924800"/>
                <a:gd name="T3" fmla="*/ 1700302 h 1700302"/>
                <a:gd name="T4" fmla="*/ 0 w 7924800"/>
                <a:gd name="T5" fmla="*/ 850151 h 1700302"/>
                <a:gd name="T6" fmla="*/ 3962400 w 7924800"/>
                <a:gd name="T7" fmla="*/ 0 h 1700302"/>
                <a:gd name="T8" fmla="*/ 0 60000 65536"/>
                <a:gd name="T9" fmla="*/ 5898240 60000 65536"/>
                <a:gd name="T10" fmla="*/ 11796480 60000 65536"/>
                <a:gd name="T11" fmla="*/ 17694720 60000 65536"/>
                <a:gd name="T12" fmla="*/ 93495 w 7924800"/>
                <a:gd name="T13" fmla="*/ 93495 h 1700302"/>
                <a:gd name="T14" fmla="*/ 7831305 w 7924800"/>
                <a:gd name="T15" fmla="*/ 1606807 h 170030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7924800" h="1700302">
                  <a:moveTo>
                    <a:pt x="319215" y="0"/>
                  </a:moveTo>
                  <a:lnTo>
                    <a:pt x="7924800" y="0"/>
                  </a:lnTo>
                  <a:lnTo>
                    <a:pt x="7924800" y="1381087"/>
                  </a:lnTo>
                  <a:cubicBezTo>
                    <a:pt x="7924800" y="1557384"/>
                    <a:pt x="7781882" y="1700302"/>
                    <a:pt x="7605585" y="1700302"/>
                  </a:cubicBezTo>
                  <a:lnTo>
                    <a:pt x="0" y="1700302"/>
                  </a:lnTo>
                  <a:lnTo>
                    <a:pt x="0" y="319215"/>
                  </a:lnTo>
                  <a:cubicBezTo>
                    <a:pt x="0" y="142917"/>
                    <a:pt x="142917" y="0"/>
                    <a:pt x="319215" y="0"/>
                  </a:cubicBezTo>
                  <a:cubicBezTo>
                    <a:pt x="319215" y="0"/>
                    <a:pt x="319215" y="0"/>
                    <a:pt x="319215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rgbClr val="7F7F7F"/>
              </a:solidFill>
              <a:miter lim="800000"/>
              <a:headEnd/>
              <a:tailEnd/>
            </a:ln>
            <a:effectLst>
              <a:outerShdw dist="38100" dir="2700000" algn="tl" rotWithShape="0">
                <a:srgbClr val="000000">
                  <a:alpha val="39999"/>
                </a:srgbClr>
              </a:outerShdw>
            </a:effectLst>
          </p:spPr>
          <p:txBody>
            <a:bodyPr wrap="square" tIns="0"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ru-RU" altLang="ru-RU" sz="12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</a:rPr>
                <a:t>Протяженность линии</a:t>
              </a:r>
              <a:r>
                <a:rPr lang="en-US" altLang="ru-RU" sz="12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</a:rPr>
                <a:t> (route length)</a:t>
              </a:r>
              <a:r>
                <a:rPr lang="ru-RU" altLang="ru-RU" sz="12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</a:rPr>
                <a:t>   ≈ 390-430 км</a:t>
              </a:r>
              <a:r>
                <a:rPr lang="en-US" altLang="ru-RU" sz="12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</a:rPr>
                <a:t> (km)</a:t>
              </a:r>
              <a:endParaRPr lang="ru-RU" altLang="ru-RU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endParaRPr>
            </a:p>
            <a:p>
              <a:r>
                <a:rPr lang="ru-RU" altLang="ru-RU" sz="12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</a:rPr>
                <a:t>Перспективный объем </a:t>
              </a:r>
              <a:r>
                <a:rPr lang="en-US" altLang="ru-RU" sz="12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</a:rPr>
                <a:t>(potential volume)</a:t>
              </a:r>
              <a:r>
                <a:rPr lang="ru-RU" altLang="ru-RU" sz="12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</a:rPr>
                <a:t> 16÷24 млн. тонн</a:t>
              </a:r>
              <a:r>
                <a:rPr lang="en-US" altLang="ru-RU" sz="12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</a:rPr>
                <a:t> (</a:t>
              </a:r>
              <a:r>
                <a:rPr lang="en-US" altLang="ru-RU" sz="1200" b="1" dirty="0" err="1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</a:rPr>
                <a:t>mln.tons</a:t>
              </a:r>
              <a:r>
                <a:rPr lang="en-US" altLang="ru-RU" sz="1200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</a:rPr>
                <a:t>)</a:t>
              </a:r>
              <a:endParaRPr lang="ru-RU" alt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endParaRPr>
            </a:p>
          </p:txBody>
        </p:sp>
      </p:grpSp>
      <p:sp>
        <p:nvSpPr>
          <p:cNvPr id="72" name="Rectangle 9"/>
          <p:cNvSpPr>
            <a:spLocks noChangeArrowheads="1"/>
          </p:cNvSpPr>
          <p:nvPr/>
        </p:nvSpPr>
        <p:spPr bwMode="auto">
          <a:xfrm>
            <a:off x="128728" y="5753235"/>
            <a:ext cx="4093044" cy="6316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17961" dir="2700000" algn="ctr" rotWithShape="0">
              <a:schemeClr val="bg1"/>
            </a:outerShdw>
          </a:effec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just"/>
            <a:r>
              <a:rPr lang="en-US" altLang="ru-RU" sz="1400" b="1" dirty="0" smtClean="0">
                <a:solidFill>
                  <a:srgbClr val="FF0000"/>
                </a:solidFill>
                <a:latin typeface="Calibri" panose="020F0502020204030204" pitchFamily="34" charset="0"/>
                <a:sym typeface="GillSans-Normal"/>
              </a:rPr>
              <a:t>Railway</a:t>
            </a:r>
            <a:r>
              <a:rPr lang="en-US" altLang="ru-RU" sz="1400" dirty="0" smtClean="0">
                <a:solidFill>
                  <a:srgbClr val="FF0000"/>
                </a:solidFill>
                <a:latin typeface="Calibri" panose="020F0502020204030204" pitchFamily="34" charset="0"/>
                <a:sym typeface="GillSans-Normal"/>
              </a:rPr>
              <a:t> </a:t>
            </a:r>
            <a:r>
              <a:rPr lang="en-US" altLang="ru-RU" sz="1400" b="1" dirty="0">
                <a:solidFill>
                  <a:srgbClr val="FF0000"/>
                </a:solidFill>
                <a:latin typeface="Calibri" panose="020F0502020204030204" pitchFamily="34" charset="0"/>
                <a:sym typeface="GillSans-Normal"/>
              </a:rPr>
              <a:t>route</a:t>
            </a:r>
            <a:r>
              <a:rPr lang="en-US" altLang="ru-RU" sz="1400" dirty="0">
                <a:solidFill>
                  <a:srgbClr val="FF0000"/>
                </a:solidFill>
                <a:latin typeface="Calibri" panose="020F0502020204030204" pitchFamily="34" charset="0"/>
                <a:sym typeface="GillSans-Normal"/>
              </a:rPr>
              <a:t> </a:t>
            </a:r>
            <a:r>
              <a:rPr lang="en-US" altLang="ru-RU" sz="1400" b="1" dirty="0">
                <a:solidFill>
                  <a:srgbClr val="FF0000"/>
                </a:solidFill>
                <a:latin typeface="Calibri" panose="020F0502020204030204" pitchFamily="34" charset="0"/>
                <a:sym typeface="GillSans-Normal"/>
              </a:rPr>
              <a:t>construction</a:t>
            </a:r>
            <a:r>
              <a:rPr lang="ru-RU" altLang="ru-RU" sz="1400" b="1" dirty="0">
                <a:solidFill>
                  <a:srgbClr val="FF0000"/>
                </a:solidFill>
                <a:latin typeface="Calibri" panose="020F0502020204030204" pitchFamily="34" charset="0"/>
                <a:sym typeface="GillSans-Normal"/>
              </a:rPr>
              <a:t> </a:t>
            </a:r>
            <a:r>
              <a:rPr lang="en-US" altLang="ru-RU" sz="1400" b="1" dirty="0">
                <a:solidFill>
                  <a:srgbClr val="FF0000"/>
                </a:solidFill>
                <a:latin typeface="Calibri" panose="020F0502020204030204" pitchFamily="34" charset="0"/>
                <a:sym typeface="GillSans-Normal"/>
              </a:rPr>
              <a:t>project with a 1520 rail gage till Bratislava-Vienna</a:t>
            </a:r>
            <a:endParaRPr lang="ru-RU" altLang="ru-RU" sz="1400" b="1" dirty="0">
              <a:solidFill>
                <a:srgbClr val="FF0000"/>
              </a:solidFill>
              <a:latin typeface="Calibri" panose="020F0502020204030204" pitchFamily="34" charset="0"/>
              <a:sym typeface="GillSans-Normal"/>
            </a:endParaRPr>
          </a:p>
          <a:p>
            <a:pPr algn="just"/>
            <a:r>
              <a:rPr lang="ru-RU" alt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sym typeface="GillSans-Normal"/>
              </a:rPr>
              <a:t>Проект строительства железной дороги с шириной колеи 1520 мм до Братиславы-Вены</a:t>
            </a:r>
          </a:p>
          <a:p>
            <a:pPr algn="just"/>
            <a:endParaRPr lang="ru-RU" altLang="ru-RU" sz="1400" b="1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sym typeface="GillSans-Normal"/>
            </a:endParaRPr>
          </a:p>
        </p:txBody>
      </p:sp>
      <p:pic>
        <p:nvPicPr>
          <p:cNvPr id="73" name="Picture 4" descr="Untitled-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08332" y="1067834"/>
            <a:ext cx="3274270" cy="45114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4" name="Rectangle 9"/>
          <p:cNvSpPr>
            <a:spLocks noChangeArrowheads="1"/>
          </p:cNvSpPr>
          <p:nvPr/>
        </p:nvSpPr>
        <p:spPr bwMode="auto">
          <a:xfrm>
            <a:off x="5808332" y="5897390"/>
            <a:ext cx="3323972" cy="6316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17961" dir="2700000" algn="ctr" rotWithShape="0">
              <a:schemeClr val="bg1"/>
            </a:outerShdw>
          </a:effec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ru-RU" sz="1400" b="1" dirty="0" smtClean="0">
                <a:solidFill>
                  <a:srgbClr val="FF0000"/>
                </a:solidFill>
                <a:latin typeface="Calibri" panose="020F0502020204030204" pitchFamily="34" charset="0"/>
                <a:sym typeface="GillSans-Normal"/>
              </a:rPr>
              <a:t>The project on Trans-Siberian and Trans-Korean mainlines connection</a:t>
            </a:r>
            <a:endParaRPr lang="ru-RU" altLang="ru-RU" sz="1400" b="1" dirty="0">
              <a:solidFill>
                <a:srgbClr val="FF0000"/>
              </a:solidFill>
              <a:latin typeface="Calibri" panose="020F0502020204030204" pitchFamily="34" charset="0"/>
              <a:sym typeface="GillSans-Normal"/>
            </a:endParaRPr>
          </a:p>
          <a:p>
            <a:r>
              <a:rPr lang="ru-RU" altLang="ru-RU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sym typeface="GillSans-Normal"/>
              </a:rPr>
              <a:t>Проект соединения Транссибирской и </a:t>
            </a:r>
            <a:r>
              <a:rPr lang="ru-RU" altLang="ru-RU" sz="14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sym typeface="GillSans-Normal"/>
              </a:rPr>
              <a:t>Транскорейской</a:t>
            </a:r>
            <a:r>
              <a:rPr lang="ru-RU" altLang="ru-RU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sym typeface="GillSans-Normal"/>
              </a:rPr>
              <a:t> магистралей </a:t>
            </a:r>
            <a:endParaRPr lang="ru-RU" altLang="ru-RU" sz="1400" b="1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sym typeface="GillSans-Normal"/>
            </a:endParaRPr>
          </a:p>
          <a:p>
            <a:endParaRPr lang="ru-RU" altLang="ru-RU" sz="1400" b="1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sym typeface="GillSans-Normal"/>
            </a:endParaRPr>
          </a:p>
        </p:txBody>
      </p:sp>
      <p:sp>
        <p:nvSpPr>
          <p:cNvPr id="75" name="Text Box 13"/>
          <p:cNvSpPr txBox="1">
            <a:spLocks noChangeArrowheads="1"/>
          </p:cNvSpPr>
          <p:nvPr/>
        </p:nvSpPr>
        <p:spPr bwMode="auto">
          <a:xfrm>
            <a:off x="395288" y="152544"/>
            <a:ext cx="8353176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altLang="ru-RU" sz="1600" dirty="0">
                <a:solidFill>
                  <a:schemeClr val="bg1"/>
                </a:solidFill>
                <a:latin typeface="Calibri" pitchFamily="34" charset="0"/>
              </a:rPr>
              <a:t>The Trans-Siberian Route: ways to increase competitiveness of railway freight transportation</a:t>
            </a:r>
            <a:endParaRPr lang="en-US" altLang="ru-RU" sz="1600" dirty="0">
              <a:solidFill>
                <a:schemeClr val="bg1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75417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2"/>
          <a:srcRect l="3144" t="17100" r="5507" b="10800"/>
          <a:stretch/>
        </p:blipFill>
        <p:spPr>
          <a:xfrm>
            <a:off x="96157" y="1575267"/>
            <a:ext cx="8878990" cy="3941965"/>
          </a:xfrm>
          <a:prstGeom prst="rect">
            <a:avLst/>
          </a:prstGeom>
        </p:spPr>
      </p:pic>
      <p:sp>
        <p:nvSpPr>
          <p:cNvPr id="2" name="Text Box 5"/>
          <p:cNvSpPr txBox="1">
            <a:spLocks noChangeArrowheads="1"/>
          </p:cNvSpPr>
          <p:nvPr/>
        </p:nvSpPr>
        <p:spPr bwMode="auto">
          <a:xfrm>
            <a:off x="179512" y="947494"/>
            <a:ext cx="5805488" cy="5905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/>
          <a:p>
            <a:pPr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ru-RU" sz="2000" b="1" dirty="0">
                <a:solidFill>
                  <a:srgbClr val="FF0000"/>
                </a:solidFill>
                <a:latin typeface="Calibri" panose="020F0502020204030204" pitchFamily="34" charset="0"/>
              </a:rPr>
              <a:t>I</a:t>
            </a:r>
            <a:r>
              <a:rPr lang="en-US" altLang="ru-RU" sz="2000" b="1" dirty="0" smtClean="0">
                <a:solidFill>
                  <a:srgbClr val="FF0000"/>
                </a:solidFill>
                <a:latin typeface="Calibri" panose="020F0502020204030204" pitchFamily="34" charset="0"/>
              </a:rPr>
              <a:t>I</a:t>
            </a:r>
            <a:r>
              <a:rPr lang="en-US" altLang="ru-RU" sz="2000" b="1" dirty="0">
                <a:solidFill>
                  <a:srgbClr val="FF0000"/>
                </a:solidFill>
                <a:latin typeface="Calibri" panose="020F0502020204030204" pitchFamily="34" charset="0"/>
              </a:rPr>
              <a:t>. </a:t>
            </a:r>
            <a:r>
              <a:rPr lang="en-US" altLang="ru-RU" sz="2000" b="1" dirty="0" smtClean="0">
                <a:solidFill>
                  <a:srgbClr val="FF0000"/>
                </a:solidFill>
                <a:latin typeface="Calibri" panose="020F0502020204030204" pitchFamily="34" charset="0"/>
              </a:rPr>
              <a:t>Stable transit </a:t>
            </a:r>
            <a:r>
              <a:rPr lang="en-US" altLang="ru-RU" sz="2000" b="1" dirty="0">
                <a:solidFill>
                  <a:srgbClr val="FF0000"/>
                </a:solidFill>
                <a:latin typeface="Calibri" panose="020F0502020204030204" pitchFamily="34" charset="0"/>
              </a:rPr>
              <a:t>time guarantee </a:t>
            </a:r>
            <a:endParaRPr lang="ru-RU" altLang="ru-RU" sz="2000" b="1" dirty="0">
              <a:solidFill>
                <a:srgbClr val="FF0000"/>
              </a:solidFill>
              <a:latin typeface="Calibri" panose="020F0502020204030204" pitchFamily="34" charset="0"/>
            </a:endParaRPr>
          </a:p>
          <a:p>
            <a:pPr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ru-RU" sz="2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rPr>
              <a:t>II. </a:t>
            </a:r>
            <a:r>
              <a:rPr lang="ru-RU" altLang="ru-RU" sz="2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rPr>
              <a:t>Гарантия</a:t>
            </a:r>
            <a:r>
              <a:rPr lang="en-US" altLang="ru-RU" sz="2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rPr>
              <a:t> </a:t>
            </a:r>
            <a:r>
              <a:rPr lang="ru-RU" altLang="ru-RU" sz="2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rPr>
              <a:t>стабильного </a:t>
            </a:r>
            <a:r>
              <a:rPr lang="ru-RU" altLang="ru-RU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rPr>
              <a:t>транзитного времени 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72008" y="5517232"/>
            <a:ext cx="802838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latin typeface="+mj-lt"/>
              </a:rPr>
              <a:t>Nakhodka – Moscow (7 days)</a:t>
            </a:r>
            <a:endParaRPr lang="ru-RU" b="1" dirty="0" smtClean="0">
              <a:latin typeface="+mj-lt"/>
            </a:endParaRPr>
          </a:p>
          <a:p>
            <a:r>
              <a:rPr lang="en-US" b="1" dirty="0">
                <a:solidFill>
                  <a:schemeClr val="accent1"/>
                </a:solidFill>
                <a:latin typeface="+mj-lt"/>
              </a:rPr>
              <a:t>FESCO</a:t>
            </a:r>
            <a:r>
              <a:rPr lang="ru-RU" b="1" dirty="0">
                <a:solidFill>
                  <a:schemeClr val="accent1"/>
                </a:solidFill>
                <a:latin typeface="+mj-lt"/>
              </a:rPr>
              <a:t> </a:t>
            </a:r>
            <a:r>
              <a:rPr lang="en-GB" b="1" dirty="0">
                <a:solidFill>
                  <a:schemeClr val="accent1"/>
                </a:solidFill>
                <a:latin typeface="+mj-lt"/>
              </a:rPr>
              <a:t>Moscow Shuttle: </a:t>
            </a:r>
            <a:r>
              <a:rPr lang="en-US" b="1" dirty="0">
                <a:solidFill>
                  <a:schemeClr val="accent1"/>
                </a:solidFill>
                <a:latin typeface="+mj-lt"/>
              </a:rPr>
              <a:t>Moscow – Vladivostok (</a:t>
            </a:r>
            <a:r>
              <a:rPr lang="ru-RU" b="1" dirty="0">
                <a:solidFill>
                  <a:schemeClr val="accent1"/>
                </a:solidFill>
                <a:latin typeface="+mj-lt"/>
              </a:rPr>
              <a:t>11 </a:t>
            </a:r>
            <a:r>
              <a:rPr lang="en-US" b="1" dirty="0">
                <a:solidFill>
                  <a:schemeClr val="accent1"/>
                </a:solidFill>
                <a:latin typeface="+mj-lt"/>
              </a:rPr>
              <a:t>days)</a:t>
            </a:r>
            <a:endParaRPr lang="ru-RU" b="1" dirty="0">
              <a:solidFill>
                <a:schemeClr val="accent1"/>
              </a:solidFill>
              <a:latin typeface="+mj-lt"/>
            </a:endParaRPr>
          </a:p>
          <a:p>
            <a:r>
              <a:rPr lang="en-US" b="1" dirty="0" smtClean="0">
                <a:solidFill>
                  <a:srgbClr val="FF0000"/>
                </a:solidFill>
                <a:latin typeface="+mj-lt"/>
              </a:rPr>
              <a:t>China – Poland (13-15 days)</a:t>
            </a:r>
          </a:p>
          <a:p>
            <a:r>
              <a:rPr lang="en-US" b="1" dirty="0" smtClean="0">
                <a:solidFill>
                  <a:srgbClr val="006600"/>
                </a:solidFill>
                <a:latin typeface="+mj-lt"/>
              </a:rPr>
              <a:t>China – Germany (14-16 days)</a:t>
            </a:r>
            <a:endParaRPr lang="ru-RU" b="1" dirty="0" smtClean="0">
              <a:solidFill>
                <a:srgbClr val="006600"/>
              </a:solidFill>
              <a:latin typeface="+mj-lt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283801" y="3988174"/>
            <a:ext cx="70724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>
                <a:latin typeface="+mj-lt"/>
              </a:rPr>
              <a:t>Nakhodka</a:t>
            </a:r>
            <a:endParaRPr lang="ru-RU" sz="1000" dirty="0">
              <a:latin typeface="+mj-lt"/>
            </a:endParaRPr>
          </a:p>
        </p:txBody>
      </p:sp>
      <p:sp>
        <p:nvSpPr>
          <p:cNvPr id="11" name="Полилиния 10"/>
          <p:cNvSpPr/>
          <p:nvPr/>
        </p:nvSpPr>
        <p:spPr>
          <a:xfrm>
            <a:off x="1835696" y="2332174"/>
            <a:ext cx="6958782" cy="1656000"/>
          </a:xfrm>
          <a:custGeom>
            <a:avLst/>
            <a:gdLst>
              <a:gd name="connsiteX0" fmla="*/ 7132320 w 7132320"/>
              <a:gd name="connsiteY0" fmla="*/ 1612746 h 1612746"/>
              <a:gd name="connsiteX1" fmla="*/ 3482340 w 7132320"/>
              <a:gd name="connsiteY1" fmla="*/ 111606 h 1612746"/>
              <a:gd name="connsiteX2" fmla="*/ 0 w 7132320"/>
              <a:gd name="connsiteY2" fmla="*/ 225906 h 1612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132320" h="1612746">
                <a:moveTo>
                  <a:pt x="7132320" y="1612746"/>
                </a:moveTo>
                <a:cubicBezTo>
                  <a:pt x="5901690" y="977746"/>
                  <a:pt x="4671060" y="342746"/>
                  <a:pt x="3482340" y="111606"/>
                </a:cubicBezTo>
                <a:cubicBezTo>
                  <a:pt x="2293620" y="-119534"/>
                  <a:pt x="1146810" y="53186"/>
                  <a:pt x="0" y="225906"/>
                </a:cubicBezTo>
              </a:path>
            </a:pathLst>
          </a:cu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Полилиния 14"/>
          <p:cNvSpPr/>
          <p:nvPr/>
        </p:nvSpPr>
        <p:spPr>
          <a:xfrm>
            <a:off x="611560" y="2708921"/>
            <a:ext cx="5911478" cy="2225122"/>
          </a:xfrm>
          <a:custGeom>
            <a:avLst/>
            <a:gdLst>
              <a:gd name="connsiteX0" fmla="*/ 7132320 w 7132320"/>
              <a:gd name="connsiteY0" fmla="*/ 1612746 h 1612746"/>
              <a:gd name="connsiteX1" fmla="*/ 3482340 w 7132320"/>
              <a:gd name="connsiteY1" fmla="*/ 111606 h 1612746"/>
              <a:gd name="connsiteX2" fmla="*/ 0 w 7132320"/>
              <a:gd name="connsiteY2" fmla="*/ 225906 h 1612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132320" h="1612746">
                <a:moveTo>
                  <a:pt x="7132320" y="1612746"/>
                </a:moveTo>
                <a:cubicBezTo>
                  <a:pt x="5901690" y="977746"/>
                  <a:pt x="4671060" y="342746"/>
                  <a:pt x="3482340" y="111606"/>
                </a:cubicBezTo>
                <a:cubicBezTo>
                  <a:pt x="2293620" y="-119534"/>
                  <a:pt x="1146810" y="53186"/>
                  <a:pt x="0" y="225906"/>
                </a:cubicBezTo>
              </a:path>
            </a:pathLst>
          </a:cu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Полилиния 15"/>
          <p:cNvSpPr/>
          <p:nvPr/>
        </p:nvSpPr>
        <p:spPr>
          <a:xfrm>
            <a:off x="1835696" y="2388022"/>
            <a:ext cx="6840760" cy="1656000"/>
          </a:xfrm>
          <a:custGeom>
            <a:avLst/>
            <a:gdLst>
              <a:gd name="connsiteX0" fmla="*/ 7132320 w 7132320"/>
              <a:gd name="connsiteY0" fmla="*/ 1612746 h 1612746"/>
              <a:gd name="connsiteX1" fmla="*/ 3482340 w 7132320"/>
              <a:gd name="connsiteY1" fmla="*/ 111606 h 1612746"/>
              <a:gd name="connsiteX2" fmla="*/ 0 w 7132320"/>
              <a:gd name="connsiteY2" fmla="*/ 225906 h 1612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132320" h="1612746">
                <a:moveTo>
                  <a:pt x="7132320" y="1612746"/>
                </a:moveTo>
                <a:cubicBezTo>
                  <a:pt x="5901690" y="977746"/>
                  <a:pt x="4671060" y="342746"/>
                  <a:pt x="3482340" y="111606"/>
                </a:cubicBezTo>
                <a:cubicBezTo>
                  <a:pt x="2293620" y="-119534"/>
                  <a:pt x="1146810" y="53186"/>
                  <a:pt x="0" y="225906"/>
                </a:cubicBezTo>
              </a:path>
            </a:pathLst>
          </a:custGeom>
          <a:noFill/>
          <a:ln w="38100">
            <a:solidFill>
              <a:schemeClr val="tx2">
                <a:lumMod val="60000"/>
                <a:lumOff val="4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Полилиния 12"/>
          <p:cNvSpPr/>
          <p:nvPr/>
        </p:nvSpPr>
        <p:spPr>
          <a:xfrm>
            <a:off x="179512" y="2852937"/>
            <a:ext cx="6192688" cy="2118329"/>
          </a:xfrm>
          <a:custGeom>
            <a:avLst/>
            <a:gdLst>
              <a:gd name="connsiteX0" fmla="*/ 7132320 w 7132320"/>
              <a:gd name="connsiteY0" fmla="*/ 1612746 h 1612746"/>
              <a:gd name="connsiteX1" fmla="*/ 3482340 w 7132320"/>
              <a:gd name="connsiteY1" fmla="*/ 111606 h 1612746"/>
              <a:gd name="connsiteX2" fmla="*/ 0 w 7132320"/>
              <a:gd name="connsiteY2" fmla="*/ 225906 h 1612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132320" h="1612746">
                <a:moveTo>
                  <a:pt x="7132320" y="1612746"/>
                </a:moveTo>
                <a:cubicBezTo>
                  <a:pt x="5901690" y="977746"/>
                  <a:pt x="4671060" y="342746"/>
                  <a:pt x="3482340" y="111606"/>
                </a:cubicBezTo>
                <a:cubicBezTo>
                  <a:pt x="2293620" y="-119534"/>
                  <a:pt x="1146810" y="53186"/>
                  <a:pt x="0" y="225906"/>
                </a:cubicBezTo>
              </a:path>
            </a:pathLst>
          </a:custGeom>
          <a:noFill/>
          <a:ln w="38100">
            <a:solidFill>
              <a:srgbClr val="0066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Text Box 13"/>
          <p:cNvSpPr txBox="1">
            <a:spLocks noChangeArrowheads="1"/>
          </p:cNvSpPr>
          <p:nvPr/>
        </p:nvSpPr>
        <p:spPr bwMode="auto">
          <a:xfrm>
            <a:off x="395288" y="152544"/>
            <a:ext cx="8353176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altLang="ru-RU" sz="1600" dirty="0">
                <a:solidFill>
                  <a:schemeClr val="bg1"/>
                </a:solidFill>
                <a:latin typeface="Calibri" pitchFamily="34" charset="0"/>
              </a:rPr>
              <a:t>The Trans-Siberian Route: ways to increase competitiveness of railway freight transportation</a:t>
            </a:r>
            <a:endParaRPr lang="en-US" altLang="ru-RU" sz="1600" dirty="0">
              <a:solidFill>
                <a:schemeClr val="bg1"/>
              </a:solidFill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/>
        </p:nvSpPr>
        <p:spPr bwMode="auto">
          <a:xfrm>
            <a:off x="179512" y="980728"/>
            <a:ext cx="7206121" cy="59093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>
            <a:spAutoFit/>
          </a:bodyPr>
          <a:lstStyle/>
          <a:p>
            <a:pPr>
              <a:lnSpc>
                <a:spcPct val="80000"/>
              </a:lnSpc>
            </a:pPr>
            <a:r>
              <a:rPr lang="en-US" altLang="ru-RU" sz="2000" b="1" dirty="0" smtClean="0">
                <a:solidFill>
                  <a:srgbClr val="FF0000"/>
                </a:solidFill>
                <a:latin typeface="Calibri" pitchFamily="34" charset="0"/>
              </a:rPr>
              <a:t>Factors of transit time reduction</a:t>
            </a:r>
          </a:p>
          <a:p>
            <a:pPr>
              <a:lnSpc>
                <a:spcPct val="80000"/>
              </a:lnSpc>
            </a:pPr>
            <a:r>
              <a:rPr lang="ru-RU" altLang="ru-RU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Факторы, влияющие на сокращение транзитного времени </a:t>
            </a:r>
            <a:endParaRPr lang="ru-RU" altLang="ru-RU" sz="2000" b="1" dirty="0">
              <a:solidFill>
                <a:srgbClr val="595959"/>
              </a:solidFill>
              <a:latin typeface="Calibri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563103" y="1700808"/>
            <a:ext cx="7128792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en-US" sz="2000" dirty="0" smtClean="0">
                <a:solidFill>
                  <a:srgbClr val="FF0000"/>
                </a:solidFill>
                <a:latin typeface="+mj-lt"/>
              </a:rPr>
              <a:t>Container block-trains organization.</a:t>
            </a:r>
          </a:p>
          <a:p>
            <a:pPr marL="285750" indent="-285750">
              <a:buFontTx/>
              <a:buChar char="-"/>
            </a:pPr>
            <a:r>
              <a:rPr lang="en-US" sz="2000" dirty="0" smtClean="0">
                <a:solidFill>
                  <a:srgbClr val="FF0000"/>
                </a:solidFill>
                <a:latin typeface="+mj-lt"/>
              </a:rPr>
              <a:t>Simplification </a:t>
            </a:r>
            <a:r>
              <a:rPr lang="en-US" sz="2000" dirty="0">
                <a:solidFill>
                  <a:srgbClr val="FF0000"/>
                </a:solidFill>
                <a:latin typeface="+mj-lt"/>
              </a:rPr>
              <a:t>of customs </a:t>
            </a:r>
            <a:r>
              <a:rPr lang="en-US" sz="2000" dirty="0" smtClean="0">
                <a:solidFill>
                  <a:srgbClr val="FF0000"/>
                </a:solidFill>
                <a:latin typeface="+mj-lt"/>
              </a:rPr>
              <a:t>procedures.</a:t>
            </a:r>
            <a:endParaRPr lang="en-GB" sz="2000" dirty="0" smtClean="0">
              <a:solidFill>
                <a:srgbClr val="FF0000"/>
              </a:solidFill>
              <a:latin typeface="+mj-lt"/>
            </a:endParaRPr>
          </a:p>
          <a:p>
            <a:pPr marL="285750" indent="-285750">
              <a:buFontTx/>
              <a:buChar char="-"/>
            </a:pPr>
            <a:r>
              <a:rPr lang="en-GB" sz="2000" dirty="0" smtClean="0">
                <a:solidFill>
                  <a:srgbClr val="FF0000"/>
                </a:solidFill>
                <a:latin typeface="+mj-lt"/>
              </a:rPr>
              <a:t>Border crossing facilitation (including advance presentation of cargo information to customs).</a:t>
            </a:r>
          </a:p>
          <a:p>
            <a:pPr marL="285750" indent="-285750">
              <a:buFontTx/>
              <a:buChar char="-"/>
            </a:pPr>
            <a:r>
              <a:rPr lang="en-GB" sz="2000" dirty="0" smtClean="0">
                <a:solidFill>
                  <a:srgbClr val="FF0000"/>
                </a:solidFill>
                <a:latin typeface="+mj-lt"/>
              </a:rPr>
              <a:t>Introduction of</a:t>
            </a:r>
            <a:r>
              <a:rPr lang="ru-RU" sz="2000" dirty="0" smtClean="0">
                <a:solidFill>
                  <a:srgbClr val="FF0000"/>
                </a:solidFill>
                <a:latin typeface="+mj-lt"/>
              </a:rPr>
              <a:t> </a:t>
            </a:r>
            <a:r>
              <a:rPr lang="en-US" sz="2000" dirty="0" smtClean="0">
                <a:solidFill>
                  <a:srgbClr val="FF0000"/>
                </a:solidFill>
                <a:latin typeface="+mj-lt"/>
              </a:rPr>
              <a:t>innovative technologies and</a:t>
            </a:r>
            <a:r>
              <a:rPr lang="en-GB" sz="2000" dirty="0" smtClean="0">
                <a:solidFill>
                  <a:srgbClr val="FF0000"/>
                </a:solidFill>
                <a:latin typeface="+mj-lt"/>
              </a:rPr>
              <a:t> electronic document management.</a:t>
            </a:r>
            <a:endParaRPr lang="ru-RU" sz="2000" dirty="0" smtClean="0">
              <a:solidFill>
                <a:srgbClr val="FF0000"/>
              </a:solidFill>
              <a:latin typeface="+mj-lt"/>
            </a:endParaRPr>
          </a:p>
          <a:p>
            <a:pPr marL="285750" indent="-285750">
              <a:buFontTx/>
              <a:buChar char="-"/>
            </a:pPr>
            <a:r>
              <a:rPr lang="en-GB" sz="2000" dirty="0" smtClean="0">
                <a:solidFill>
                  <a:srgbClr val="FF0000"/>
                </a:solidFill>
                <a:latin typeface="+mj-lt"/>
              </a:rPr>
              <a:t>Fixed train paths.</a:t>
            </a:r>
            <a:endParaRPr lang="ru-RU" sz="2000" dirty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63103" y="4098263"/>
            <a:ext cx="7128792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ru-RU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Организация контейнерных маршрутных поездов</a:t>
            </a: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.</a:t>
            </a:r>
          </a:p>
          <a:p>
            <a:pPr marL="285750" indent="-285750">
              <a:buFontTx/>
              <a:buChar char="-"/>
            </a:pPr>
            <a:r>
              <a:rPr lang="ru-RU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Упрощение таможенных процедур</a:t>
            </a: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.</a:t>
            </a:r>
            <a:endParaRPr lang="en-GB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+mj-lt"/>
            </a:endParaRPr>
          </a:p>
          <a:p>
            <a:pPr marL="285750" indent="-285750">
              <a:buFontTx/>
              <a:buChar char="-"/>
            </a:pPr>
            <a:r>
              <a:rPr lang="ru-RU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Облегчение пересечения границ </a:t>
            </a:r>
            <a:r>
              <a:rPr lang="en-GB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(</a:t>
            </a:r>
            <a:r>
              <a:rPr lang="ru-RU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включая предварительное информирование таможни о грузе</a:t>
            </a:r>
            <a:r>
              <a:rPr lang="en-GB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).</a:t>
            </a:r>
          </a:p>
          <a:p>
            <a:pPr marL="285750" indent="-285750">
              <a:buFontTx/>
              <a:buChar char="-"/>
            </a:pPr>
            <a:r>
              <a:rPr lang="ru-RU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Внедрение инновационных технологий и электронного документооборота.</a:t>
            </a:r>
          </a:p>
          <a:p>
            <a:pPr marL="285750" indent="-285750">
              <a:buFontTx/>
              <a:buChar char="-"/>
            </a:pPr>
            <a:r>
              <a:rPr lang="ru-RU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Движение поездов по твердым ниткам графика</a:t>
            </a:r>
            <a:r>
              <a:rPr lang="en-GB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.</a:t>
            </a:r>
            <a:endParaRPr lang="ru-RU" sz="20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</a:endParaRPr>
          </a:p>
        </p:txBody>
      </p:sp>
      <p:sp>
        <p:nvSpPr>
          <p:cNvPr id="8" name="Text Box 13"/>
          <p:cNvSpPr txBox="1">
            <a:spLocks noChangeArrowheads="1"/>
          </p:cNvSpPr>
          <p:nvPr/>
        </p:nvSpPr>
        <p:spPr bwMode="auto">
          <a:xfrm>
            <a:off x="395288" y="152544"/>
            <a:ext cx="8353176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altLang="ru-RU" sz="1600" dirty="0">
                <a:solidFill>
                  <a:schemeClr val="bg1"/>
                </a:solidFill>
                <a:latin typeface="Calibri" pitchFamily="34" charset="0"/>
              </a:rPr>
              <a:t>The Trans-Siberian Route: ways to increase competitiveness of railway freight transportation</a:t>
            </a:r>
            <a:endParaRPr lang="en-US" altLang="ru-RU" sz="1600" dirty="0">
              <a:solidFill>
                <a:schemeClr val="bg1"/>
              </a:solidFill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Схема 8"/>
          <p:cNvGraphicFramePr/>
          <p:nvPr>
            <p:extLst>
              <p:ext uri="{D42A27DB-BD31-4B8C-83A1-F6EECF244321}">
                <p14:modId xmlns:p14="http://schemas.microsoft.com/office/powerpoint/2010/main" val="2244975625"/>
              </p:ext>
            </p:extLst>
          </p:nvPr>
        </p:nvGraphicFramePr>
        <p:xfrm>
          <a:off x="645790" y="377775"/>
          <a:ext cx="7805738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6625" name="TextBox 29"/>
          <p:cNvSpPr txBox="1">
            <a:spLocks noChangeArrowheads="1"/>
          </p:cNvSpPr>
          <p:nvPr/>
        </p:nvSpPr>
        <p:spPr bwMode="auto">
          <a:xfrm>
            <a:off x="379413" y="1470025"/>
            <a:ext cx="2427909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altLang="ru-RU" sz="2400" dirty="0">
                <a:latin typeface="Calibri" pitchFamily="34" charset="0"/>
              </a:rPr>
              <a:t>I.</a:t>
            </a:r>
            <a:r>
              <a:rPr lang="ru-RU" altLang="ru-RU" dirty="0">
                <a:latin typeface="Calibri" pitchFamily="34" charset="0"/>
              </a:rPr>
              <a:t>  </a:t>
            </a:r>
            <a:r>
              <a:rPr lang="en-US" altLang="ru-RU" dirty="0">
                <a:latin typeface="Calibri" pitchFamily="34" charset="0"/>
              </a:rPr>
              <a:t>By railway </a:t>
            </a:r>
            <a:r>
              <a:rPr lang="en-US" altLang="ru-RU" dirty="0" smtClean="0">
                <a:latin typeface="Calibri" pitchFamily="34" charset="0"/>
              </a:rPr>
              <a:t>transport.</a:t>
            </a:r>
            <a:endParaRPr lang="ru-RU" altLang="ru-RU" dirty="0">
              <a:latin typeface="Calibri" pitchFamily="34" charset="0"/>
            </a:endParaRPr>
          </a:p>
        </p:txBody>
      </p:sp>
      <p:graphicFrame>
        <p:nvGraphicFramePr>
          <p:cNvPr id="4" name="Схема 3"/>
          <p:cNvGraphicFramePr/>
          <p:nvPr/>
        </p:nvGraphicFramePr>
        <p:xfrm>
          <a:off x="671190" y="2965400"/>
          <a:ext cx="71755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26627" name="TextBox 37"/>
          <p:cNvSpPr txBox="1">
            <a:spLocks noChangeArrowheads="1"/>
          </p:cNvSpPr>
          <p:nvPr/>
        </p:nvSpPr>
        <p:spPr bwMode="auto">
          <a:xfrm>
            <a:off x="379413" y="4117975"/>
            <a:ext cx="7462837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altLang="ru-RU" sz="2400">
                <a:latin typeface="Calibri" pitchFamily="34" charset="0"/>
              </a:rPr>
              <a:t>I</a:t>
            </a:r>
            <a:r>
              <a:rPr lang="en-US" altLang="ru-RU" sz="2400">
                <a:latin typeface="Calibri" pitchFamily="34" charset="0"/>
              </a:rPr>
              <a:t>I</a:t>
            </a:r>
            <a:r>
              <a:rPr lang="ru-RU" altLang="ru-RU" sz="2400">
                <a:latin typeface="Calibri" pitchFamily="34" charset="0"/>
              </a:rPr>
              <a:t>.</a:t>
            </a:r>
            <a:r>
              <a:rPr lang="ru-RU" altLang="ru-RU">
                <a:latin typeface="Calibri" pitchFamily="34" charset="0"/>
              </a:rPr>
              <a:t> </a:t>
            </a:r>
            <a:r>
              <a:rPr lang="en-US" altLang="ru-RU">
                <a:latin typeface="Calibri" pitchFamily="34" charset="0"/>
              </a:rPr>
              <a:t>Intermodal transport on the TSR the through </a:t>
            </a:r>
            <a:r>
              <a:rPr lang="en-US" altLang="ru-RU" b="1">
                <a:latin typeface="Calibri" pitchFamily="34" charset="0"/>
              </a:rPr>
              <a:t>Far East ports (sea + railway)</a:t>
            </a:r>
            <a:r>
              <a:rPr lang="en-US" altLang="ru-RU">
                <a:latin typeface="Calibri" pitchFamily="34" charset="0"/>
              </a:rPr>
              <a:t>.</a:t>
            </a:r>
            <a:endParaRPr lang="ru-RU" altLang="ru-RU">
              <a:latin typeface="Calibri" pitchFamily="34" charset="0"/>
            </a:endParaRPr>
          </a:p>
        </p:txBody>
      </p:sp>
      <p:sp>
        <p:nvSpPr>
          <p:cNvPr id="26628" name="TextBox 5"/>
          <p:cNvSpPr txBox="1">
            <a:spLocks noChangeArrowheads="1"/>
          </p:cNvSpPr>
          <p:nvPr/>
        </p:nvSpPr>
        <p:spPr bwMode="auto">
          <a:xfrm>
            <a:off x="519113" y="2892425"/>
            <a:ext cx="6323012" cy="1314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342900" indent="-342900"/>
            <a:r>
              <a:rPr lang="en-US" altLang="ru-RU" sz="1600">
                <a:latin typeface="Calibri" pitchFamily="34" charset="0"/>
              </a:rPr>
              <a:t>1. Railway infrastructure tariffs</a:t>
            </a:r>
            <a:r>
              <a:rPr lang="ru-RU" altLang="ru-RU" sz="1600">
                <a:latin typeface="Calibri" pitchFamily="34" charset="0"/>
              </a:rPr>
              <a:t>: </a:t>
            </a:r>
            <a:r>
              <a:rPr lang="en-US" altLang="ru-RU" sz="1600">
                <a:latin typeface="Calibri" pitchFamily="34" charset="0"/>
              </a:rPr>
              <a:t>Railways of China, KTZ, RZD, BCh, PKP, DB.</a:t>
            </a:r>
            <a:endParaRPr lang="ru-RU" altLang="ru-RU" sz="1600">
              <a:latin typeface="Calibri" pitchFamily="34" charset="0"/>
            </a:endParaRPr>
          </a:p>
          <a:p>
            <a:pPr marL="342900" indent="-342900"/>
            <a:r>
              <a:rPr lang="en-US" altLang="ru-RU" sz="1600">
                <a:latin typeface="Calibri" pitchFamily="34" charset="0"/>
              </a:rPr>
              <a:t>2. Container flatcar rent </a:t>
            </a:r>
            <a:endParaRPr lang="ru-RU" altLang="ru-RU" sz="1600">
              <a:latin typeface="Calibri" pitchFamily="34" charset="0"/>
            </a:endParaRPr>
          </a:p>
          <a:p>
            <a:pPr marL="342900" indent="-342900"/>
            <a:r>
              <a:rPr lang="en-US" altLang="ru-RU" sz="1600">
                <a:latin typeface="Calibri" pitchFamily="34" charset="0"/>
              </a:rPr>
              <a:t>3. Security</a:t>
            </a:r>
            <a:endParaRPr lang="ru-RU" altLang="ru-RU" sz="1600">
              <a:latin typeface="Calibri" pitchFamily="34" charset="0"/>
            </a:endParaRPr>
          </a:p>
          <a:p>
            <a:pPr marL="342900" indent="-342900"/>
            <a:r>
              <a:rPr lang="en-US" altLang="ru-RU" sz="1600">
                <a:latin typeface="Calibri" pitchFamily="34" charset="0"/>
              </a:rPr>
              <a:t>4. Additional charge </a:t>
            </a:r>
            <a:r>
              <a:rPr lang="ru-RU" altLang="ru-RU" sz="1600">
                <a:latin typeface="Calibri" pitchFamily="34" charset="0"/>
              </a:rPr>
              <a:t>(</a:t>
            </a:r>
            <a:r>
              <a:rPr lang="en-US" altLang="ru-RU" sz="1600">
                <a:latin typeface="Calibri" pitchFamily="34" charset="0"/>
              </a:rPr>
              <a:t>handling</a:t>
            </a:r>
            <a:r>
              <a:rPr lang="ru-RU" altLang="ru-RU" sz="1600">
                <a:latin typeface="Calibri" pitchFamily="34" charset="0"/>
              </a:rPr>
              <a:t>, </a:t>
            </a:r>
            <a:r>
              <a:rPr lang="en-US" altLang="ru-RU" sz="1600">
                <a:latin typeface="Calibri" pitchFamily="34" charset="0"/>
              </a:rPr>
              <a:t>customs control, station charge etc</a:t>
            </a:r>
            <a:r>
              <a:rPr lang="ru-RU" altLang="ru-RU" sz="1600">
                <a:latin typeface="Calibri" pitchFamily="34" charset="0"/>
              </a:rPr>
              <a:t>.)</a:t>
            </a:r>
          </a:p>
          <a:p>
            <a:pPr marL="342900" indent="-342900"/>
            <a:r>
              <a:rPr lang="en-US" altLang="ru-RU" sz="1600">
                <a:latin typeface="Calibri" pitchFamily="34" charset="0"/>
              </a:rPr>
              <a:t>5. Operator</a:t>
            </a:r>
            <a:r>
              <a:rPr lang="en-GB" altLang="ru-RU" sz="1600">
                <a:latin typeface="Calibri" pitchFamily="34" charset="0"/>
              </a:rPr>
              <a:t>’</a:t>
            </a:r>
            <a:r>
              <a:rPr lang="en-US" altLang="ru-RU" sz="1600">
                <a:latin typeface="Calibri" pitchFamily="34" charset="0"/>
              </a:rPr>
              <a:t>s commission </a:t>
            </a:r>
            <a:endParaRPr lang="ru-RU" altLang="ru-RU" sz="1600">
              <a:latin typeface="Calibri" pitchFamily="34" charset="0"/>
            </a:endParaRPr>
          </a:p>
        </p:txBody>
      </p:sp>
      <p:sp>
        <p:nvSpPr>
          <p:cNvPr id="26629" name="TextBox 6"/>
          <p:cNvSpPr txBox="1">
            <a:spLocks noChangeArrowheads="1"/>
          </p:cNvSpPr>
          <p:nvPr/>
        </p:nvSpPr>
        <p:spPr bwMode="auto">
          <a:xfrm>
            <a:off x="519113" y="5289550"/>
            <a:ext cx="3898900" cy="13234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42900" indent="-342900"/>
            <a:r>
              <a:rPr lang="en-US" altLang="ru-RU" sz="1600" dirty="0">
                <a:latin typeface="Calibri" pitchFamily="34" charset="0"/>
              </a:rPr>
              <a:t>1. Sea freight</a:t>
            </a:r>
          </a:p>
          <a:p>
            <a:pPr marL="342900" indent="-342900"/>
            <a:r>
              <a:rPr lang="en-US" altLang="ru-RU" sz="1600" dirty="0">
                <a:latin typeface="Calibri" pitchFamily="34" charset="0"/>
              </a:rPr>
              <a:t>2. Stevedore's charges </a:t>
            </a:r>
            <a:endParaRPr lang="ru-RU" altLang="ru-RU" sz="1600" dirty="0">
              <a:latin typeface="Calibri" pitchFamily="34" charset="0"/>
            </a:endParaRPr>
          </a:p>
          <a:p>
            <a:pPr marL="342900" indent="-342900"/>
            <a:r>
              <a:rPr lang="en-US" altLang="ru-RU" sz="1600" dirty="0">
                <a:latin typeface="Calibri" pitchFamily="34" charset="0"/>
              </a:rPr>
              <a:t>3. Terminal services </a:t>
            </a:r>
            <a:endParaRPr lang="ru-RU" altLang="ru-RU" sz="1600" dirty="0">
              <a:latin typeface="Calibri" pitchFamily="34" charset="0"/>
            </a:endParaRPr>
          </a:p>
          <a:p>
            <a:pPr marL="342900" indent="-342900"/>
            <a:r>
              <a:rPr lang="en-US" altLang="ru-RU" sz="1600" dirty="0">
                <a:latin typeface="Calibri" pitchFamily="34" charset="0"/>
              </a:rPr>
              <a:t>4. Railway infrastructure </a:t>
            </a:r>
            <a:r>
              <a:rPr lang="en-US" altLang="ru-RU" sz="1600" dirty="0" smtClean="0">
                <a:latin typeface="Calibri" pitchFamily="34" charset="0"/>
              </a:rPr>
              <a:t>tariffs.</a:t>
            </a:r>
            <a:endParaRPr lang="ru-RU" altLang="ru-RU" sz="1600" dirty="0">
              <a:latin typeface="Calibri" pitchFamily="34" charset="0"/>
            </a:endParaRPr>
          </a:p>
          <a:p>
            <a:pPr marL="342900" indent="-342900"/>
            <a:endParaRPr lang="ru-RU" altLang="ru-RU" sz="1600" dirty="0">
              <a:latin typeface="Calibri" pitchFamily="34" charset="0"/>
            </a:endParaRPr>
          </a:p>
        </p:txBody>
      </p:sp>
      <p:sp>
        <p:nvSpPr>
          <p:cNvPr id="26630" name="TextBox 39"/>
          <p:cNvSpPr txBox="1">
            <a:spLocks noChangeArrowheads="1"/>
          </p:cNvSpPr>
          <p:nvPr/>
        </p:nvSpPr>
        <p:spPr bwMode="auto">
          <a:xfrm>
            <a:off x="4722813" y="5289550"/>
            <a:ext cx="3898900" cy="1314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altLang="ru-RU" sz="1600">
                <a:latin typeface="Calibri" pitchFamily="34" charset="0"/>
              </a:rPr>
              <a:t>5. Container flatcar rent </a:t>
            </a:r>
            <a:endParaRPr lang="ru-RU" altLang="ru-RU" sz="1600">
              <a:latin typeface="Calibri" pitchFamily="34" charset="0"/>
            </a:endParaRPr>
          </a:p>
          <a:p>
            <a:r>
              <a:rPr lang="en-US" altLang="ru-RU" sz="1600">
                <a:latin typeface="Calibri" pitchFamily="34" charset="0"/>
              </a:rPr>
              <a:t>6. Security</a:t>
            </a:r>
            <a:endParaRPr lang="ru-RU" altLang="ru-RU" sz="1600">
              <a:latin typeface="Calibri" pitchFamily="34" charset="0"/>
            </a:endParaRPr>
          </a:p>
          <a:p>
            <a:r>
              <a:rPr lang="en-US" altLang="ru-RU" sz="1600">
                <a:latin typeface="Calibri" pitchFamily="34" charset="0"/>
              </a:rPr>
              <a:t>7. Additional charge </a:t>
            </a:r>
            <a:r>
              <a:rPr lang="ru-RU" altLang="ru-RU" sz="1600">
                <a:latin typeface="Calibri" pitchFamily="34" charset="0"/>
              </a:rPr>
              <a:t>(</a:t>
            </a:r>
            <a:r>
              <a:rPr lang="en-US" altLang="ru-RU" sz="1600">
                <a:latin typeface="Calibri" pitchFamily="34" charset="0"/>
              </a:rPr>
              <a:t>handling</a:t>
            </a:r>
            <a:r>
              <a:rPr lang="ru-RU" altLang="ru-RU" sz="1600">
                <a:latin typeface="Calibri" pitchFamily="34" charset="0"/>
              </a:rPr>
              <a:t>, </a:t>
            </a:r>
            <a:r>
              <a:rPr lang="en-US" altLang="ru-RU" sz="1600">
                <a:latin typeface="Calibri" pitchFamily="34" charset="0"/>
              </a:rPr>
              <a:t>customs control, station charge etc</a:t>
            </a:r>
            <a:r>
              <a:rPr lang="ru-RU" altLang="ru-RU" sz="1600">
                <a:latin typeface="Calibri" pitchFamily="34" charset="0"/>
              </a:rPr>
              <a:t>.)</a:t>
            </a:r>
          </a:p>
          <a:p>
            <a:r>
              <a:rPr lang="en-US" altLang="ru-RU" sz="1600">
                <a:latin typeface="Calibri" pitchFamily="34" charset="0"/>
              </a:rPr>
              <a:t>8. Operator’s commission </a:t>
            </a:r>
            <a:endParaRPr lang="ru-RU" altLang="ru-RU" sz="1600">
              <a:latin typeface="Calibri" pitchFamily="34" charset="0"/>
            </a:endParaRPr>
          </a:p>
        </p:txBody>
      </p:sp>
      <p:sp>
        <p:nvSpPr>
          <p:cNvPr id="2" name="Text Box 140"/>
          <p:cNvSpPr txBox="1">
            <a:spLocks noChangeArrowheads="1"/>
          </p:cNvSpPr>
          <p:nvPr/>
        </p:nvSpPr>
        <p:spPr bwMode="auto">
          <a:xfrm>
            <a:off x="323850" y="908050"/>
            <a:ext cx="7896225" cy="592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ru-RU" sz="2000" b="1" dirty="0" smtClean="0">
                <a:solidFill>
                  <a:srgbClr val="FF0000"/>
                </a:solidFill>
                <a:latin typeface="Calibri" panose="020F0502020204030204" pitchFamily="34" charset="0"/>
              </a:rPr>
              <a:t>III. Stable and competitive end-to-end tariff</a:t>
            </a:r>
          </a:p>
          <a:p>
            <a:pPr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ru-RU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</a:rPr>
              <a:t>III. </a:t>
            </a:r>
            <a:r>
              <a:rPr lang="ru-RU" altLang="ru-RU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</a:rPr>
              <a:t>Стабильный и конкурентоспособный тариф</a:t>
            </a:r>
            <a:endParaRPr lang="en-US" altLang="ru-RU" sz="2000" b="1" dirty="0">
              <a:solidFill>
                <a:schemeClr val="tx1">
                  <a:lumMod val="75000"/>
                  <a:lumOff val="25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12" name="Text Box 13"/>
          <p:cNvSpPr txBox="1">
            <a:spLocks noChangeArrowheads="1"/>
          </p:cNvSpPr>
          <p:nvPr/>
        </p:nvSpPr>
        <p:spPr bwMode="auto">
          <a:xfrm>
            <a:off x="395288" y="152544"/>
            <a:ext cx="8353176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altLang="ru-RU" sz="1600" dirty="0">
                <a:solidFill>
                  <a:schemeClr val="bg1"/>
                </a:solidFill>
                <a:latin typeface="Calibri" pitchFamily="34" charset="0"/>
              </a:rPr>
              <a:t>The Trans-Siberian Route: ways to increase competitiveness of railway freight transportation</a:t>
            </a:r>
            <a:endParaRPr lang="en-US" altLang="ru-RU" sz="1600" dirty="0">
              <a:solidFill>
                <a:schemeClr val="bg1"/>
              </a:solidFill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oEBqCbtUKINN6dMlygEA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843</TotalTime>
  <Words>831</Words>
  <Application>Microsoft Office PowerPoint</Application>
  <PresentationFormat>Экран (4:3)</PresentationFormat>
  <Paragraphs>167</Paragraphs>
  <Slides>15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5</vt:i4>
      </vt:variant>
    </vt:vector>
  </HeadingPairs>
  <TitlesOfParts>
    <vt:vector size="22" baseType="lpstr">
      <vt:lpstr>ＭＳ Ｐゴシック</vt:lpstr>
      <vt:lpstr>Arial</vt:lpstr>
      <vt:lpstr>Arial Narrow</vt:lpstr>
      <vt:lpstr>Calibri</vt:lpstr>
      <vt:lpstr>GillSans-Normal</vt:lpstr>
      <vt:lpstr>Тема Office</vt:lpstr>
      <vt:lpstr>Диаграмма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cp:lastModifiedBy>Ilya Petuhov</cp:lastModifiedBy>
  <cp:revision>89</cp:revision>
  <cp:lastPrinted>2014-11-20T09:58:51Z</cp:lastPrinted>
  <dcterms:created xsi:type="dcterms:W3CDTF">2014-04-17T10:21:49Z</dcterms:created>
  <dcterms:modified xsi:type="dcterms:W3CDTF">2014-11-21T07:49:20Z</dcterms:modified>
</cp:coreProperties>
</file>